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398" r:id="rId2"/>
    <p:sldId id="399" r:id="rId3"/>
    <p:sldId id="400" r:id="rId4"/>
    <p:sldId id="413" r:id="rId5"/>
    <p:sldId id="414" r:id="rId6"/>
    <p:sldId id="401" r:id="rId7"/>
    <p:sldId id="415" r:id="rId8"/>
    <p:sldId id="416" r:id="rId9"/>
    <p:sldId id="418" r:id="rId10"/>
    <p:sldId id="417" r:id="rId11"/>
    <p:sldId id="420" r:id="rId12"/>
    <p:sldId id="419" r:id="rId13"/>
    <p:sldId id="421" r:id="rId14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sans titre" id="{81574484-61D9-4D7B-8A15-56D84FDFF0DF}">
          <p14:sldIdLst>
            <p14:sldId id="398"/>
            <p14:sldId id="399"/>
            <p14:sldId id="400"/>
            <p14:sldId id="413"/>
            <p14:sldId id="414"/>
            <p14:sldId id="401"/>
            <p14:sldId id="415"/>
            <p14:sldId id="416"/>
            <p14:sldId id="418"/>
            <p14:sldId id="417"/>
            <p14:sldId id="420"/>
            <p14:sldId id="419"/>
            <p14:sldId id="421"/>
          </p14:sldIdLst>
        </p14:section>
      </p14:sectionLst>
    </p:ext>
    <p:ext uri="{EFAFB233-063F-42B5-8137-9DF3F51BA10A}">
      <p15:sldGuideLst xmlns:p15="http://schemas.microsoft.com/office/powerpoint/2012/main">
        <p15:guide id="3" pos="2887" userDrawn="1">
          <p15:clr>
            <a:srgbClr val="A4A3A4"/>
          </p15:clr>
        </p15:guide>
        <p15:guide id="4" orient="horz" pos="82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IKTOROVITCH Michel" initials="VM" lastIdx="1" clrIdx="4"/>
  <p:cmAuthor id="2" name="SGPI" initials="RA" lastIdx="17" clrIdx="1"/>
  <p:cmAuthor id="3" name="RONGIER Antoine" initials="RA" lastIdx="24" clrIdx="2"/>
  <p:cmAuthor id="4" name="SGPI " initials="TL" lastIdx="7" clrIdx="3"/>
  <p:cmAuthor id="5" name="NOWAK Jerome" initials="NJ" lastIdx="6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6EA"/>
    <a:srgbClr val="EBEDF5"/>
    <a:srgbClr val="BFEAE2"/>
    <a:srgbClr val="D9DEF0"/>
    <a:srgbClr val="D2D8EE"/>
    <a:srgbClr val="B3BFE2"/>
    <a:srgbClr val="C9D1EB"/>
    <a:srgbClr val="ECEFF8"/>
    <a:srgbClr val="DFDFDF"/>
    <a:srgbClr val="BFC7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072" autoAdjust="0"/>
    <p:restoredTop sz="89432" autoAdjust="0"/>
  </p:normalViewPr>
  <p:slideViewPr>
    <p:cSldViewPr snapToGrid="0">
      <p:cViewPr varScale="1">
        <p:scale>
          <a:sx n="76" d="100"/>
          <a:sy n="76" d="100"/>
        </p:scale>
        <p:origin x="660" y="84"/>
      </p:cViewPr>
      <p:guideLst>
        <p:guide pos="2887"/>
        <p:guide orient="horz" pos="82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6" d="100"/>
          <a:sy n="56" d="100"/>
        </p:scale>
        <p:origin x="2856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18570E-631D-4756-9744-DF021A8D16B4}" type="datetimeFigureOut">
              <a:rPr lang="fr-FR" smtClean="0"/>
              <a:t>22/11/2022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2527BE-4893-4788-B0AA-EA547AC56E43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522903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F478014-3E26-431D-99DF-C65246BD5D18}" type="datetimeFigureOut">
              <a:rPr lang="fr-FR" smtClean="0"/>
              <a:pPr/>
              <a:t>22/11/2022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5A28846B-781B-4AC1-BBB4-F18418AF54FA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066506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949841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Gill Sans MT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Gill Sans MT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fld id="{D6C50811-B646-438C-A1EB-3E8664517BF6}" type="slidenum">
              <a:rPr lang="fr-FR" altLang="fr-FR" sz="1200">
                <a:latin typeface="Calibri" pitchFamily="34" charset="0"/>
              </a:rPr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fr-FR" altLang="fr-FR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58513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973254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hyperlink" Target="https://gouvernement.us4.list-manage.com/subscribe?u=b5bd5d5ec79b9c70a76b18561&amp;id=934dc0ff7e" TargetMode="External"/><Relationship Id="rId2" Type="http://schemas.openxmlformats.org/officeDocument/2006/relationships/hyperlink" Target="https://www.gouvernement.fr/secretariat-general-pour-l-investissement-sgpi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mailto:contact.sgpi@pm.gouv.fr" TargetMode="External"/><Relationship Id="rId5" Type="http://schemas.openxmlformats.org/officeDocument/2006/relationships/hyperlink" Target="https://www.linkedin.com/company/commissariat-g-n-ral-l'investissement/?viewAsMember=true" TargetMode="External"/><Relationship Id="rId4" Type="http://schemas.openxmlformats.org/officeDocument/2006/relationships/hyperlink" Target="https://twitter.com/SGPI_avenir" TargetMode="Externa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1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.emf"/><Relationship Id="rId9" Type="http://schemas.openxmlformats.org/officeDocument/2006/relationships/image" Target="../media/image7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. sans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aphique 2">
            <a:extLst>
              <a:ext uri="{FF2B5EF4-FFF2-40B4-BE49-F238E27FC236}">
                <a16:creationId xmlns:a16="http://schemas.microsoft.com/office/drawing/2014/main" id="{5B063702-A08C-4925-8F82-7FA937FD47D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80000" y="809999"/>
            <a:ext cx="2625309" cy="3060000"/>
            <a:chOff x="269557" y="269557"/>
            <a:chExt cx="1311592" cy="1528762"/>
          </a:xfrm>
        </p:grpSpPr>
        <p:sp>
          <p:nvSpPr>
            <p:cNvPr id="8" name="Forme libre : forme 7">
              <a:extLst>
                <a:ext uri="{FF2B5EF4-FFF2-40B4-BE49-F238E27FC236}">
                  <a16:creationId xmlns:a16="http://schemas.microsoft.com/office/drawing/2014/main" id="{8B8E743E-846A-4A3E-BC75-63BF70485904}"/>
                </a:ext>
              </a:extLst>
            </p:cNvPr>
            <p:cNvSpPr/>
            <p:nvPr/>
          </p:nvSpPr>
          <p:spPr>
            <a:xfrm>
              <a:off x="269557" y="1304925"/>
              <a:ext cx="693419" cy="493395"/>
            </a:xfrm>
            <a:custGeom>
              <a:avLst/>
              <a:gdLst>
                <a:gd name="connsiteX0" fmla="*/ 659130 w 693419"/>
                <a:gd name="connsiteY0" fmla="*/ 422910 h 493395"/>
                <a:gd name="connsiteX1" fmla="*/ 666750 w 693419"/>
                <a:gd name="connsiteY1" fmla="*/ 437197 h 493395"/>
                <a:gd name="connsiteX2" fmla="*/ 641033 w 693419"/>
                <a:gd name="connsiteY2" fmla="*/ 442913 h 493395"/>
                <a:gd name="connsiteX3" fmla="*/ 659130 w 693419"/>
                <a:gd name="connsiteY3" fmla="*/ 422910 h 493395"/>
                <a:gd name="connsiteX4" fmla="*/ 673418 w 693419"/>
                <a:gd name="connsiteY4" fmla="*/ 464820 h 493395"/>
                <a:gd name="connsiteX5" fmla="*/ 668655 w 693419"/>
                <a:gd name="connsiteY5" fmla="*/ 464820 h 493395"/>
                <a:gd name="connsiteX6" fmla="*/ 648653 w 693419"/>
                <a:gd name="connsiteY6" fmla="*/ 478155 h 493395"/>
                <a:gd name="connsiteX7" fmla="*/ 638175 w 693419"/>
                <a:gd name="connsiteY7" fmla="*/ 464820 h 493395"/>
                <a:gd name="connsiteX8" fmla="*/ 639128 w 693419"/>
                <a:gd name="connsiteY8" fmla="*/ 453390 h 493395"/>
                <a:gd name="connsiteX9" fmla="*/ 680085 w 693419"/>
                <a:gd name="connsiteY9" fmla="*/ 440055 h 493395"/>
                <a:gd name="connsiteX10" fmla="*/ 666750 w 693419"/>
                <a:gd name="connsiteY10" fmla="*/ 412433 h 493395"/>
                <a:gd name="connsiteX11" fmla="*/ 624840 w 693419"/>
                <a:gd name="connsiteY11" fmla="*/ 473392 h 493395"/>
                <a:gd name="connsiteX12" fmla="*/ 640080 w 693419"/>
                <a:gd name="connsiteY12" fmla="*/ 493395 h 493395"/>
                <a:gd name="connsiteX13" fmla="*/ 673418 w 693419"/>
                <a:gd name="connsiteY13" fmla="*/ 464820 h 493395"/>
                <a:gd name="connsiteX14" fmla="*/ 664845 w 693419"/>
                <a:gd name="connsiteY14" fmla="*/ 404813 h 493395"/>
                <a:gd name="connsiteX15" fmla="*/ 693420 w 693419"/>
                <a:gd name="connsiteY15" fmla="*/ 378142 h 493395"/>
                <a:gd name="connsiteX16" fmla="*/ 693420 w 693419"/>
                <a:gd name="connsiteY16" fmla="*/ 375285 h 493395"/>
                <a:gd name="connsiteX17" fmla="*/ 678180 w 693419"/>
                <a:gd name="connsiteY17" fmla="*/ 375285 h 493395"/>
                <a:gd name="connsiteX18" fmla="*/ 660083 w 693419"/>
                <a:gd name="connsiteY18" fmla="*/ 405765 h 493395"/>
                <a:gd name="connsiteX19" fmla="*/ 664845 w 693419"/>
                <a:gd name="connsiteY19" fmla="*/ 405765 h 493395"/>
                <a:gd name="connsiteX20" fmla="*/ 576263 w 693419"/>
                <a:gd name="connsiteY20" fmla="*/ 423863 h 493395"/>
                <a:gd name="connsiteX21" fmla="*/ 589598 w 693419"/>
                <a:gd name="connsiteY21" fmla="*/ 423863 h 493395"/>
                <a:gd name="connsiteX22" fmla="*/ 567690 w 693419"/>
                <a:gd name="connsiteY22" fmla="*/ 482917 h 493395"/>
                <a:gd name="connsiteX23" fmla="*/ 573405 w 693419"/>
                <a:gd name="connsiteY23" fmla="*/ 493395 h 493395"/>
                <a:gd name="connsiteX24" fmla="*/ 612458 w 693419"/>
                <a:gd name="connsiteY24" fmla="*/ 464820 h 493395"/>
                <a:gd name="connsiteX25" fmla="*/ 608648 w 693419"/>
                <a:gd name="connsiteY25" fmla="*/ 464820 h 493395"/>
                <a:gd name="connsiteX26" fmla="*/ 583883 w 693419"/>
                <a:gd name="connsiteY26" fmla="*/ 480060 h 493395"/>
                <a:gd name="connsiteX27" fmla="*/ 603885 w 693419"/>
                <a:gd name="connsiteY27" fmla="*/ 424815 h 493395"/>
                <a:gd name="connsiteX28" fmla="*/ 623888 w 693419"/>
                <a:gd name="connsiteY28" fmla="*/ 424815 h 493395"/>
                <a:gd name="connsiteX29" fmla="*/ 626745 w 693419"/>
                <a:gd name="connsiteY29" fmla="*/ 416242 h 493395"/>
                <a:gd name="connsiteX30" fmla="*/ 606743 w 693419"/>
                <a:gd name="connsiteY30" fmla="*/ 416242 h 493395"/>
                <a:gd name="connsiteX31" fmla="*/ 614363 w 693419"/>
                <a:gd name="connsiteY31" fmla="*/ 395288 h 493395"/>
                <a:gd name="connsiteX32" fmla="*/ 606743 w 693419"/>
                <a:gd name="connsiteY32" fmla="*/ 395288 h 493395"/>
                <a:gd name="connsiteX33" fmla="*/ 592455 w 693419"/>
                <a:gd name="connsiteY33" fmla="*/ 416242 h 493395"/>
                <a:gd name="connsiteX34" fmla="*/ 575310 w 693419"/>
                <a:gd name="connsiteY34" fmla="*/ 418147 h 493395"/>
                <a:gd name="connsiteX35" fmla="*/ 575310 w 693419"/>
                <a:gd name="connsiteY35" fmla="*/ 423863 h 493395"/>
                <a:gd name="connsiteX36" fmla="*/ 558165 w 693419"/>
                <a:gd name="connsiteY36" fmla="*/ 421005 h 493395"/>
                <a:gd name="connsiteX37" fmla="*/ 553403 w 693419"/>
                <a:gd name="connsiteY37" fmla="*/ 412433 h 493395"/>
                <a:gd name="connsiteX38" fmla="*/ 521970 w 693419"/>
                <a:gd name="connsiteY38" fmla="*/ 438150 h 493395"/>
                <a:gd name="connsiteX39" fmla="*/ 525780 w 693419"/>
                <a:gd name="connsiteY39" fmla="*/ 438150 h 493395"/>
                <a:gd name="connsiteX40" fmla="*/ 541973 w 693419"/>
                <a:gd name="connsiteY40" fmla="*/ 425767 h 493395"/>
                <a:gd name="connsiteX41" fmla="*/ 519113 w 693419"/>
                <a:gd name="connsiteY41" fmla="*/ 484822 h 493395"/>
                <a:gd name="connsiteX42" fmla="*/ 523875 w 693419"/>
                <a:gd name="connsiteY42" fmla="*/ 493395 h 493395"/>
                <a:gd name="connsiteX43" fmla="*/ 554355 w 693419"/>
                <a:gd name="connsiteY43" fmla="*/ 467678 h 493395"/>
                <a:gd name="connsiteX44" fmla="*/ 550545 w 693419"/>
                <a:gd name="connsiteY44" fmla="*/ 467678 h 493395"/>
                <a:gd name="connsiteX45" fmla="*/ 534353 w 693419"/>
                <a:gd name="connsiteY45" fmla="*/ 480060 h 493395"/>
                <a:gd name="connsiteX46" fmla="*/ 558165 w 693419"/>
                <a:gd name="connsiteY46" fmla="*/ 421005 h 493395"/>
                <a:gd name="connsiteX47" fmla="*/ 561975 w 693419"/>
                <a:gd name="connsiteY47" fmla="*/ 391478 h 493395"/>
                <a:gd name="connsiteX48" fmla="*/ 571500 w 693419"/>
                <a:gd name="connsiteY48" fmla="*/ 381953 h 493395"/>
                <a:gd name="connsiteX49" fmla="*/ 561975 w 693419"/>
                <a:gd name="connsiteY49" fmla="*/ 372428 h 493395"/>
                <a:gd name="connsiteX50" fmla="*/ 552450 w 693419"/>
                <a:gd name="connsiteY50" fmla="*/ 381953 h 493395"/>
                <a:gd name="connsiteX51" fmla="*/ 561975 w 693419"/>
                <a:gd name="connsiteY51" fmla="*/ 391478 h 493395"/>
                <a:gd name="connsiteX52" fmla="*/ 431483 w 693419"/>
                <a:gd name="connsiteY52" fmla="*/ 481965 h 493395"/>
                <a:gd name="connsiteX53" fmla="*/ 438150 w 693419"/>
                <a:gd name="connsiteY53" fmla="*/ 493395 h 493395"/>
                <a:gd name="connsiteX54" fmla="*/ 445770 w 693419"/>
                <a:gd name="connsiteY54" fmla="*/ 487680 h 493395"/>
                <a:gd name="connsiteX55" fmla="*/ 461963 w 693419"/>
                <a:gd name="connsiteY55" fmla="*/ 445770 h 493395"/>
                <a:gd name="connsiteX56" fmla="*/ 490538 w 693419"/>
                <a:gd name="connsiteY56" fmla="*/ 427672 h 493395"/>
                <a:gd name="connsiteX57" fmla="*/ 491490 w 693419"/>
                <a:gd name="connsiteY57" fmla="*/ 436245 h 493395"/>
                <a:gd name="connsiteX58" fmla="*/ 467678 w 693419"/>
                <a:gd name="connsiteY58" fmla="*/ 482917 h 493395"/>
                <a:gd name="connsiteX59" fmla="*/ 473393 w 693419"/>
                <a:gd name="connsiteY59" fmla="*/ 493395 h 493395"/>
                <a:gd name="connsiteX60" fmla="*/ 504825 w 693419"/>
                <a:gd name="connsiteY60" fmla="*/ 467678 h 493395"/>
                <a:gd name="connsiteX61" fmla="*/ 501015 w 693419"/>
                <a:gd name="connsiteY61" fmla="*/ 467678 h 493395"/>
                <a:gd name="connsiteX62" fmla="*/ 484822 w 693419"/>
                <a:gd name="connsiteY62" fmla="*/ 480060 h 493395"/>
                <a:gd name="connsiteX63" fmla="*/ 505778 w 693419"/>
                <a:gd name="connsiteY63" fmla="*/ 438150 h 493395"/>
                <a:gd name="connsiteX64" fmla="*/ 509588 w 693419"/>
                <a:gd name="connsiteY64" fmla="*/ 423863 h 493395"/>
                <a:gd name="connsiteX65" fmla="*/ 498158 w 693419"/>
                <a:gd name="connsiteY65" fmla="*/ 412433 h 493395"/>
                <a:gd name="connsiteX66" fmla="*/ 464820 w 693419"/>
                <a:gd name="connsiteY66" fmla="*/ 438150 h 493395"/>
                <a:gd name="connsiteX67" fmla="*/ 464820 w 693419"/>
                <a:gd name="connsiteY67" fmla="*/ 426720 h 493395"/>
                <a:gd name="connsiteX68" fmla="*/ 455295 w 693419"/>
                <a:gd name="connsiteY68" fmla="*/ 411480 h 493395"/>
                <a:gd name="connsiteX69" fmla="*/ 442913 w 693419"/>
                <a:gd name="connsiteY69" fmla="*/ 421005 h 493395"/>
                <a:gd name="connsiteX70" fmla="*/ 442913 w 693419"/>
                <a:gd name="connsiteY70" fmla="*/ 422910 h 493395"/>
                <a:gd name="connsiteX71" fmla="*/ 448628 w 693419"/>
                <a:gd name="connsiteY71" fmla="*/ 445770 h 493395"/>
                <a:gd name="connsiteX72" fmla="*/ 431483 w 693419"/>
                <a:gd name="connsiteY72" fmla="*/ 481965 h 493395"/>
                <a:gd name="connsiteX73" fmla="*/ 431483 w 693419"/>
                <a:gd name="connsiteY73" fmla="*/ 430530 h 493395"/>
                <a:gd name="connsiteX74" fmla="*/ 425768 w 693419"/>
                <a:gd name="connsiteY74" fmla="*/ 412433 h 493395"/>
                <a:gd name="connsiteX75" fmla="*/ 405765 w 693419"/>
                <a:gd name="connsiteY75" fmla="*/ 438150 h 493395"/>
                <a:gd name="connsiteX76" fmla="*/ 405765 w 693419"/>
                <a:gd name="connsiteY76" fmla="*/ 426720 h 493395"/>
                <a:gd name="connsiteX77" fmla="*/ 396240 w 693419"/>
                <a:gd name="connsiteY77" fmla="*/ 411480 h 493395"/>
                <a:gd name="connsiteX78" fmla="*/ 374333 w 693419"/>
                <a:gd name="connsiteY78" fmla="*/ 437197 h 493395"/>
                <a:gd name="connsiteX79" fmla="*/ 378143 w 693419"/>
                <a:gd name="connsiteY79" fmla="*/ 437197 h 493395"/>
                <a:gd name="connsiteX80" fmla="*/ 388620 w 693419"/>
                <a:gd name="connsiteY80" fmla="*/ 427672 h 493395"/>
                <a:gd name="connsiteX81" fmla="*/ 388620 w 693419"/>
                <a:gd name="connsiteY81" fmla="*/ 445770 h 493395"/>
                <a:gd name="connsiteX82" fmla="*/ 372428 w 693419"/>
                <a:gd name="connsiteY82" fmla="*/ 481013 h 493395"/>
                <a:gd name="connsiteX83" fmla="*/ 379095 w 693419"/>
                <a:gd name="connsiteY83" fmla="*/ 492442 h 493395"/>
                <a:gd name="connsiteX84" fmla="*/ 386715 w 693419"/>
                <a:gd name="connsiteY84" fmla="*/ 486728 h 493395"/>
                <a:gd name="connsiteX85" fmla="*/ 402908 w 693419"/>
                <a:gd name="connsiteY85" fmla="*/ 444817 h 493395"/>
                <a:gd name="connsiteX86" fmla="*/ 416243 w 693419"/>
                <a:gd name="connsiteY86" fmla="*/ 429578 h 493395"/>
                <a:gd name="connsiteX87" fmla="*/ 431483 w 693419"/>
                <a:gd name="connsiteY87" fmla="*/ 429578 h 493395"/>
                <a:gd name="connsiteX88" fmla="*/ 340043 w 693419"/>
                <a:gd name="connsiteY88" fmla="*/ 422910 h 493395"/>
                <a:gd name="connsiteX89" fmla="*/ 347663 w 693419"/>
                <a:gd name="connsiteY89" fmla="*/ 437197 h 493395"/>
                <a:gd name="connsiteX90" fmla="*/ 321945 w 693419"/>
                <a:gd name="connsiteY90" fmla="*/ 442913 h 493395"/>
                <a:gd name="connsiteX91" fmla="*/ 340043 w 693419"/>
                <a:gd name="connsiteY91" fmla="*/ 422910 h 493395"/>
                <a:gd name="connsiteX92" fmla="*/ 354330 w 693419"/>
                <a:gd name="connsiteY92" fmla="*/ 464820 h 493395"/>
                <a:gd name="connsiteX93" fmla="*/ 349568 w 693419"/>
                <a:gd name="connsiteY93" fmla="*/ 464820 h 493395"/>
                <a:gd name="connsiteX94" fmla="*/ 329565 w 693419"/>
                <a:gd name="connsiteY94" fmla="*/ 478155 h 493395"/>
                <a:gd name="connsiteX95" fmla="*/ 319088 w 693419"/>
                <a:gd name="connsiteY95" fmla="*/ 464820 h 493395"/>
                <a:gd name="connsiteX96" fmla="*/ 320040 w 693419"/>
                <a:gd name="connsiteY96" fmla="*/ 453390 h 493395"/>
                <a:gd name="connsiteX97" fmla="*/ 360997 w 693419"/>
                <a:gd name="connsiteY97" fmla="*/ 440055 h 493395"/>
                <a:gd name="connsiteX98" fmla="*/ 347663 w 693419"/>
                <a:gd name="connsiteY98" fmla="*/ 412433 h 493395"/>
                <a:gd name="connsiteX99" fmla="*/ 305753 w 693419"/>
                <a:gd name="connsiteY99" fmla="*/ 473392 h 493395"/>
                <a:gd name="connsiteX100" fmla="*/ 320993 w 693419"/>
                <a:gd name="connsiteY100" fmla="*/ 493395 h 493395"/>
                <a:gd name="connsiteX101" fmla="*/ 354330 w 693419"/>
                <a:gd name="connsiteY101" fmla="*/ 464820 h 493395"/>
                <a:gd name="connsiteX102" fmla="*/ 257175 w 693419"/>
                <a:gd name="connsiteY102" fmla="*/ 423863 h 493395"/>
                <a:gd name="connsiteX103" fmla="*/ 270510 w 693419"/>
                <a:gd name="connsiteY103" fmla="*/ 423863 h 493395"/>
                <a:gd name="connsiteX104" fmla="*/ 248603 w 693419"/>
                <a:gd name="connsiteY104" fmla="*/ 482917 h 493395"/>
                <a:gd name="connsiteX105" fmla="*/ 254318 w 693419"/>
                <a:gd name="connsiteY105" fmla="*/ 493395 h 493395"/>
                <a:gd name="connsiteX106" fmla="*/ 293370 w 693419"/>
                <a:gd name="connsiteY106" fmla="*/ 464820 h 493395"/>
                <a:gd name="connsiteX107" fmla="*/ 289560 w 693419"/>
                <a:gd name="connsiteY107" fmla="*/ 464820 h 493395"/>
                <a:gd name="connsiteX108" fmla="*/ 264795 w 693419"/>
                <a:gd name="connsiteY108" fmla="*/ 480060 h 493395"/>
                <a:gd name="connsiteX109" fmla="*/ 284798 w 693419"/>
                <a:gd name="connsiteY109" fmla="*/ 424815 h 493395"/>
                <a:gd name="connsiteX110" fmla="*/ 304800 w 693419"/>
                <a:gd name="connsiteY110" fmla="*/ 424815 h 493395"/>
                <a:gd name="connsiteX111" fmla="*/ 307658 w 693419"/>
                <a:gd name="connsiteY111" fmla="*/ 416242 h 493395"/>
                <a:gd name="connsiteX112" fmla="*/ 287655 w 693419"/>
                <a:gd name="connsiteY112" fmla="*/ 416242 h 493395"/>
                <a:gd name="connsiteX113" fmla="*/ 295275 w 693419"/>
                <a:gd name="connsiteY113" fmla="*/ 395288 h 493395"/>
                <a:gd name="connsiteX114" fmla="*/ 287655 w 693419"/>
                <a:gd name="connsiteY114" fmla="*/ 395288 h 493395"/>
                <a:gd name="connsiteX115" fmla="*/ 273368 w 693419"/>
                <a:gd name="connsiteY115" fmla="*/ 416242 h 493395"/>
                <a:gd name="connsiteX116" fmla="*/ 256223 w 693419"/>
                <a:gd name="connsiteY116" fmla="*/ 418147 h 493395"/>
                <a:gd name="connsiteX117" fmla="*/ 256223 w 693419"/>
                <a:gd name="connsiteY117" fmla="*/ 423863 h 493395"/>
                <a:gd name="connsiteX118" fmla="*/ 181928 w 693419"/>
                <a:gd name="connsiteY118" fmla="*/ 469583 h 493395"/>
                <a:gd name="connsiteX119" fmla="*/ 213360 w 693419"/>
                <a:gd name="connsiteY119" fmla="*/ 426720 h 493395"/>
                <a:gd name="connsiteX120" fmla="*/ 220028 w 693419"/>
                <a:gd name="connsiteY120" fmla="*/ 427672 h 493395"/>
                <a:gd name="connsiteX121" fmla="*/ 208598 w 693419"/>
                <a:gd name="connsiteY121" fmla="*/ 459105 h 493395"/>
                <a:gd name="connsiteX122" fmla="*/ 186690 w 693419"/>
                <a:gd name="connsiteY122" fmla="*/ 477203 h 493395"/>
                <a:gd name="connsiteX123" fmla="*/ 181928 w 693419"/>
                <a:gd name="connsiteY123" fmla="*/ 469583 h 493395"/>
                <a:gd name="connsiteX124" fmla="*/ 244793 w 693419"/>
                <a:gd name="connsiteY124" fmla="*/ 408622 h 493395"/>
                <a:gd name="connsiteX125" fmla="*/ 238125 w 693419"/>
                <a:gd name="connsiteY125" fmla="*/ 408622 h 493395"/>
                <a:gd name="connsiteX126" fmla="*/ 231458 w 693419"/>
                <a:gd name="connsiteY126" fmla="*/ 415290 h 493395"/>
                <a:gd name="connsiteX127" fmla="*/ 229553 w 693419"/>
                <a:gd name="connsiteY127" fmla="*/ 415290 h 493395"/>
                <a:gd name="connsiteX128" fmla="*/ 166688 w 693419"/>
                <a:gd name="connsiteY128" fmla="*/ 481013 h 493395"/>
                <a:gd name="connsiteX129" fmla="*/ 179070 w 693419"/>
                <a:gd name="connsiteY129" fmla="*/ 493395 h 493395"/>
                <a:gd name="connsiteX130" fmla="*/ 205740 w 693419"/>
                <a:gd name="connsiteY130" fmla="*/ 467678 h 493395"/>
                <a:gd name="connsiteX131" fmla="*/ 205740 w 693419"/>
                <a:gd name="connsiteY131" fmla="*/ 472440 h 493395"/>
                <a:gd name="connsiteX132" fmla="*/ 216218 w 693419"/>
                <a:gd name="connsiteY132" fmla="*/ 493395 h 493395"/>
                <a:gd name="connsiteX133" fmla="*/ 238125 w 693419"/>
                <a:gd name="connsiteY133" fmla="*/ 467678 h 493395"/>
                <a:gd name="connsiteX134" fmla="*/ 234315 w 693419"/>
                <a:gd name="connsiteY134" fmla="*/ 467678 h 493395"/>
                <a:gd name="connsiteX135" fmla="*/ 223838 w 693419"/>
                <a:gd name="connsiteY135" fmla="*/ 477203 h 493395"/>
                <a:gd name="connsiteX136" fmla="*/ 223838 w 693419"/>
                <a:gd name="connsiteY136" fmla="*/ 459105 h 493395"/>
                <a:gd name="connsiteX137" fmla="*/ 244793 w 693419"/>
                <a:gd name="connsiteY137" fmla="*/ 408622 h 493395"/>
                <a:gd name="connsiteX138" fmla="*/ 172403 w 693419"/>
                <a:gd name="connsiteY138" fmla="*/ 430530 h 493395"/>
                <a:gd name="connsiteX139" fmla="*/ 166688 w 693419"/>
                <a:gd name="connsiteY139" fmla="*/ 412433 h 493395"/>
                <a:gd name="connsiteX140" fmla="*/ 146685 w 693419"/>
                <a:gd name="connsiteY140" fmla="*/ 438150 h 493395"/>
                <a:gd name="connsiteX141" fmla="*/ 146685 w 693419"/>
                <a:gd name="connsiteY141" fmla="*/ 426720 h 493395"/>
                <a:gd name="connsiteX142" fmla="*/ 137160 w 693419"/>
                <a:gd name="connsiteY142" fmla="*/ 411480 h 493395"/>
                <a:gd name="connsiteX143" fmla="*/ 115253 w 693419"/>
                <a:gd name="connsiteY143" fmla="*/ 437197 h 493395"/>
                <a:gd name="connsiteX144" fmla="*/ 119063 w 693419"/>
                <a:gd name="connsiteY144" fmla="*/ 437197 h 493395"/>
                <a:gd name="connsiteX145" fmla="*/ 129540 w 693419"/>
                <a:gd name="connsiteY145" fmla="*/ 427672 h 493395"/>
                <a:gd name="connsiteX146" fmla="*/ 129540 w 693419"/>
                <a:gd name="connsiteY146" fmla="*/ 445770 h 493395"/>
                <a:gd name="connsiteX147" fmla="*/ 113348 w 693419"/>
                <a:gd name="connsiteY147" fmla="*/ 481013 h 493395"/>
                <a:gd name="connsiteX148" fmla="*/ 120015 w 693419"/>
                <a:gd name="connsiteY148" fmla="*/ 492442 h 493395"/>
                <a:gd name="connsiteX149" fmla="*/ 127635 w 693419"/>
                <a:gd name="connsiteY149" fmla="*/ 486728 h 493395"/>
                <a:gd name="connsiteX150" fmla="*/ 143828 w 693419"/>
                <a:gd name="connsiteY150" fmla="*/ 444817 h 493395"/>
                <a:gd name="connsiteX151" fmla="*/ 157163 w 693419"/>
                <a:gd name="connsiteY151" fmla="*/ 429578 h 493395"/>
                <a:gd name="connsiteX152" fmla="*/ 172403 w 693419"/>
                <a:gd name="connsiteY152" fmla="*/ 429578 h 493395"/>
                <a:gd name="connsiteX153" fmla="*/ 59055 w 693419"/>
                <a:gd name="connsiteY153" fmla="*/ 489585 h 493395"/>
                <a:gd name="connsiteX154" fmla="*/ 60960 w 693419"/>
                <a:gd name="connsiteY154" fmla="*/ 484822 h 493395"/>
                <a:gd name="connsiteX155" fmla="*/ 46673 w 693419"/>
                <a:gd name="connsiteY155" fmla="*/ 460058 h 493395"/>
                <a:gd name="connsiteX156" fmla="*/ 54293 w 693419"/>
                <a:gd name="connsiteY156" fmla="*/ 438150 h 493395"/>
                <a:gd name="connsiteX157" fmla="*/ 76200 w 693419"/>
                <a:gd name="connsiteY157" fmla="*/ 438150 h 493395"/>
                <a:gd name="connsiteX158" fmla="*/ 84773 w 693419"/>
                <a:gd name="connsiteY158" fmla="*/ 452438 h 493395"/>
                <a:gd name="connsiteX159" fmla="*/ 90488 w 693419"/>
                <a:gd name="connsiteY159" fmla="*/ 452438 h 493395"/>
                <a:gd name="connsiteX160" fmla="*/ 103823 w 693419"/>
                <a:gd name="connsiteY160" fmla="*/ 416242 h 493395"/>
                <a:gd name="connsiteX161" fmla="*/ 98107 w 693419"/>
                <a:gd name="connsiteY161" fmla="*/ 416242 h 493395"/>
                <a:gd name="connsiteX162" fmla="*/ 79057 w 693419"/>
                <a:gd name="connsiteY162" fmla="*/ 430530 h 493395"/>
                <a:gd name="connsiteX163" fmla="*/ 57150 w 693419"/>
                <a:gd name="connsiteY163" fmla="*/ 430530 h 493395"/>
                <a:gd name="connsiteX164" fmla="*/ 68580 w 693419"/>
                <a:gd name="connsiteY164" fmla="*/ 399097 h 493395"/>
                <a:gd name="connsiteX165" fmla="*/ 87630 w 693419"/>
                <a:gd name="connsiteY165" fmla="*/ 386715 h 493395"/>
                <a:gd name="connsiteX166" fmla="*/ 97155 w 693419"/>
                <a:gd name="connsiteY166" fmla="*/ 386715 h 493395"/>
                <a:gd name="connsiteX167" fmla="*/ 112395 w 693419"/>
                <a:gd name="connsiteY167" fmla="*/ 404813 h 493395"/>
                <a:gd name="connsiteX168" fmla="*/ 118110 w 693419"/>
                <a:gd name="connsiteY168" fmla="*/ 404813 h 493395"/>
                <a:gd name="connsiteX169" fmla="*/ 122873 w 693419"/>
                <a:gd name="connsiteY169" fmla="*/ 380047 h 493395"/>
                <a:gd name="connsiteX170" fmla="*/ 40957 w 693419"/>
                <a:gd name="connsiteY170" fmla="*/ 380047 h 493395"/>
                <a:gd name="connsiteX171" fmla="*/ 39053 w 693419"/>
                <a:gd name="connsiteY171" fmla="*/ 384810 h 493395"/>
                <a:gd name="connsiteX172" fmla="*/ 48578 w 693419"/>
                <a:gd name="connsiteY172" fmla="*/ 409575 h 493395"/>
                <a:gd name="connsiteX173" fmla="*/ 30480 w 693419"/>
                <a:gd name="connsiteY173" fmla="*/ 458153 h 493395"/>
                <a:gd name="connsiteX174" fmla="*/ 1905 w 693419"/>
                <a:gd name="connsiteY174" fmla="*/ 482917 h 493395"/>
                <a:gd name="connsiteX175" fmla="*/ 953 w 693419"/>
                <a:gd name="connsiteY175" fmla="*/ 487680 h 493395"/>
                <a:gd name="connsiteX176" fmla="*/ 59055 w 693419"/>
                <a:gd name="connsiteY176" fmla="*/ 487680 h 493395"/>
                <a:gd name="connsiteX177" fmla="*/ 460058 w 693419"/>
                <a:gd name="connsiteY177" fmla="*/ 238125 h 493395"/>
                <a:gd name="connsiteX178" fmla="*/ 467678 w 693419"/>
                <a:gd name="connsiteY178" fmla="*/ 252413 h 493395"/>
                <a:gd name="connsiteX179" fmla="*/ 441960 w 693419"/>
                <a:gd name="connsiteY179" fmla="*/ 258128 h 493395"/>
                <a:gd name="connsiteX180" fmla="*/ 460058 w 693419"/>
                <a:gd name="connsiteY180" fmla="*/ 238125 h 493395"/>
                <a:gd name="connsiteX181" fmla="*/ 474345 w 693419"/>
                <a:gd name="connsiteY181" fmla="*/ 279083 h 493395"/>
                <a:gd name="connsiteX182" fmla="*/ 469583 w 693419"/>
                <a:gd name="connsiteY182" fmla="*/ 279083 h 493395"/>
                <a:gd name="connsiteX183" fmla="*/ 449580 w 693419"/>
                <a:gd name="connsiteY183" fmla="*/ 292417 h 493395"/>
                <a:gd name="connsiteX184" fmla="*/ 439103 w 693419"/>
                <a:gd name="connsiteY184" fmla="*/ 279083 h 493395"/>
                <a:gd name="connsiteX185" fmla="*/ 440055 w 693419"/>
                <a:gd name="connsiteY185" fmla="*/ 267653 h 493395"/>
                <a:gd name="connsiteX186" fmla="*/ 481013 w 693419"/>
                <a:gd name="connsiteY186" fmla="*/ 254317 h 493395"/>
                <a:gd name="connsiteX187" fmla="*/ 467678 w 693419"/>
                <a:gd name="connsiteY187" fmla="*/ 226695 h 493395"/>
                <a:gd name="connsiteX188" fmla="*/ 425768 w 693419"/>
                <a:gd name="connsiteY188" fmla="*/ 287655 h 493395"/>
                <a:gd name="connsiteX189" fmla="*/ 441008 w 693419"/>
                <a:gd name="connsiteY189" fmla="*/ 307658 h 493395"/>
                <a:gd name="connsiteX190" fmla="*/ 474345 w 693419"/>
                <a:gd name="connsiteY190" fmla="*/ 279083 h 493395"/>
                <a:gd name="connsiteX191" fmla="*/ 466725 w 693419"/>
                <a:gd name="connsiteY191" fmla="*/ 219075 h 493395"/>
                <a:gd name="connsiteX192" fmla="*/ 495300 w 693419"/>
                <a:gd name="connsiteY192" fmla="*/ 192405 h 493395"/>
                <a:gd name="connsiteX193" fmla="*/ 495300 w 693419"/>
                <a:gd name="connsiteY193" fmla="*/ 189547 h 493395"/>
                <a:gd name="connsiteX194" fmla="*/ 480060 w 693419"/>
                <a:gd name="connsiteY194" fmla="*/ 189547 h 493395"/>
                <a:gd name="connsiteX195" fmla="*/ 461963 w 693419"/>
                <a:gd name="connsiteY195" fmla="*/ 220028 h 493395"/>
                <a:gd name="connsiteX196" fmla="*/ 466725 w 693419"/>
                <a:gd name="connsiteY196" fmla="*/ 220028 h 493395"/>
                <a:gd name="connsiteX197" fmla="*/ 378143 w 693419"/>
                <a:gd name="connsiteY197" fmla="*/ 238125 h 493395"/>
                <a:gd name="connsiteX198" fmla="*/ 391478 w 693419"/>
                <a:gd name="connsiteY198" fmla="*/ 238125 h 493395"/>
                <a:gd name="connsiteX199" fmla="*/ 369570 w 693419"/>
                <a:gd name="connsiteY199" fmla="*/ 297180 h 493395"/>
                <a:gd name="connsiteX200" fmla="*/ 375285 w 693419"/>
                <a:gd name="connsiteY200" fmla="*/ 307658 h 493395"/>
                <a:gd name="connsiteX201" fmla="*/ 414338 w 693419"/>
                <a:gd name="connsiteY201" fmla="*/ 279083 h 493395"/>
                <a:gd name="connsiteX202" fmla="*/ 410528 w 693419"/>
                <a:gd name="connsiteY202" fmla="*/ 279083 h 493395"/>
                <a:gd name="connsiteX203" fmla="*/ 385763 w 693419"/>
                <a:gd name="connsiteY203" fmla="*/ 294322 h 493395"/>
                <a:gd name="connsiteX204" fmla="*/ 405765 w 693419"/>
                <a:gd name="connsiteY204" fmla="*/ 239078 h 493395"/>
                <a:gd name="connsiteX205" fmla="*/ 425768 w 693419"/>
                <a:gd name="connsiteY205" fmla="*/ 239078 h 493395"/>
                <a:gd name="connsiteX206" fmla="*/ 428625 w 693419"/>
                <a:gd name="connsiteY206" fmla="*/ 230505 h 493395"/>
                <a:gd name="connsiteX207" fmla="*/ 408622 w 693419"/>
                <a:gd name="connsiteY207" fmla="*/ 230505 h 493395"/>
                <a:gd name="connsiteX208" fmla="*/ 416243 w 693419"/>
                <a:gd name="connsiteY208" fmla="*/ 209550 h 493395"/>
                <a:gd name="connsiteX209" fmla="*/ 408622 w 693419"/>
                <a:gd name="connsiteY209" fmla="*/ 209550 h 493395"/>
                <a:gd name="connsiteX210" fmla="*/ 394335 w 693419"/>
                <a:gd name="connsiteY210" fmla="*/ 230505 h 493395"/>
                <a:gd name="connsiteX211" fmla="*/ 377190 w 693419"/>
                <a:gd name="connsiteY211" fmla="*/ 232410 h 493395"/>
                <a:gd name="connsiteX212" fmla="*/ 377190 w 693419"/>
                <a:gd name="connsiteY212" fmla="*/ 238125 h 493395"/>
                <a:gd name="connsiteX213" fmla="*/ 359093 w 693419"/>
                <a:gd name="connsiteY213" fmla="*/ 235267 h 493395"/>
                <a:gd name="connsiteX214" fmla="*/ 354330 w 693419"/>
                <a:gd name="connsiteY214" fmla="*/ 226695 h 493395"/>
                <a:gd name="connsiteX215" fmla="*/ 322898 w 693419"/>
                <a:gd name="connsiteY215" fmla="*/ 252413 h 493395"/>
                <a:gd name="connsiteX216" fmla="*/ 326708 w 693419"/>
                <a:gd name="connsiteY216" fmla="*/ 252413 h 493395"/>
                <a:gd name="connsiteX217" fmla="*/ 342900 w 693419"/>
                <a:gd name="connsiteY217" fmla="*/ 240030 h 493395"/>
                <a:gd name="connsiteX218" fmla="*/ 320040 w 693419"/>
                <a:gd name="connsiteY218" fmla="*/ 299085 h 493395"/>
                <a:gd name="connsiteX219" fmla="*/ 324803 w 693419"/>
                <a:gd name="connsiteY219" fmla="*/ 307658 h 493395"/>
                <a:gd name="connsiteX220" fmla="*/ 355283 w 693419"/>
                <a:gd name="connsiteY220" fmla="*/ 281940 h 493395"/>
                <a:gd name="connsiteX221" fmla="*/ 351472 w 693419"/>
                <a:gd name="connsiteY221" fmla="*/ 281940 h 493395"/>
                <a:gd name="connsiteX222" fmla="*/ 335280 w 693419"/>
                <a:gd name="connsiteY222" fmla="*/ 294322 h 493395"/>
                <a:gd name="connsiteX223" fmla="*/ 359093 w 693419"/>
                <a:gd name="connsiteY223" fmla="*/ 235267 h 493395"/>
                <a:gd name="connsiteX224" fmla="*/ 363855 w 693419"/>
                <a:gd name="connsiteY224" fmla="*/ 205740 h 493395"/>
                <a:gd name="connsiteX225" fmla="*/ 373380 w 693419"/>
                <a:gd name="connsiteY225" fmla="*/ 196215 h 493395"/>
                <a:gd name="connsiteX226" fmla="*/ 363855 w 693419"/>
                <a:gd name="connsiteY226" fmla="*/ 186690 h 493395"/>
                <a:gd name="connsiteX227" fmla="*/ 354330 w 693419"/>
                <a:gd name="connsiteY227" fmla="*/ 196215 h 493395"/>
                <a:gd name="connsiteX228" fmla="*/ 363855 w 693419"/>
                <a:gd name="connsiteY228" fmla="*/ 205740 h 493395"/>
                <a:gd name="connsiteX229" fmla="*/ 284798 w 693419"/>
                <a:gd name="connsiteY229" fmla="*/ 294322 h 493395"/>
                <a:gd name="connsiteX230" fmla="*/ 325755 w 693419"/>
                <a:gd name="connsiteY230" fmla="*/ 185738 h 493395"/>
                <a:gd name="connsiteX231" fmla="*/ 324803 w 693419"/>
                <a:gd name="connsiteY231" fmla="*/ 183833 h 493395"/>
                <a:gd name="connsiteX232" fmla="*/ 299085 w 693419"/>
                <a:gd name="connsiteY232" fmla="*/ 186690 h 493395"/>
                <a:gd name="connsiteX233" fmla="*/ 299085 w 693419"/>
                <a:gd name="connsiteY233" fmla="*/ 189547 h 493395"/>
                <a:gd name="connsiteX234" fmla="*/ 303848 w 693419"/>
                <a:gd name="connsiteY234" fmla="*/ 193358 h 493395"/>
                <a:gd name="connsiteX235" fmla="*/ 302895 w 693419"/>
                <a:gd name="connsiteY235" fmla="*/ 211455 h 493395"/>
                <a:gd name="connsiteX236" fmla="*/ 270510 w 693419"/>
                <a:gd name="connsiteY236" fmla="*/ 296228 h 493395"/>
                <a:gd name="connsiteX237" fmla="*/ 276225 w 693419"/>
                <a:gd name="connsiteY237" fmla="*/ 306705 h 493395"/>
                <a:gd name="connsiteX238" fmla="*/ 306705 w 693419"/>
                <a:gd name="connsiteY238" fmla="*/ 280988 h 493395"/>
                <a:gd name="connsiteX239" fmla="*/ 302895 w 693419"/>
                <a:gd name="connsiteY239" fmla="*/ 280988 h 493395"/>
                <a:gd name="connsiteX240" fmla="*/ 284798 w 693419"/>
                <a:gd name="connsiteY240" fmla="*/ 294322 h 493395"/>
                <a:gd name="connsiteX241" fmla="*/ 205740 w 693419"/>
                <a:gd name="connsiteY241" fmla="*/ 284797 h 493395"/>
                <a:gd name="connsiteX242" fmla="*/ 237173 w 693419"/>
                <a:gd name="connsiteY242" fmla="*/ 241935 h 493395"/>
                <a:gd name="connsiteX243" fmla="*/ 243840 w 693419"/>
                <a:gd name="connsiteY243" fmla="*/ 242888 h 493395"/>
                <a:gd name="connsiteX244" fmla="*/ 232410 w 693419"/>
                <a:gd name="connsiteY244" fmla="*/ 274320 h 493395"/>
                <a:gd name="connsiteX245" fmla="*/ 210503 w 693419"/>
                <a:gd name="connsiteY245" fmla="*/ 292417 h 493395"/>
                <a:gd name="connsiteX246" fmla="*/ 205740 w 693419"/>
                <a:gd name="connsiteY246" fmla="*/ 284797 h 493395"/>
                <a:gd name="connsiteX247" fmla="*/ 268605 w 693419"/>
                <a:gd name="connsiteY247" fmla="*/ 223838 h 493395"/>
                <a:gd name="connsiteX248" fmla="*/ 261938 w 693419"/>
                <a:gd name="connsiteY248" fmla="*/ 223838 h 493395"/>
                <a:gd name="connsiteX249" fmla="*/ 255270 w 693419"/>
                <a:gd name="connsiteY249" fmla="*/ 230505 h 493395"/>
                <a:gd name="connsiteX250" fmla="*/ 253365 w 693419"/>
                <a:gd name="connsiteY250" fmla="*/ 230505 h 493395"/>
                <a:gd name="connsiteX251" fmla="*/ 190500 w 693419"/>
                <a:gd name="connsiteY251" fmla="*/ 296228 h 493395"/>
                <a:gd name="connsiteX252" fmla="*/ 202883 w 693419"/>
                <a:gd name="connsiteY252" fmla="*/ 308610 h 493395"/>
                <a:gd name="connsiteX253" fmla="*/ 229553 w 693419"/>
                <a:gd name="connsiteY253" fmla="*/ 282892 h 493395"/>
                <a:gd name="connsiteX254" fmla="*/ 229553 w 693419"/>
                <a:gd name="connsiteY254" fmla="*/ 287655 h 493395"/>
                <a:gd name="connsiteX255" fmla="*/ 240030 w 693419"/>
                <a:gd name="connsiteY255" fmla="*/ 308610 h 493395"/>
                <a:gd name="connsiteX256" fmla="*/ 261938 w 693419"/>
                <a:gd name="connsiteY256" fmla="*/ 282892 h 493395"/>
                <a:gd name="connsiteX257" fmla="*/ 258128 w 693419"/>
                <a:gd name="connsiteY257" fmla="*/ 282892 h 493395"/>
                <a:gd name="connsiteX258" fmla="*/ 247650 w 693419"/>
                <a:gd name="connsiteY258" fmla="*/ 292417 h 493395"/>
                <a:gd name="connsiteX259" fmla="*/ 247650 w 693419"/>
                <a:gd name="connsiteY259" fmla="*/ 274320 h 493395"/>
                <a:gd name="connsiteX260" fmla="*/ 268605 w 693419"/>
                <a:gd name="connsiteY260" fmla="*/ 223838 h 493395"/>
                <a:gd name="connsiteX261" fmla="*/ 117157 w 693419"/>
                <a:gd name="connsiteY261" fmla="*/ 321945 h 493395"/>
                <a:gd name="connsiteX262" fmla="*/ 135255 w 693419"/>
                <a:gd name="connsiteY262" fmla="*/ 304800 h 493395"/>
                <a:gd name="connsiteX263" fmla="*/ 151448 w 693419"/>
                <a:gd name="connsiteY263" fmla="*/ 310515 h 493395"/>
                <a:gd name="connsiteX264" fmla="*/ 166688 w 693419"/>
                <a:gd name="connsiteY264" fmla="*/ 319088 h 493395"/>
                <a:gd name="connsiteX265" fmla="*/ 137160 w 693419"/>
                <a:gd name="connsiteY265" fmla="*/ 331470 h 493395"/>
                <a:gd name="connsiteX266" fmla="*/ 117157 w 693419"/>
                <a:gd name="connsiteY266" fmla="*/ 321945 h 493395"/>
                <a:gd name="connsiteX267" fmla="*/ 147638 w 693419"/>
                <a:gd name="connsiteY267" fmla="*/ 274320 h 493395"/>
                <a:gd name="connsiteX268" fmla="*/ 140970 w 693419"/>
                <a:gd name="connsiteY268" fmla="*/ 265747 h 493395"/>
                <a:gd name="connsiteX269" fmla="*/ 159068 w 693419"/>
                <a:gd name="connsiteY269" fmla="*/ 233363 h 493395"/>
                <a:gd name="connsiteX270" fmla="*/ 165735 w 693419"/>
                <a:gd name="connsiteY270" fmla="*/ 241935 h 493395"/>
                <a:gd name="connsiteX271" fmla="*/ 147638 w 693419"/>
                <a:gd name="connsiteY271" fmla="*/ 274320 h 493395"/>
                <a:gd name="connsiteX272" fmla="*/ 180023 w 693419"/>
                <a:gd name="connsiteY272" fmla="*/ 314325 h 493395"/>
                <a:gd name="connsiteX273" fmla="*/ 158115 w 693419"/>
                <a:gd name="connsiteY273" fmla="*/ 297180 h 493395"/>
                <a:gd name="connsiteX274" fmla="*/ 140970 w 693419"/>
                <a:gd name="connsiteY274" fmla="*/ 288608 h 493395"/>
                <a:gd name="connsiteX275" fmla="*/ 148590 w 693419"/>
                <a:gd name="connsiteY275" fmla="*/ 279083 h 493395"/>
                <a:gd name="connsiteX276" fmla="*/ 180975 w 693419"/>
                <a:gd name="connsiteY276" fmla="*/ 245745 h 493395"/>
                <a:gd name="connsiteX277" fmla="*/ 179070 w 693419"/>
                <a:gd name="connsiteY277" fmla="*/ 237172 h 493395"/>
                <a:gd name="connsiteX278" fmla="*/ 195263 w 693419"/>
                <a:gd name="connsiteY278" fmla="*/ 237172 h 493395"/>
                <a:gd name="connsiteX279" fmla="*/ 198120 w 693419"/>
                <a:gd name="connsiteY279" fmla="*/ 228600 h 493395"/>
                <a:gd name="connsiteX280" fmla="*/ 172403 w 693419"/>
                <a:gd name="connsiteY280" fmla="*/ 228600 h 493395"/>
                <a:gd name="connsiteX281" fmla="*/ 161925 w 693419"/>
                <a:gd name="connsiteY281" fmla="*/ 225742 h 493395"/>
                <a:gd name="connsiteX282" fmla="*/ 127635 w 693419"/>
                <a:gd name="connsiteY282" fmla="*/ 258128 h 493395"/>
                <a:gd name="connsiteX283" fmla="*/ 143828 w 693419"/>
                <a:gd name="connsiteY283" fmla="*/ 278130 h 493395"/>
                <a:gd name="connsiteX284" fmla="*/ 128588 w 693419"/>
                <a:gd name="connsiteY284" fmla="*/ 293370 h 493395"/>
                <a:gd name="connsiteX285" fmla="*/ 132398 w 693419"/>
                <a:gd name="connsiteY285" fmla="*/ 300990 h 493395"/>
                <a:gd name="connsiteX286" fmla="*/ 100965 w 693419"/>
                <a:gd name="connsiteY286" fmla="*/ 325755 h 493395"/>
                <a:gd name="connsiteX287" fmla="*/ 130493 w 693419"/>
                <a:gd name="connsiteY287" fmla="*/ 340042 h 493395"/>
                <a:gd name="connsiteX288" fmla="*/ 180023 w 693419"/>
                <a:gd name="connsiteY288" fmla="*/ 314325 h 493395"/>
                <a:gd name="connsiteX289" fmla="*/ 76200 w 693419"/>
                <a:gd name="connsiteY289" fmla="*/ 251460 h 493395"/>
                <a:gd name="connsiteX290" fmla="*/ 84773 w 693419"/>
                <a:gd name="connsiteY290" fmla="*/ 265747 h 493395"/>
                <a:gd name="connsiteX291" fmla="*/ 90488 w 693419"/>
                <a:gd name="connsiteY291" fmla="*/ 265747 h 493395"/>
                <a:gd name="connsiteX292" fmla="*/ 103823 w 693419"/>
                <a:gd name="connsiteY292" fmla="*/ 229553 h 493395"/>
                <a:gd name="connsiteX293" fmla="*/ 98107 w 693419"/>
                <a:gd name="connsiteY293" fmla="*/ 229553 h 493395"/>
                <a:gd name="connsiteX294" fmla="*/ 79057 w 693419"/>
                <a:gd name="connsiteY294" fmla="*/ 243840 h 493395"/>
                <a:gd name="connsiteX295" fmla="*/ 57150 w 693419"/>
                <a:gd name="connsiteY295" fmla="*/ 243840 h 493395"/>
                <a:gd name="connsiteX296" fmla="*/ 67628 w 693419"/>
                <a:gd name="connsiteY296" fmla="*/ 214313 h 493395"/>
                <a:gd name="connsiteX297" fmla="*/ 86678 w 693419"/>
                <a:gd name="connsiteY297" fmla="*/ 202883 h 493395"/>
                <a:gd name="connsiteX298" fmla="*/ 96203 w 693419"/>
                <a:gd name="connsiteY298" fmla="*/ 202883 h 493395"/>
                <a:gd name="connsiteX299" fmla="*/ 111443 w 693419"/>
                <a:gd name="connsiteY299" fmla="*/ 220028 h 493395"/>
                <a:gd name="connsiteX300" fmla="*/ 117157 w 693419"/>
                <a:gd name="connsiteY300" fmla="*/ 220028 h 493395"/>
                <a:gd name="connsiteX301" fmla="*/ 121920 w 693419"/>
                <a:gd name="connsiteY301" fmla="*/ 195263 h 493395"/>
                <a:gd name="connsiteX302" fmla="*/ 40005 w 693419"/>
                <a:gd name="connsiteY302" fmla="*/ 195263 h 493395"/>
                <a:gd name="connsiteX303" fmla="*/ 38100 w 693419"/>
                <a:gd name="connsiteY303" fmla="*/ 200025 h 493395"/>
                <a:gd name="connsiteX304" fmla="*/ 47625 w 693419"/>
                <a:gd name="connsiteY304" fmla="*/ 224790 h 493395"/>
                <a:gd name="connsiteX305" fmla="*/ 29528 w 693419"/>
                <a:gd name="connsiteY305" fmla="*/ 273367 h 493395"/>
                <a:gd name="connsiteX306" fmla="*/ 953 w 693419"/>
                <a:gd name="connsiteY306" fmla="*/ 298133 h 493395"/>
                <a:gd name="connsiteX307" fmla="*/ 0 w 693419"/>
                <a:gd name="connsiteY307" fmla="*/ 302895 h 493395"/>
                <a:gd name="connsiteX308" fmla="*/ 91440 w 693419"/>
                <a:gd name="connsiteY308" fmla="*/ 302895 h 493395"/>
                <a:gd name="connsiteX309" fmla="*/ 107632 w 693419"/>
                <a:gd name="connsiteY309" fmla="*/ 277178 h 493395"/>
                <a:gd name="connsiteX310" fmla="*/ 101918 w 693419"/>
                <a:gd name="connsiteY310" fmla="*/ 277178 h 493395"/>
                <a:gd name="connsiteX311" fmla="*/ 60007 w 693419"/>
                <a:gd name="connsiteY311" fmla="*/ 296228 h 493395"/>
                <a:gd name="connsiteX312" fmla="*/ 45720 w 693419"/>
                <a:gd name="connsiteY312" fmla="*/ 273367 h 493395"/>
                <a:gd name="connsiteX313" fmla="*/ 54293 w 693419"/>
                <a:gd name="connsiteY313" fmla="*/ 249555 h 493395"/>
                <a:gd name="connsiteX314" fmla="*/ 76200 w 693419"/>
                <a:gd name="connsiteY314" fmla="*/ 249555 h 493395"/>
                <a:gd name="connsiteX315" fmla="*/ 88582 w 693419"/>
                <a:gd name="connsiteY315" fmla="*/ 188595 h 493395"/>
                <a:gd name="connsiteX316" fmla="*/ 117157 w 693419"/>
                <a:gd name="connsiteY316" fmla="*/ 168592 h 493395"/>
                <a:gd name="connsiteX317" fmla="*/ 117157 w 693419"/>
                <a:gd name="connsiteY317" fmla="*/ 165735 h 493395"/>
                <a:gd name="connsiteX318" fmla="*/ 100013 w 693419"/>
                <a:gd name="connsiteY318" fmla="*/ 165735 h 493395"/>
                <a:gd name="connsiteX319" fmla="*/ 83820 w 693419"/>
                <a:gd name="connsiteY319" fmla="*/ 188595 h 493395"/>
                <a:gd name="connsiteX320" fmla="*/ 88582 w 693419"/>
                <a:gd name="connsiteY320" fmla="*/ 188595 h 493395"/>
                <a:gd name="connsiteX321" fmla="*/ 450533 w 693419"/>
                <a:gd name="connsiteY321" fmla="*/ 52388 h 493395"/>
                <a:gd name="connsiteX322" fmla="*/ 458153 w 693419"/>
                <a:gd name="connsiteY322" fmla="*/ 66675 h 493395"/>
                <a:gd name="connsiteX323" fmla="*/ 432435 w 693419"/>
                <a:gd name="connsiteY323" fmla="*/ 72390 h 493395"/>
                <a:gd name="connsiteX324" fmla="*/ 450533 w 693419"/>
                <a:gd name="connsiteY324" fmla="*/ 52388 h 493395"/>
                <a:gd name="connsiteX325" fmla="*/ 464820 w 693419"/>
                <a:gd name="connsiteY325" fmla="*/ 93345 h 493395"/>
                <a:gd name="connsiteX326" fmla="*/ 460058 w 693419"/>
                <a:gd name="connsiteY326" fmla="*/ 93345 h 493395"/>
                <a:gd name="connsiteX327" fmla="*/ 440055 w 693419"/>
                <a:gd name="connsiteY327" fmla="*/ 106680 h 493395"/>
                <a:gd name="connsiteX328" fmla="*/ 429578 w 693419"/>
                <a:gd name="connsiteY328" fmla="*/ 93345 h 493395"/>
                <a:gd name="connsiteX329" fmla="*/ 430530 w 693419"/>
                <a:gd name="connsiteY329" fmla="*/ 81915 h 493395"/>
                <a:gd name="connsiteX330" fmla="*/ 471488 w 693419"/>
                <a:gd name="connsiteY330" fmla="*/ 68580 h 493395"/>
                <a:gd name="connsiteX331" fmla="*/ 458153 w 693419"/>
                <a:gd name="connsiteY331" fmla="*/ 40958 h 493395"/>
                <a:gd name="connsiteX332" fmla="*/ 416243 w 693419"/>
                <a:gd name="connsiteY332" fmla="*/ 101917 h 493395"/>
                <a:gd name="connsiteX333" fmla="*/ 431483 w 693419"/>
                <a:gd name="connsiteY333" fmla="*/ 121920 h 493395"/>
                <a:gd name="connsiteX334" fmla="*/ 464820 w 693419"/>
                <a:gd name="connsiteY334" fmla="*/ 93345 h 493395"/>
                <a:gd name="connsiteX335" fmla="*/ 457200 w 693419"/>
                <a:gd name="connsiteY335" fmla="*/ 33338 h 493395"/>
                <a:gd name="connsiteX336" fmla="*/ 485775 w 693419"/>
                <a:gd name="connsiteY336" fmla="*/ 6667 h 493395"/>
                <a:gd name="connsiteX337" fmla="*/ 485775 w 693419"/>
                <a:gd name="connsiteY337" fmla="*/ 3810 h 493395"/>
                <a:gd name="connsiteX338" fmla="*/ 470535 w 693419"/>
                <a:gd name="connsiteY338" fmla="*/ 3810 h 493395"/>
                <a:gd name="connsiteX339" fmla="*/ 452438 w 693419"/>
                <a:gd name="connsiteY339" fmla="*/ 34290 h 493395"/>
                <a:gd name="connsiteX340" fmla="*/ 457200 w 693419"/>
                <a:gd name="connsiteY340" fmla="*/ 34290 h 493395"/>
                <a:gd name="connsiteX341" fmla="*/ 371475 w 693419"/>
                <a:gd name="connsiteY341" fmla="*/ 52388 h 493395"/>
                <a:gd name="connsiteX342" fmla="*/ 381953 w 693419"/>
                <a:gd name="connsiteY342" fmla="*/ 52388 h 493395"/>
                <a:gd name="connsiteX343" fmla="*/ 360045 w 693419"/>
                <a:gd name="connsiteY343" fmla="*/ 111442 h 493395"/>
                <a:gd name="connsiteX344" fmla="*/ 365760 w 693419"/>
                <a:gd name="connsiteY344" fmla="*/ 121920 h 493395"/>
                <a:gd name="connsiteX345" fmla="*/ 404813 w 693419"/>
                <a:gd name="connsiteY345" fmla="*/ 93345 h 493395"/>
                <a:gd name="connsiteX346" fmla="*/ 401003 w 693419"/>
                <a:gd name="connsiteY346" fmla="*/ 93345 h 493395"/>
                <a:gd name="connsiteX347" fmla="*/ 376238 w 693419"/>
                <a:gd name="connsiteY347" fmla="*/ 108585 h 493395"/>
                <a:gd name="connsiteX348" fmla="*/ 396240 w 693419"/>
                <a:gd name="connsiteY348" fmla="*/ 53340 h 493395"/>
                <a:gd name="connsiteX349" fmla="*/ 416243 w 693419"/>
                <a:gd name="connsiteY349" fmla="*/ 53340 h 493395"/>
                <a:gd name="connsiteX350" fmla="*/ 419100 w 693419"/>
                <a:gd name="connsiteY350" fmla="*/ 44767 h 493395"/>
                <a:gd name="connsiteX351" fmla="*/ 399097 w 693419"/>
                <a:gd name="connsiteY351" fmla="*/ 44767 h 493395"/>
                <a:gd name="connsiteX352" fmla="*/ 406718 w 693419"/>
                <a:gd name="connsiteY352" fmla="*/ 23813 h 493395"/>
                <a:gd name="connsiteX353" fmla="*/ 399097 w 693419"/>
                <a:gd name="connsiteY353" fmla="*/ 23813 h 493395"/>
                <a:gd name="connsiteX354" fmla="*/ 384810 w 693419"/>
                <a:gd name="connsiteY354" fmla="*/ 44767 h 493395"/>
                <a:gd name="connsiteX355" fmla="*/ 370522 w 693419"/>
                <a:gd name="connsiteY355" fmla="*/ 46672 h 493395"/>
                <a:gd name="connsiteX356" fmla="*/ 370522 w 693419"/>
                <a:gd name="connsiteY356" fmla="*/ 52388 h 493395"/>
                <a:gd name="connsiteX357" fmla="*/ 360997 w 693419"/>
                <a:gd name="connsiteY357" fmla="*/ 59055 h 493395"/>
                <a:gd name="connsiteX358" fmla="*/ 355283 w 693419"/>
                <a:gd name="connsiteY358" fmla="*/ 40958 h 493395"/>
                <a:gd name="connsiteX359" fmla="*/ 335280 w 693419"/>
                <a:gd name="connsiteY359" fmla="*/ 66675 h 493395"/>
                <a:gd name="connsiteX360" fmla="*/ 335280 w 693419"/>
                <a:gd name="connsiteY360" fmla="*/ 55245 h 493395"/>
                <a:gd name="connsiteX361" fmla="*/ 325755 w 693419"/>
                <a:gd name="connsiteY361" fmla="*/ 40005 h 493395"/>
                <a:gd name="connsiteX362" fmla="*/ 303848 w 693419"/>
                <a:gd name="connsiteY362" fmla="*/ 65722 h 493395"/>
                <a:gd name="connsiteX363" fmla="*/ 307658 w 693419"/>
                <a:gd name="connsiteY363" fmla="*/ 65722 h 493395"/>
                <a:gd name="connsiteX364" fmla="*/ 318135 w 693419"/>
                <a:gd name="connsiteY364" fmla="*/ 56197 h 493395"/>
                <a:gd name="connsiteX365" fmla="*/ 318135 w 693419"/>
                <a:gd name="connsiteY365" fmla="*/ 74295 h 493395"/>
                <a:gd name="connsiteX366" fmla="*/ 301943 w 693419"/>
                <a:gd name="connsiteY366" fmla="*/ 109538 h 493395"/>
                <a:gd name="connsiteX367" fmla="*/ 308610 w 693419"/>
                <a:gd name="connsiteY367" fmla="*/ 120967 h 493395"/>
                <a:gd name="connsiteX368" fmla="*/ 316230 w 693419"/>
                <a:gd name="connsiteY368" fmla="*/ 115253 h 493395"/>
                <a:gd name="connsiteX369" fmla="*/ 332423 w 693419"/>
                <a:gd name="connsiteY369" fmla="*/ 73342 h 493395"/>
                <a:gd name="connsiteX370" fmla="*/ 345758 w 693419"/>
                <a:gd name="connsiteY370" fmla="*/ 58103 h 493395"/>
                <a:gd name="connsiteX371" fmla="*/ 360997 w 693419"/>
                <a:gd name="connsiteY371" fmla="*/ 58103 h 493395"/>
                <a:gd name="connsiteX372" fmla="*/ 269558 w 693419"/>
                <a:gd name="connsiteY372" fmla="*/ 52388 h 493395"/>
                <a:gd name="connsiteX373" fmla="*/ 277178 w 693419"/>
                <a:gd name="connsiteY373" fmla="*/ 66675 h 493395"/>
                <a:gd name="connsiteX374" fmla="*/ 251460 w 693419"/>
                <a:gd name="connsiteY374" fmla="*/ 72390 h 493395"/>
                <a:gd name="connsiteX375" fmla="*/ 269558 w 693419"/>
                <a:gd name="connsiteY375" fmla="*/ 52388 h 493395"/>
                <a:gd name="connsiteX376" fmla="*/ 283845 w 693419"/>
                <a:gd name="connsiteY376" fmla="*/ 93345 h 493395"/>
                <a:gd name="connsiteX377" fmla="*/ 279083 w 693419"/>
                <a:gd name="connsiteY377" fmla="*/ 93345 h 493395"/>
                <a:gd name="connsiteX378" fmla="*/ 259080 w 693419"/>
                <a:gd name="connsiteY378" fmla="*/ 106680 h 493395"/>
                <a:gd name="connsiteX379" fmla="*/ 248603 w 693419"/>
                <a:gd name="connsiteY379" fmla="*/ 93345 h 493395"/>
                <a:gd name="connsiteX380" fmla="*/ 249555 w 693419"/>
                <a:gd name="connsiteY380" fmla="*/ 81915 h 493395"/>
                <a:gd name="connsiteX381" fmla="*/ 290513 w 693419"/>
                <a:gd name="connsiteY381" fmla="*/ 68580 h 493395"/>
                <a:gd name="connsiteX382" fmla="*/ 277178 w 693419"/>
                <a:gd name="connsiteY382" fmla="*/ 40958 h 493395"/>
                <a:gd name="connsiteX383" fmla="*/ 235268 w 693419"/>
                <a:gd name="connsiteY383" fmla="*/ 101917 h 493395"/>
                <a:gd name="connsiteX384" fmla="*/ 250508 w 693419"/>
                <a:gd name="connsiteY384" fmla="*/ 121920 h 493395"/>
                <a:gd name="connsiteX385" fmla="*/ 283845 w 693419"/>
                <a:gd name="connsiteY385" fmla="*/ 93345 h 493395"/>
                <a:gd name="connsiteX386" fmla="*/ 182880 w 693419"/>
                <a:gd name="connsiteY386" fmla="*/ 110490 h 493395"/>
                <a:gd name="connsiteX387" fmla="*/ 173355 w 693419"/>
                <a:gd name="connsiteY387" fmla="*/ 103822 h 493395"/>
                <a:gd name="connsiteX388" fmla="*/ 177165 w 693419"/>
                <a:gd name="connsiteY388" fmla="*/ 92392 h 493395"/>
                <a:gd name="connsiteX389" fmla="*/ 183833 w 693419"/>
                <a:gd name="connsiteY389" fmla="*/ 74295 h 493395"/>
                <a:gd name="connsiteX390" fmla="*/ 207645 w 693419"/>
                <a:gd name="connsiteY390" fmla="*/ 57150 h 493395"/>
                <a:gd name="connsiteX391" fmla="*/ 214313 w 693419"/>
                <a:gd name="connsiteY391" fmla="*/ 64770 h 493395"/>
                <a:gd name="connsiteX392" fmla="*/ 182880 w 693419"/>
                <a:gd name="connsiteY392" fmla="*/ 110490 h 493395"/>
                <a:gd name="connsiteX393" fmla="*/ 230505 w 693419"/>
                <a:gd name="connsiteY393" fmla="*/ 58103 h 493395"/>
                <a:gd name="connsiteX394" fmla="*/ 218123 w 693419"/>
                <a:gd name="connsiteY394" fmla="*/ 41910 h 493395"/>
                <a:gd name="connsiteX395" fmla="*/ 188595 w 693419"/>
                <a:gd name="connsiteY395" fmla="*/ 66675 h 493395"/>
                <a:gd name="connsiteX396" fmla="*/ 213360 w 693419"/>
                <a:gd name="connsiteY396" fmla="*/ 1905 h 493395"/>
                <a:gd name="connsiteX397" fmla="*/ 212408 w 693419"/>
                <a:gd name="connsiteY397" fmla="*/ 0 h 493395"/>
                <a:gd name="connsiteX398" fmla="*/ 186690 w 693419"/>
                <a:gd name="connsiteY398" fmla="*/ 2858 h 493395"/>
                <a:gd name="connsiteX399" fmla="*/ 186690 w 693419"/>
                <a:gd name="connsiteY399" fmla="*/ 5715 h 493395"/>
                <a:gd name="connsiteX400" fmla="*/ 191453 w 693419"/>
                <a:gd name="connsiteY400" fmla="*/ 9525 h 493395"/>
                <a:gd name="connsiteX401" fmla="*/ 190500 w 693419"/>
                <a:gd name="connsiteY401" fmla="*/ 27622 h 493395"/>
                <a:gd name="connsiteX402" fmla="*/ 163830 w 693419"/>
                <a:gd name="connsiteY402" fmla="*/ 96203 h 493395"/>
                <a:gd name="connsiteX403" fmla="*/ 159068 w 693419"/>
                <a:gd name="connsiteY403" fmla="*/ 108585 h 493395"/>
                <a:gd name="connsiteX404" fmla="*/ 177165 w 693419"/>
                <a:gd name="connsiteY404" fmla="*/ 121920 h 493395"/>
                <a:gd name="connsiteX405" fmla="*/ 230505 w 693419"/>
                <a:gd name="connsiteY405" fmla="*/ 58103 h 493395"/>
                <a:gd name="connsiteX406" fmla="*/ 149543 w 693419"/>
                <a:gd name="connsiteY406" fmla="*/ 49530 h 493395"/>
                <a:gd name="connsiteX407" fmla="*/ 144780 w 693419"/>
                <a:gd name="connsiteY407" fmla="*/ 40958 h 493395"/>
                <a:gd name="connsiteX408" fmla="*/ 113348 w 693419"/>
                <a:gd name="connsiteY408" fmla="*/ 66675 h 493395"/>
                <a:gd name="connsiteX409" fmla="*/ 117157 w 693419"/>
                <a:gd name="connsiteY409" fmla="*/ 66675 h 493395"/>
                <a:gd name="connsiteX410" fmla="*/ 133350 w 693419"/>
                <a:gd name="connsiteY410" fmla="*/ 54292 h 493395"/>
                <a:gd name="connsiteX411" fmla="*/ 110490 w 693419"/>
                <a:gd name="connsiteY411" fmla="*/ 113347 h 493395"/>
                <a:gd name="connsiteX412" fmla="*/ 115253 w 693419"/>
                <a:gd name="connsiteY412" fmla="*/ 121920 h 493395"/>
                <a:gd name="connsiteX413" fmla="*/ 145733 w 693419"/>
                <a:gd name="connsiteY413" fmla="*/ 96203 h 493395"/>
                <a:gd name="connsiteX414" fmla="*/ 141923 w 693419"/>
                <a:gd name="connsiteY414" fmla="*/ 96203 h 493395"/>
                <a:gd name="connsiteX415" fmla="*/ 125730 w 693419"/>
                <a:gd name="connsiteY415" fmla="*/ 108585 h 493395"/>
                <a:gd name="connsiteX416" fmla="*/ 149543 w 693419"/>
                <a:gd name="connsiteY416" fmla="*/ 49530 h 493395"/>
                <a:gd name="connsiteX417" fmla="*/ 153353 w 693419"/>
                <a:gd name="connsiteY417" fmla="*/ 20003 h 493395"/>
                <a:gd name="connsiteX418" fmla="*/ 162878 w 693419"/>
                <a:gd name="connsiteY418" fmla="*/ 10478 h 493395"/>
                <a:gd name="connsiteX419" fmla="*/ 153353 w 693419"/>
                <a:gd name="connsiteY419" fmla="*/ 953 h 493395"/>
                <a:gd name="connsiteX420" fmla="*/ 143828 w 693419"/>
                <a:gd name="connsiteY420" fmla="*/ 10478 h 493395"/>
                <a:gd name="connsiteX421" fmla="*/ 153353 w 693419"/>
                <a:gd name="connsiteY421" fmla="*/ 20003 h 493395"/>
                <a:gd name="connsiteX422" fmla="*/ 93345 w 693419"/>
                <a:gd name="connsiteY422" fmla="*/ 10478 h 493395"/>
                <a:gd name="connsiteX423" fmla="*/ 39053 w 693419"/>
                <a:gd name="connsiteY423" fmla="*/ 10478 h 493395"/>
                <a:gd name="connsiteX424" fmla="*/ 37148 w 693419"/>
                <a:gd name="connsiteY424" fmla="*/ 15240 h 493395"/>
                <a:gd name="connsiteX425" fmla="*/ 46673 w 693419"/>
                <a:gd name="connsiteY425" fmla="*/ 40005 h 493395"/>
                <a:gd name="connsiteX426" fmla="*/ 29528 w 693419"/>
                <a:gd name="connsiteY426" fmla="*/ 88583 h 493395"/>
                <a:gd name="connsiteX427" fmla="*/ 953 w 693419"/>
                <a:gd name="connsiteY427" fmla="*/ 113347 h 493395"/>
                <a:gd name="connsiteX428" fmla="*/ 0 w 693419"/>
                <a:gd name="connsiteY428" fmla="*/ 118110 h 493395"/>
                <a:gd name="connsiteX429" fmla="*/ 82868 w 693419"/>
                <a:gd name="connsiteY429" fmla="*/ 118110 h 493395"/>
                <a:gd name="connsiteX430" fmla="*/ 100965 w 693419"/>
                <a:gd name="connsiteY430" fmla="*/ 86678 h 493395"/>
                <a:gd name="connsiteX431" fmla="*/ 94298 w 693419"/>
                <a:gd name="connsiteY431" fmla="*/ 86678 h 493395"/>
                <a:gd name="connsiteX432" fmla="*/ 54293 w 693419"/>
                <a:gd name="connsiteY432" fmla="*/ 111442 h 493395"/>
                <a:gd name="connsiteX433" fmla="*/ 46673 w 693419"/>
                <a:gd name="connsiteY433" fmla="*/ 88583 h 493395"/>
                <a:gd name="connsiteX434" fmla="*/ 63818 w 693419"/>
                <a:gd name="connsiteY434" fmla="*/ 40005 h 493395"/>
                <a:gd name="connsiteX435" fmla="*/ 92393 w 693419"/>
                <a:gd name="connsiteY435" fmla="*/ 15240 h 493395"/>
                <a:gd name="connsiteX436" fmla="*/ 93345 w 693419"/>
                <a:gd name="connsiteY436" fmla="*/ 10478 h 49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</a:cxnLst>
              <a:rect l="l" t="t" r="r" b="b"/>
              <a:pathLst>
                <a:path w="693419" h="493395">
                  <a:moveTo>
                    <a:pt x="659130" y="422910"/>
                  </a:moveTo>
                  <a:cubicBezTo>
                    <a:pt x="664845" y="422910"/>
                    <a:pt x="669608" y="426720"/>
                    <a:pt x="666750" y="437197"/>
                  </a:cubicBezTo>
                  <a:lnTo>
                    <a:pt x="641033" y="442913"/>
                  </a:lnTo>
                  <a:cubicBezTo>
                    <a:pt x="645795" y="432435"/>
                    <a:pt x="653415" y="422910"/>
                    <a:pt x="659130" y="422910"/>
                  </a:cubicBezTo>
                  <a:moveTo>
                    <a:pt x="673418" y="464820"/>
                  </a:moveTo>
                  <a:lnTo>
                    <a:pt x="668655" y="464820"/>
                  </a:lnTo>
                  <a:cubicBezTo>
                    <a:pt x="661988" y="472440"/>
                    <a:pt x="655320" y="478155"/>
                    <a:pt x="648653" y="478155"/>
                  </a:cubicBezTo>
                  <a:cubicBezTo>
                    <a:pt x="641985" y="478155"/>
                    <a:pt x="638175" y="474345"/>
                    <a:pt x="638175" y="464820"/>
                  </a:cubicBezTo>
                  <a:cubicBezTo>
                    <a:pt x="638175" y="461010"/>
                    <a:pt x="638175" y="457200"/>
                    <a:pt x="639128" y="453390"/>
                  </a:cubicBezTo>
                  <a:lnTo>
                    <a:pt x="680085" y="440055"/>
                  </a:lnTo>
                  <a:cubicBezTo>
                    <a:pt x="687705" y="421005"/>
                    <a:pt x="678180" y="412433"/>
                    <a:pt x="666750" y="412433"/>
                  </a:cubicBezTo>
                  <a:cubicBezTo>
                    <a:pt x="647700" y="412433"/>
                    <a:pt x="624840" y="444817"/>
                    <a:pt x="624840" y="473392"/>
                  </a:cubicBezTo>
                  <a:cubicBezTo>
                    <a:pt x="624840" y="485775"/>
                    <a:pt x="630555" y="493395"/>
                    <a:pt x="640080" y="493395"/>
                  </a:cubicBezTo>
                  <a:cubicBezTo>
                    <a:pt x="652463" y="493395"/>
                    <a:pt x="663893" y="481965"/>
                    <a:pt x="673418" y="464820"/>
                  </a:cubicBezTo>
                  <a:moveTo>
                    <a:pt x="664845" y="404813"/>
                  </a:moveTo>
                  <a:lnTo>
                    <a:pt x="693420" y="378142"/>
                  </a:lnTo>
                  <a:lnTo>
                    <a:pt x="693420" y="375285"/>
                  </a:lnTo>
                  <a:lnTo>
                    <a:pt x="678180" y="375285"/>
                  </a:lnTo>
                  <a:lnTo>
                    <a:pt x="660083" y="405765"/>
                  </a:lnTo>
                  <a:lnTo>
                    <a:pt x="664845" y="405765"/>
                  </a:lnTo>
                  <a:close/>
                  <a:moveTo>
                    <a:pt x="576263" y="423863"/>
                  </a:moveTo>
                  <a:lnTo>
                    <a:pt x="589598" y="423863"/>
                  </a:lnTo>
                  <a:lnTo>
                    <a:pt x="567690" y="482917"/>
                  </a:lnTo>
                  <a:cubicBezTo>
                    <a:pt x="565785" y="487680"/>
                    <a:pt x="568643" y="493395"/>
                    <a:pt x="573405" y="493395"/>
                  </a:cubicBezTo>
                  <a:cubicBezTo>
                    <a:pt x="585788" y="493395"/>
                    <a:pt x="605790" y="481013"/>
                    <a:pt x="612458" y="464820"/>
                  </a:cubicBezTo>
                  <a:lnTo>
                    <a:pt x="608648" y="464820"/>
                  </a:lnTo>
                  <a:cubicBezTo>
                    <a:pt x="602933" y="470535"/>
                    <a:pt x="592455" y="478155"/>
                    <a:pt x="583883" y="480060"/>
                  </a:cubicBezTo>
                  <a:lnTo>
                    <a:pt x="603885" y="424815"/>
                  </a:lnTo>
                  <a:lnTo>
                    <a:pt x="623888" y="424815"/>
                  </a:lnTo>
                  <a:lnTo>
                    <a:pt x="626745" y="416242"/>
                  </a:lnTo>
                  <a:lnTo>
                    <a:pt x="606743" y="416242"/>
                  </a:lnTo>
                  <a:lnTo>
                    <a:pt x="614363" y="395288"/>
                  </a:lnTo>
                  <a:lnTo>
                    <a:pt x="606743" y="395288"/>
                  </a:lnTo>
                  <a:lnTo>
                    <a:pt x="592455" y="416242"/>
                  </a:lnTo>
                  <a:lnTo>
                    <a:pt x="575310" y="418147"/>
                  </a:lnTo>
                  <a:lnTo>
                    <a:pt x="575310" y="423863"/>
                  </a:lnTo>
                  <a:close/>
                  <a:moveTo>
                    <a:pt x="558165" y="421005"/>
                  </a:moveTo>
                  <a:cubicBezTo>
                    <a:pt x="560070" y="415290"/>
                    <a:pt x="556260" y="412433"/>
                    <a:pt x="553403" y="412433"/>
                  </a:cubicBezTo>
                  <a:cubicBezTo>
                    <a:pt x="541973" y="412433"/>
                    <a:pt x="527685" y="422910"/>
                    <a:pt x="521970" y="438150"/>
                  </a:cubicBezTo>
                  <a:lnTo>
                    <a:pt x="525780" y="438150"/>
                  </a:lnTo>
                  <a:cubicBezTo>
                    <a:pt x="529590" y="432435"/>
                    <a:pt x="536258" y="426720"/>
                    <a:pt x="541973" y="425767"/>
                  </a:cubicBezTo>
                  <a:lnTo>
                    <a:pt x="519113" y="484822"/>
                  </a:lnTo>
                  <a:cubicBezTo>
                    <a:pt x="517208" y="490538"/>
                    <a:pt x="521018" y="493395"/>
                    <a:pt x="523875" y="493395"/>
                  </a:cubicBezTo>
                  <a:cubicBezTo>
                    <a:pt x="535305" y="493395"/>
                    <a:pt x="548640" y="482917"/>
                    <a:pt x="554355" y="467678"/>
                  </a:cubicBezTo>
                  <a:lnTo>
                    <a:pt x="550545" y="467678"/>
                  </a:lnTo>
                  <a:cubicBezTo>
                    <a:pt x="546735" y="473392"/>
                    <a:pt x="540068" y="479108"/>
                    <a:pt x="534353" y="480060"/>
                  </a:cubicBezTo>
                  <a:lnTo>
                    <a:pt x="558165" y="421005"/>
                  </a:lnTo>
                  <a:close/>
                  <a:moveTo>
                    <a:pt x="561975" y="391478"/>
                  </a:moveTo>
                  <a:cubicBezTo>
                    <a:pt x="567690" y="391478"/>
                    <a:pt x="571500" y="386715"/>
                    <a:pt x="571500" y="381953"/>
                  </a:cubicBezTo>
                  <a:cubicBezTo>
                    <a:pt x="571500" y="376238"/>
                    <a:pt x="566738" y="372428"/>
                    <a:pt x="561975" y="372428"/>
                  </a:cubicBezTo>
                  <a:cubicBezTo>
                    <a:pt x="556260" y="372428"/>
                    <a:pt x="552450" y="377190"/>
                    <a:pt x="552450" y="381953"/>
                  </a:cubicBezTo>
                  <a:cubicBezTo>
                    <a:pt x="552450" y="386715"/>
                    <a:pt x="556260" y="391478"/>
                    <a:pt x="561975" y="391478"/>
                  </a:cubicBezTo>
                  <a:moveTo>
                    <a:pt x="431483" y="481965"/>
                  </a:moveTo>
                  <a:cubicBezTo>
                    <a:pt x="428625" y="488633"/>
                    <a:pt x="431483" y="493395"/>
                    <a:pt x="438150" y="493395"/>
                  </a:cubicBezTo>
                  <a:cubicBezTo>
                    <a:pt x="441960" y="493395"/>
                    <a:pt x="443865" y="492442"/>
                    <a:pt x="445770" y="487680"/>
                  </a:cubicBezTo>
                  <a:lnTo>
                    <a:pt x="461963" y="445770"/>
                  </a:lnTo>
                  <a:cubicBezTo>
                    <a:pt x="469583" y="437197"/>
                    <a:pt x="483870" y="427672"/>
                    <a:pt x="490538" y="427672"/>
                  </a:cubicBezTo>
                  <a:cubicBezTo>
                    <a:pt x="495300" y="427672"/>
                    <a:pt x="494347" y="431483"/>
                    <a:pt x="491490" y="436245"/>
                  </a:cubicBezTo>
                  <a:lnTo>
                    <a:pt x="467678" y="482917"/>
                  </a:lnTo>
                  <a:cubicBezTo>
                    <a:pt x="465772" y="487680"/>
                    <a:pt x="468630" y="493395"/>
                    <a:pt x="473393" y="493395"/>
                  </a:cubicBezTo>
                  <a:cubicBezTo>
                    <a:pt x="484822" y="493395"/>
                    <a:pt x="499110" y="482917"/>
                    <a:pt x="504825" y="467678"/>
                  </a:cubicBezTo>
                  <a:lnTo>
                    <a:pt x="501015" y="467678"/>
                  </a:lnTo>
                  <a:cubicBezTo>
                    <a:pt x="497205" y="473392"/>
                    <a:pt x="490538" y="479108"/>
                    <a:pt x="484822" y="480060"/>
                  </a:cubicBezTo>
                  <a:lnTo>
                    <a:pt x="505778" y="438150"/>
                  </a:lnTo>
                  <a:cubicBezTo>
                    <a:pt x="508635" y="432435"/>
                    <a:pt x="509588" y="427672"/>
                    <a:pt x="509588" y="423863"/>
                  </a:cubicBezTo>
                  <a:cubicBezTo>
                    <a:pt x="509588" y="417195"/>
                    <a:pt x="505778" y="412433"/>
                    <a:pt x="498158" y="412433"/>
                  </a:cubicBezTo>
                  <a:cubicBezTo>
                    <a:pt x="487680" y="412433"/>
                    <a:pt x="477203" y="423863"/>
                    <a:pt x="464820" y="438150"/>
                  </a:cubicBezTo>
                  <a:lnTo>
                    <a:pt x="464820" y="426720"/>
                  </a:lnTo>
                  <a:cubicBezTo>
                    <a:pt x="464820" y="419100"/>
                    <a:pt x="461963" y="411480"/>
                    <a:pt x="455295" y="411480"/>
                  </a:cubicBezTo>
                  <a:cubicBezTo>
                    <a:pt x="450533" y="411480"/>
                    <a:pt x="446722" y="415290"/>
                    <a:pt x="442913" y="421005"/>
                  </a:cubicBezTo>
                  <a:lnTo>
                    <a:pt x="442913" y="422910"/>
                  </a:lnTo>
                  <a:cubicBezTo>
                    <a:pt x="450533" y="422910"/>
                    <a:pt x="454343" y="434340"/>
                    <a:pt x="448628" y="445770"/>
                  </a:cubicBezTo>
                  <a:lnTo>
                    <a:pt x="431483" y="481965"/>
                  </a:lnTo>
                  <a:close/>
                  <a:moveTo>
                    <a:pt x="431483" y="430530"/>
                  </a:moveTo>
                  <a:cubicBezTo>
                    <a:pt x="434340" y="421005"/>
                    <a:pt x="432435" y="412433"/>
                    <a:pt x="425768" y="412433"/>
                  </a:cubicBezTo>
                  <a:cubicBezTo>
                    <a:pt x="417195" y="412433"/>
                    <a:pt x="414338" y="419100"/>
                    <a:pt x="405765" y="438150"/>
                  </a:cubicBezTo>
                  <a:lnTo>
                    <a:pt x="405765" y="426720"/>
                  </a:lnTo>
                  <a:cubicBezTo>
                    <a:pt x="405765" y="419100"/>
                    <a:pt x="402908" y="411480"/>
                    <a:pt x="396240" y="411480"/>
                  </a:cubicBezTo>
                  <a:cubicBezTo>
                    <a:pt x="387668" y="411480"/>
                    <a:pt x="380047" y="424815"/>
                    <a:pt x="374333" y="437197"/>
                  </a:cubicBezTo>
                  <a:lnTo>
                    <a:pt x="378143" y="437197"/>
                  </a:lnTo>
                  <a:cubicBezTo>
                    <a:pt x="381953" y="431483"/>
                    <a:pt x="385763" y="427672"/>
                    <a:pt x="388620" y="427672"/>
                  </a:cubicBezTo>
                  <a:cubicBezTo>
                    <a:pt x="392430" y="427672"/>
                    <a:pt x="394335" y="433388"/>
                    <a:pt x="388620" y="445770"/>
                  </a:cubicBezTo>
                  <a:lnTo>
                    <a:pt x="372428" y="481013"/>
                  </a:lnTo>
                  <a:cubicBezTo>
                    <a:pt x="369570" y="487680"/>
                    <a:pt x="372428" y="492442"/>
                    <a:pt x="379095" y="492442"/>
                  </a:cubicBezTo>
                  <a:cubicBezTo>
                    <a:pt x="382905" y="492442"/>
                    <a:pt x="384810" y="491490"/>
                    <a:pt x="386715" y="486728"/>
                  </a:cubicBezTo>
                  <a:lnTo>
                    <a:pt x="402908" y="444817"/>
                  </a:lnTo>
                  <a:cubicBezTo>
                    <a:pt x="407670" y="439103"/>
                    <a:pt x="411480" y="434340"/>
                    <a:pt x="416243" y="429578"/>
                  </a:cubicBezTo>
                  <a:lnTo>
                    <a:pt x="431483" y="429578"/>
                  </a:lnTo>
                  <a:close/>
                  <a:moveTo>
                    <a:pt x="340043" y="422910"/>
                  </a:moveTo>
                  <a:cubicBezTo>
                    <a:pt x="345758" y="422910"/>
                    <a:pt x="350520" y="426720"/>
                    <a:pt x="347663" y="437197"/>
                  </a:cubicBezTo>
                  <a:lnTo>
                    <a:pt x="321945" y="442913"/>
                  </a:lnTo>
                  <a:cubicBezTo>
                    <a:pt x="326708" y="432435"/>
                    <a:pt x="334328" y="422910"/>
                    <a:pt x="340043" y="422910"/>
                  </a:cubicBezTo>
                  <a:moveTo>
                    <a:pt x="354330" y="464820"/>
                  </a:moveTo>
                  <a:lnTo>
                    <a:pt x="349568" y="464820"/>
                  </a:lnTo>
                  <a:cubicBezTo>
                    <a:pt x="342900" y="472440"/>
                    <a:pt x="336233" y="478155"/>
                    <a:pt x="329565" y="478155"/>
                  </a:cubicBezTo>
                  <a:cubicBezTo>
                    <a:pt x="322898" y="478155"/>
                    <a:pt x="319088" y="474345"/>
                    <a:pt x="319088" y="464820"/>
                  </a:cubicBezTo>
                  <a:cubicBezTo>
                    <a:pt x="319088" y="461010"/>
                    <a:pt x="319088" y="457200"/>
                    <a:pt x="320040" y="453390"/>
                  </a:cubicBezTo>
                  <a:lnTo>
                    <a:pt x="360997" y="440055"/>
                  </a:lnTo>
                  <a:cubicBezTo>
                    <a:pt x="368618" y="421005"/>
                    <a:pt x="359093" y="412433"/>
                    <a:pt x="347663" y="412433"/>
                  </a:cubicBezTo>
                  <a:cubicBezTo>
                    <a:pt x="328613" y="412433"/>
                    <a:pt x="305753" y="444817"/>
                    <a:pt x="305753" y="473392"/>
                  </a:cubicBezTo>
                  <a:cubicBezTo>
                    <a:pt x="305753" y="485775"/>
                    <a:pt x="311468" y="493395"/>
                    <a:pt x="320993" y="493395"/>
                  </a:cubicBezTo>
                  <a:cubicBezTo>
                    <a:pt x="333375" y="493395"/>
                    <a:pt x="344805" y="481965"/>
                    <a:pt x="354330" y="464820"/>
                  </a:cubicBezTo>
                  <a:moveTo>
                    <a:pt x="257175" y="423863"/>
                  </a:moveTo>
                  <a:lnTo>
                    <a:pt x="270510" y="423863"/>
                  </a:lnTo>
                  <a:lnTo>
                    <a:pt x="248603" y="482917"/>
                  </a:lnTo>
                  <a:cubicBezTo>
                    <a:pt x="246698" y="487680"/>
                    <a:pt x="249555" y="493395"/>
                    <a:pt x="254318" y="493395"/>
                  </a:cubicBezTo>
                  <a:cubicBezTo>
                    <a:pt x="266700" y="493395"/>
                    <a:pt x="286703" y="481013"/>
                    <a:pt x="293370" y="464820"/>
                  </a:cubicBezTo>
                  <a:lnTo>
                    <a:pt x="289560" y="464820"/>
                  </a:lnTo>
                  <a:cubicBezTo>
                    <a:pt x="283845" y="470535"/>
                    <a:pt x="273368" y="478155"/>
                    <a:pt x="264795" y="480060"/>
                  </a:cubicBezTo>
                  <a:lnTo>
                    <a:pt x="284798" y="424815"/>
                  </a:lnTo>
                  <a:lnTo>
                    <a:pt x="304800" y="424815"/>
                  </a:lnTo>
                  <a:lnTo>
                    <a:pt x="307658" y="416242"/>
                  </a:lnTo>
                  <a:lnTo>
                    <a:pt x="287655" y="416242"/>
                  </a:lnTo>
                  <a:lnTo>
                    <a:pt x="295275" y="395288"/>
                  </a:lnTo>
                  <a:lnTo>
                    <a:pt x="287655" y="395288"/>
                  </a:lnTo>
                  <a:lnTo>
                    <a:pt x="273368" y="416242"/>
                  </a:lnTo>
                  <a:lnTo>
                    <a:pt x="256223" y="418147"/>
                  </a:lnTo>
                  <a:lnTo>
                    <a:pt x="256223" y="423863"/>
                  </a:lnTo>
                  <a:close/>
                  <a:moveTo>
                    <a:pt x="181928" y="469583"/>
                  </a:moveTo>
                  <a:cubicBezTo>
                    <a:pt x="181928" y="451485"/>
                    <a:pt x="201930" y="426720"/>
                    <a:pt x="213360" y="426720"/>
                  </a:cubicBezTo>
                  <a:cubicBezTo>
                    <a:pt x="216218" y="426720"/>
                    <a:pt x="218123" y="426720"/>
                    <a:pt x="220028" y="427672"/>
                  </a:cubicBezTo>
                  <a:lnTo>
                    <a:pt x="208598" y="459105"/>
                  </a:lnTo>
                  <a:cubicBezTo>
                    <a:pt x="201930" y="467678"/>
                    <a:pt x="191453" y="477203"/>
                    <a:pt x="186690" y="477203"/>
                  </a:cubicBezTo>
                  <a:cubicBezTo>
                    <a:pt x="183833" y="478155"/>
                    <a:pt x="181928" y="475297"/>
                    <a:pt x="181928" y="469583"/>
                  </a:cubicBezTo>
                  <a:moveTo>
                    <a:pt x="244793" y="408622"/>
                  </a:moveTo>
                  <a:lnTo>
                    <a:pt x="238125" y="408622"/>
                  </a:lnTo>
                  <a:lnTo>
                    <a:pt x="231458" y="415290"/>
                  </a:lnTo>
                  <a:lnTo>
                    <a:pt x="229553" y="415290"/>
                  </a:lnTo>
                  <a:cubicBezTo>
                    <a:pt x="195263" y="415290"/>
                    <a:pt x="166688" y="453390"/>
                    <a:pt x="166688" y="481013"/>
                  </a:cubicBezTo>
                  <a:cubicBezTo>
                    <a:pt x="166688" y="488633"/>
                    <a:pt x="171450" y="493395"/>
                    <a:pt x="179070" y="493395"/>
                  </a:cubicBezTo>
                  <a:cubicBezTo>
                    <a:pt x="187643" y="493395"/>
                    <a:pt x="196215" y="481013"/>
                    <a:pt x="205740" y="467678"/>
                  </a:cubicBezTo>
                  <a:lnTo>
                    <a:pt x="205740" y="472440"/>
                  </a:lnTo>
                  <a:cubicBezTo>
                    <a:pt x="204788" y="485775"/>
                    <a:pt x="208598" y="493395"/>
                    <a:pt x="216218" y="493395"/>
                  </a:cubicBezTo>
                  <a:cubicBezTo>
                    <a:pt x="224790" y="493395"/>
                    <a:pt x="232410" y="480060"/>
                    <a:pt x="238125" y="467678"/>
                  </a:cubicBezTo>
                  <a:lnTo>
                    <a:pt x="234315" y="467678"/>
                  </a:lnTo>
                  <a:cubicBezTo>
                    <a:pt x="230505" y="473392"/>
                    <a:pt x="226695" y="477203"/>
                    <a:pt x="223838" y="477203"/>
                  </a:cubicBezTo>
                  <a:cubicBezTo>
                    <a:pt x="220980" y="477203"/>
                    <a:pt x="218123" y="471488"/>
                    <a:pt x="223838" y="459105"/>
                  </a:cubicBezTo>
                  <a:lnTo>
                    <a:pt x="244793" y="408622"/>
                  </a:lnTo>
                  <a:close/>
                  <a:moveTo>
                    <a:pt x="172403" y="430530"/>
                  </a:moveTo>
                  <a:cubicBezTo>
                    <a:pt x="175260" y="421005"/>
                    <a:pt x="173355" y="412433"/>
                    <a:pt x="166688" y="412433"/>
                  </a:cubicBezTo>
                  <a:cubicBezTo>
                    <a:pt x="158115" y="412433"/>
                    <a:pt x="155258" y="419100"/>
                    <a:pt x="146685" y="438150"/>
                  </a:cubicBezTo>
                  <a:lnTo>
                    <a:pt x="146685" y="426720"/>
                  </a:lnTo>
                  <a:cubicBezTo>
                    <a:pt x="146685" y="419100"/>
                    <a:pt x="143828" y="411480"/>
                    <a:pt x="137160" y="411480"/>
                  </a:cubicBezTo>
                  <a:cubicBezTo>
                    <a:pt x="128588" y="411480"/>
                    <a:pt x="120968" y="424815"/>
                    <a:pt x="115253" y="437197"/>
                  </a:cubicBezTo>
                  <a:lnTo>
                    <a:pt x="119063" y="437197"/>
                  </a:lnTo>
                  <a:cubicBezTo>
                    <a:pt x="122873" y="431483"/>
                    <a:pt x="126682" y="427672"/>
                    <a:pt x="129540" y="427672"/>
                  </a:cubicBezTo>
                  <a:cubicBezTo>
                    <a:pt x="133350" y="427672"/>
                    <a:pt x="135255" y="433388"/>
                    <a:pt x="129540" y="445770"/>
                  </a:cubicBezTo>
                  <a:lnTo>
                    <a:pt x="113348" y="481013"/>
                  </a:lnTo>
                  <a:cubicBezTo>
                    <a:pt x="110490" y="487680"/>
                    <a:pt x="113348" y="492442"/>
                    <a:pt x="120015" y="492442"/>
                  </a:cubicBezTo>
                  <a:cubicBezTo>
                    <a:pt x="123825" y="492442"/>
                    <a:pt x="125730" y="491490"/>
                    <a:pt x="127635" y="486728"/>
                  </a:cubicBezTo>
                  <a:lnTo>
                    <a:pt x="143828" y="444817"/>
                  </a:lnTo>
                  <a:cubicBezTo>
                    <a:pt x="148590" y="439103"/>
                    <a:pt x="152400" y="434340"/>
                    <a:pt x="157163" y="429578"/>
                  </a:cubicBezTo>
                  <a:lnTo>
                    <a:pt x="172403" y="429578"/>
                  </a:lnTo>
                  <a:close/>
                  <a:moveTo>
                    <a:pt x="59055" y="489585"/>
                  </a:moveTo>
                  <a:lnTo>
                    <a:pt x="60960" y="484822"/>
                  </a:lnTo>
                  <a:cubicBezTo>
                    <a:pt x="40957" y="481013"/>
                    <a:pt x="39053" y="481013"/>
                    <a:pt x="46673" y="460058"/>
                  </a:cubicBezTo>
                  <a:lnTo>
                    <a:pt x="54293" y="438150"/>
                  </a:lnTo>
                  <a:lnTo>
                    <a:pt x="76200" y="438150"/>
                  </a:lnTo>
                  <a:cubicBezTo>
                    <a:pt x="85725" y="438150"/>
                    <a:pt x="85725" y="441960"/>
                    <a:pt x="84773" y="452438"/>
                  </a:cubicBezTo>
                  <a:lnTo>
                    <a:pt x="90488" y="452438"/>
                  </a:lnTo>
                  <a:lnTo>
                    <a:pt x="103823" y="416242"/>
                  </a:lnTo>
                  <a:lnTo>
                    <a:pt x="98107" y="416242"/>
                  </a:lnTo>
                  <a:cubicBezTo>
                    <a:pt x="93345" y="424815"/>
                    <a:pt x="89535" y="430530"/>
                    <a:pt x="79057" y="430530"/>
                  </a:cubicBezTo>
                  <a:lnTo>
                    <a:pt x="57150" y="430530"/>
                  </a:lnTo>
                  <a:lnTo>
                    <a:pt x="68580" y="399097"/>
                  </a:lnTo>
                  <a:cubicBezTo>
                    <a:pt x="72390" y="389572"/>
                    <a:pt x="74295" y="386715"/>
                    <a:pt x="87630" y="386715"/>
                  </a:cubicBezTo>
                  <a:lnTo>
                    <a:pt x="97155" y="386715"/>
                  </a:lnTo>
                  <a:cubicBezTo>
                    <a:pt x="110490" y="386715"/>
                    <a:pt x="112395" y="390525"/>
                    <a:pt x="112395" y="404813"/>
                  </a:cubicBezTo>
                  <a:lnTo>
                    <a:pt x="118110" y="404813"/>
                  </a:lnTo>
                  <a:lnTo>
                    <a:pt x="122873" y="380047"/>
                  </a:lnTo>
                  <a:lnTo>
                    <a:pt x="40957" y="380047"/>
                  </a:lnTo>
                  <a:lnTo>
                    <a:pt x="39053" y="384810"/>
                  </a:lnTo>
                  <a:cubicBezTo>
                    <a:pt x="55245" y="387667"/>
                    <a:pt x="56198" y="389572"/>
                    <a:pt x="48578" y="409575"/>
                  </a:cubicBezTo>
                  <a:lnTo>
                    <a:pt x="30480" y="458153"/>
                  </a:lnTo>
                  <a:cubicBezTo>
                    <a:pt x="22860" y="478155"/>
                    <a:pt x="20003" y="480060"/>
                    <a:pt x="1905" y="482917"/>
                  </a:cubicBezTo>
                  <a:lnTo>
                    <a:pt x="953" y="487680"/>
                  </a:lnTo>
                  <a:lnTo>
                    <a:pt x="59055" y="487680"/>
                  </a:lnTo>
                  <a:close/>
                  <a:moveTo>
                    <a:pt x="460058" y="238125"/>
                  </a:moveTo>
                  <a:cubicBezTo>
                    <a:pt x="465772" y="238125"/>
                    <a:pt x="470535" y="241935"/>
                    <a:pt x="467678" y="252413"/>
                  </a:cubicBezTo>
                  <a:lnTo>
                    <a:pt x="441960" y="258128"/>
                  </a:lnTo>
                  <a:cubicBezTo>
                    <a:pt x="446722" y="246697"/>
                    <a:pt x="454343" y="238125"/>
                    <a:pt x="460058" y="238125"/>
                  </a:cubicBezTo>
                  <a:moveTo>
                    <a:pt x="474345" y="279083"/>
                  </a:moveTo>
                  <a:lnTo>
                    <a:pt x="469583" y="279083"/>
                  </a:lnTo>
                  <a:cubicBezTo>
                    <a:pt x="462915" y="286703"/>
                    <a:pt x="456247" y="292417"/>
                    <a:pt x="449580" y="292417"/>
                  </a:cubicBezTo>
                  <a:cubicBezTo>
                    <a:pt x="442913" y="292417"/>
                    <a:pt x="439103" y="288608"/>
                    <a:pt x="439103" y="279083"/>
                  </a:cubicBezTo>
                  <a:cubicBezTo>
                    <a:pt x="439103" y="275272"/>
                    <a:pt x="439103" y="271463"/>
                    <a:pt x="440055" y="267653"/>
                  </a:cubicBezTo>
                  <a:lnTo>
                    <a:pt x="481013" y="254317"/>
                  </a:lnTo>
                  <a:cubicBezTo>
                    <a:pt x="488633" y="235267"/>
                    <a:pt x="479108" y="226695"/>
                    <a:pt x="467678" y="226695"/>
                  </a:cubicBezTo>
                  <a:cubicBezTo>
                    <a:pt x="448628" y="226695"/>
                    <a:pt x="425768" y="259080"/>
                    <a:pt x="425768" y="287655"/>
                  </a:cubicBezTo>
                  <a:cubicBezTo>
                    <a:pt x="425768" y="300038"/>
                    <a:pt x="431483" y="307658"/>
                    <a:pt x="441008" y="307658"/>
                  </a:cubicBezTo>
                  <a:cubicBezTo>
                    <a:pt x="453390" y="307658"/>
                    <a:pt x="464820" y="297180"/>
                    <a:pt x="474345" y="279083"/>
                  </a:cubicBezTo>
                  <a:moveTo>
                    <a:pt x="466725" y="219075"/>
                  </a:moveTo>
                  <a:lnTo>
                    <a:pt x="495300" y="192405"/>
                  </a:lnTo>
                  <a:lnTo>
                    <a:pt x="495300" y="189547"/>
                  </a:lnTo>
                  <a:lnTo>
                    <a:pt x="480060" y="189547"/>
                  </a:lnTo>
                  <a:lnTo>
                    <a:pt x="461963" y="220028"/>
                  </a:lnTo>
                  <a:lnTo>
                    <a:pt x="466725" y="220028"/>
                  </a:lnTo>
                  <a:close/>
                  <a:moveTo>
                    <a:pt x="378143" y="238125"/>
                  </a:moveTo>
                  <a:lnTo>
                    <a:pt x="391478" y="238125"/>
                  </a:lnTo>
                  <a:lnTo>
                    <a:pt x="369570" y="297180"/>
                  </a:lnTo>
                  <a:cubicBezTo>
                    <a:pt x="367665" y="301942"/>
                    <a:pt x="370522" y="307658"/>
                    <a:pt x="375285" y="307658"/>
                  </a:cubicBezTo>
                  <a:cubicBezTo>
                    <a:pt x="387668" y="307658"/>
                    <a:pt x="407670" y="295275"/>
                    <a:pt x="414338" y="279083"/>
                  </a:cubicBezTo>
                  <a:lnTo>
                    <a:pt x="410528" y="279083"/>
                  </a:lnTo>
                  <a:cubicBezTo>
                    <a:pt x="404813" y="284797"/>
                    <a:pt x="394335" y="292417"/>
                    <a:pt x="385763" y="294322"/>
                  </a:cubicBezTo>
                  <a:lnTo>
                    <a:pt x="405765" y="239078"/>
                  </a:lnTo>
                  <a:lnTo>
                    <a:pt x="425768" y="239078"/>
                  </a:lnTo>
                  <a:lnTo>
                    <a:pt x="428625" y="230505"/>
                  </a:lnTo>
                  <a:lnTo>
                    <a:pt x="408622" y="230505"/>
                  </a:lnTo>
                  <a:lnTo>
                    <a:pt x="416243" y="209550"/>
                  </a:lnTo>
                  <a:lnTo>
                    <a:pt x="408622" y="209550"/>
                  </a:lnTo>
                  <a:lnTo>
                    <a:pt x="394335" y="230505"/>
                  </a:lnTo>
                  <a:lnTo>
                    <a:pt x="377190" y="232410"/>
                  </a:lnTo>
                  <a:lnTo>
                    <a:pt x="377190" y="238125"/>
                  </a:lnTo>
                  <a:close/>
                  <a:moveTo>
                    <a:pt x="359093" y="235267"/>
                  </a:moveTo>
                  <a:cubicBezTo>
                    <a:pt x="360997" y="229553"/>
                    <a:pt x="357188" y="226695"/>
                    <a:pt x="354330" y="226695"/>
                  </a:cubicBezTo>
                  <a:cubicBezTo>
                    <a:pt x="342900" y="226695"/>
                    <a:pt x="328613" y="237172"/>
                    <a:pt x="322898" y="252413"/>
                  </a:cubicBezTo>
                  <a:lnTo>
                    <a:pt x="326708" y="252413"/>
                  </a:lnTo>
                  <a:cubicBezTo>
                    <a:pt x="330518" y="246697"/>
                    <a:pt x="337185" y="240983"/>
                    <a:pt x="342900" y="240030"/>
                  </a:cubicBezTo>
                  <a:lnTo>
                    <a:pt x="320040" y="299085"/>
                  </a:lnTo>
                  <a:cubicBezTo>
                    <a:pt x="318135" y="304800"/>
                    <a:pt x="321945" y="307658"/>
                    <a:pt x="324803" y="307658"/>
                  </a:cubicBezTo>
                  <a:cubicBezTo>
                    <a:pt x="336233" y="307658"/>
                    <a:pt x="349568" y="297180"/>
                    <a:pt x="355283" y="281940"/>
                  </a:cubicBezTo>
                  <a:lnTo>
                    <a:pt x="351472" y="281940"/>
                  </a:lnTo>
                  <a:cubicBezTo>
                    <a:pt x="347663" y="287655"/>
                    <a:pt x="340995" y="293370"/>
                    <a:pt x="335280" y="294322"/>
                  </a:cubicBezTo>
                  <a:lnTo>
                    <a:pt x="359093" y="235267"/>
                  </a:lnTo>
                  <a:close/>
                  <a:moveTo>
                    <a:pt x="363855" y="205740"/>
                  </a:moveTo>
                  <a:cubicBezTo>
                    <a:pt x="369570" y="205740"/>
                    <a:pt x="373380" y="200978"/>
                    <a:pt x="373380" y="196215"/>
                  </a:cubicBezTo>
                  <a:cubicBezTo>
                    <a:pt x="373380" y="190500"/>
                    <a:pt x="368618" y="186690"/>
                    <a:pt x="363855" y="186690"/>
                  </a:cubicBezTo>
                  <a:cubicBezTo>
                    <a:pt x="358140" y="186690"/>
                    <a:pt x="354330" y="191453"/>
                    <a:pt x="354330" y="196215"/>
                  </a:cubicBezTo>
                  <a:cubicBezTo>
                    <a:pt x="353378" y="201930"/>
                    <a:pt x="358140" y="205740"/>
                    <a:pt x="363855" y="205740"/>
                  </a:cubicBezTo>
                  <a:moveTo>
                    <a:pt x="284798" y="294322"/>
                  </a:moveTo>
                  <a:lnTo>
                    <a:pt x="325755" y="185738"/>
                  </a:lnTo>
                  <a:lnTo>
                    <a:pt x="324803" y="183833"/>
                  </a:lnTo>
                  <a:lnTo>
                    <a:pt x="299085" y="186690"/>
                  </a:lnTo>
                  <a:lnTo>
                    <a:pt x="299085" y="189547"/>
                  </a:lnTo>
                  <a:lnTo>
                    <a:pt x="303848" y="193358"/>
                  </a:lnTo>
                  <a:cubicBezTo>
                    <a:pt x="308610" y="197167"/>
                    <a:pt x="306705" y="200025"/>
                    <a:pt x="302895" y="211455"/>
                  </a:cubicBezTo>
                  <a:lnTo>
                    <a:pt x="270510" y="296228"/>
                  </a:lnTo>
                  <a:cubicBezTo>
                    <a:pt x="268605" y="300990"/>
                    <a:pt x="271463" y="306705"/>
                    <a:pt x="276225" y="306705"/>
                  </a:cubicBezTo>
                  <a:cubicBezTo>
                    <a:pt x="287655" y="306705"/>
                    <a:pt x="300990" y="296228"/>
                    <a:pt x="306705" y="280988"/>
                  </a:cubicBezTo>
                  <a:lnTo>
                    <a:pt x="302895" y="280988"/>
                  </a:lnTo>
                  <a:cubicBezTo>
                    <a:pt x="299085" y="287655"/>
                    <a:pt x="290513" y="293370"/>
                    <a:pt x="284798" y="294322"/>
                  </a:cubicBezTo>
                  <a:moveTo>
                    <a:pt x="205740" y="284797"/>
                  </a:moveTo>
                  <a:cubicBezTo>
                    <a:pt x="205740" y="266700"/>
                    <a:pt x="225743" y="241935"/>
                    <a:pt x="237173" y="241935"/>
                  </a:cubicBezTo>
                  <a:cubicBezTo>
                    <a:pt x="240030" y="241935"/>
                    <a:pt x="241935" y="241935"/>
                    <a:pt x="243840" y="242888"/>
                  </a:cubicBezTo>
                  <a:lnTo>
                    <a:pt x="232410" y="274320"/>
                  </a:lnTo>
                  <a:cubicBezTo>
                    <a:pt x="225743" y="282892"/>
                    <a:pt x="215265" y="292417"/>
                    <a:pt x="210503" y="292417"/>
                  </a:cubicBezTo>
                  <a:cubicBezTo>
                    <a:pt x="207645" y="292417"/>
                    <a:pt x="205740" y="289560"/>
                    <a:pt x="205740" y="284797"/>
                  </a:cubicBezTo>
                  <a:moveTo>
                    <a:pt x="268605" y="223838"/>
                  </a:moveTo>
                  <a:lnTo>
                    <a:pt x="261938" y="223838"/>
                  </a:lnTo>
                  <a:lnTo>
                    <a:pt x="255270" y="230505"/>
                  </a:lnTo>
                  <a:lnTo>
                    <a:pt x="253365" y="230505"/>
                  </a:lnTo>
                  <a:cubicBezTo>
                    <a:pt x="219075" y="230505"/>
                    <a:pt x="190500" y="268605"/>
                    <a:pt x="190500" y="296228"/>
                  </a:cubicBezTo>
                  <a:cubicBezTo>
                    <a:pt x="190500" y="303847"/>
                    <a:pt x="195263" y="308610"/>
                    <a:pt x="202883" y="308610"/>
                  </a:cubicBezTo>
                  <a:cubicBezTo>
                    <a:pt x="211455" y="308610"/>
                    <a:pt x="220028" y="296228"/>
                    <a:pt x="229553" y="282892"/>
                  </a:cubicBezTo>
                  <a:lnTo>
                    <a:pt x="229553" y="287655"/>
                  </a:lnTo>
                  <a:cubicBezTo>
                    <a:pt x="228600" y="300990"/>
                    <a:pt x="232410" y="308610"/>
                    <a:pt x="240030" y="308610"/>
                  </a:cubicBezTo>
                  <a:cubicBezTo>
                    <a:pt x="248603" y="308610"/>
                    <a:pt x="256223" y="295275"/>
                    <a:pt x="261938" y="282892"/>
                  </a:cubicBezTo>
                  <a:lnTo>
                    <a:pt x="258128" y="282892"/>
                  </a:lnTo>
                  <a:cubicBezTo>
                    <a:pt x="254318" y="288608"/>
                    <a:pt x="250508" y="292417"/>
                    <a:pt x="247650" y="292417"/>
                  </a:cubicBezTo>
                  <a:cubicBezTo>
                    <a:pt x="244793" y="292417"/>
                    <a:pt x="241935" y="286703"/>
                    <a:pt x="247650" y="274320"/>
                  </a:cubicBezTo>
                  <a:lnTo>
                    <a:pt x="268605" y="223838"/>
                  </a:lnTo>
                  <a:close/>
                  <a:moveTo>
                    <a:pt x="117157" y="321945"/>
                  </a:moveTo>
                  <a:cubicBezTo>
                    <a:pt x="117157" y="314325"/>
                    <a:pt x="124778" y="309563"/>
                    <a:pt x="135255" y="304800"/>
                  </a:cubicBezTo>
                  <a:cubicBezTo>
                    <a:pt x="139065" y="306705"/>
                    <a:pt x="143828" y="308610"/>
                    <a:pt x="151448" y="310515"/>
                  </a:cubicBezTo>
                  <a:cubicBezTo>
                    <a:pt x="162878" y="314325"/>
                    <a:pt x="166688" y="315278"/>
                    <a:pt x="166688" y="319088"/>
                  </a:cubicBezTo>
                  <a:cubicBezTo>
                    <a:pt x="166688" y="326708"/>
                    <a:pt x="154305" y="331470"/>
                    <a:pt x="137160" y="331470"/>
                  </a:cubicBezTo>
                  <a:cubicBezTo>
                    <a:pt x="123825" y="332422"/>
                    <a:pt x="117157" y="329565"/>
                    <a:pt x="117157" y="321945"/>
                  </a:cubicBezTo>
                  <a:moveTo>
                    <a:pt x="147638" y="274320"/>
                  </a:moveTo>
                  <a:cubicBezTo>
                    <a:pt x="142875" y="274320"/>
                    <a:pt x="140970" y="270510"/>
                    <a:pt x="140970" y="265747"/>
                  </a:cubicBezTo>
                  <a:cubicBezTo>
                    <a:pt x="140970" y="252413"/>
                    <a:pt x="147638" y="233363"/>
                    <a:pt x="159068" y="233363"/>
                  </a:cubicBezTo>
                  <a:cubicBezTo>
                    <a:pt x="163830" y="233363"/>
                    <a:pt x="165735" y="237172"/>
                    <a:pt x="165735" y="241935"/>
                  </a:cubicBezTo>
                  <a:cubicBezTo>
                    <a:pt x="166688" y="254317"/>
                    <a:pt x="159068" y="274320"/>
                    <a:pt x="147638" y="274320"/>
                  </a:cubicBezTo>
                  <a:moveTo>
                    <a:pt x="180023" y="314325"/>
                  </a:moveTo>
                  <a:cubicBezTo>
                    <a:pt x="180023" y="304800"/>
                    <a:pt x="171450" y="300990"/>
                    <a:pt x="158115" y="297180"/>
                  </a:cubicBezTo>
                  <a:cubicBezTo>
                    <a:pt x="146685" y="293370"/>
                    <a:pt x="140970" y="292417"/>
                    <a:pt x="140970" y="288608"/>
                  </a:cubicBezTo>
                  <a:cubicBezTo>
                    <a:pt x="140970" y="285750"/>
                    <a:pt x="143828" y="281940"/>
                    <a:pt x="148590" y="279083"/>
                  </a:cubicBezTo>
                  <a:cubicBezTo>
                    <a:pt x="167640" y="278130"/>
                    <a:pt x="180975" y="260985"/>
                    <a:pt x="180975" y="245745"/>
                  </a:cubicBezTo>
                  <a:cubicBezTo>
                    <a:pt x="180975" y="242888"/>
                    <a:pt x="180023" y="240030"/>
                    <a:pt x="179070" y="237172"/>
                  </a:cubicBezTo>
                  <a:lnTo>
                    <a:pt x="195263" y="237172"/>
                  </a:lnTo>
                  <a:lnTo>
                    <a:pt x="198120" y="228600"/>
                  </a:lnTo>
                  <a:lnTo>
                    <a:pt x="172403" y="228600"/>
                  </a:lnTo>
                  <a:cubicBezTo>
                    <a:pt x="169545" y="226695"/>
                    <a:pt x="165735" y="225742"/>
                    <a:pt x="161925" y="225742"/>
                  </a:cubicBezTo>
                  <a:cubicBezTo>
                    <a:pt x="140970" y="225742"/>
                    <a:pt x="127635" y="243840"/>
                    <a:pt x="127635" y="258128"/>
                  </a:cubicBezTo>
                  <a:cubicBezTo>
                    <a:pt x="127635" y="269558"/>
                    <a:pt x="134303" y="276225"/>
                    <a:pt x="143828" y="278130"/>
                  </a:cubicBezTo>
                  <a:cubicBezTo>
                    <a:pt x="134303" y="282892"/>
                    <a:pt x="128588" y="287655"/>
                    <a:pt x="128588" y="293370"/>
                  </a:cubicBezTo>
                  <a:cubicBezTo>
                    <a:pt x="128588" y="297180"/>
                    <a:pt x="129540" y="299085"/>
                    <a:pt x="132398" y="300990"/>
                  </a:cubicBezTo>
                  <a:cubicBezTo>
                    <a:pt x="110490" y="307658"/>
                    <a:pt x="100965" y="315278"/>
                    <a:pt x="100965" y="325755"/>
                  </a:cubicBezTo>
                  <a:cubicBezTo>
                    <a:pt x="100965" y="336233"/>
                    <a:pt x="114300" y="340042"/>
                    <a:pt x="130493" y="340042"/>
                  </a:cubicBezTo>
                  <a:cubicBezTo>
                    <a:pt x="157163" y="341947"/>
                    <a:pt x="180023" y="326708"/>
                    <a:pt x="180023" y="314325"/>
                  </a:cubicBezTo>
                  <a:moveTo>
                    <a:pt x="76200" y="251460"/>
                  </a:moveTo>
                  <a:cubicBezTo>
                    <a:pt x="85725" y="251460"/>
                    <a:pt x="85725" y="255270"/>
                    <a:pt x="84773" y="265747"/>
                  </a:cubicBezTo>
                  <a:lnTo>
                    <a:pt x="90488" y="265747"/>
                  </a:lnTo>
                  <a:lnTo>
                    <a:pt x="103823" y="229553"/>
                  </a:lnTo>
                  <a:lnTo>
                    <a:pt x="98107" y="229553"/>
                  </a:lnTo>
                  <a:cubicBezTo>
                    <a:pt x="93345" y="238125"/>
                    <a:pt x="89535" y="243840"/>
                    <a:pt x="79057" y="243840"/>
                  </a:cubicBezTo>
                  <a:lnTo>
                    <a:pt x="57150" y="243840"/>
                  </a:lnTo>
                  <a:lnTo>
                    <a:pt x="67628" y="214313"/>
                  </a:lnTo>
                  <a:cubicBezTo>
                    <a:pt x="71438" y="204788"/>
                    <a:pt x="73343" y="202883"/>
                    <a:pt x="86678" y="202883"/>
                  </a:cubicBezTo>
                  <a:lnTo>
                    <a:pt x="96203" y="202883"/>
                  </a:lnTo>
                  <a:cubicBezTo>
                    <a:pt x="109538" y="202883"/>
                    <a:pt x="111443" y="206692"/>
                    <a:pt x="111443" y="220028"/>
                  </a:cubicBezTo>
                  <a:lnTo>
                    <a:pt x="117157" y="220028"/>
                  </a:lnTo>
                  <a:lnTo>
                    <a:pt x="121920" y="195263"/>
                  </a:lnTo>
                  <a:lnTo>
                    <a:pt x="40005" y="195263"/>
                  </a:lnTo>
                  <a:lnTo>
                    <a:pt x="38100" y="200025"/>
                  </a:lnTo>
                  <a:cubicBezTo>
                    <a:pt x="54293" y="202883"/>
                    <a:pt x="55245" y="204788"/>
                    <a:pt x="47625" y="224790"/>
                  </a:cubicBezTo>
                  <a:lnTo>
                    <a:pt x="29528" y="273367"/>
                  </a:lnTo>
                  <a:cubicBezTo>
                    <a:pt x="21908" y="293370"/>
                    <a:pt x="19050" y="295275"/>
                    <a:pt x="953" y="298133"/>
                  </a:cubicBezTo>
                  <a:lnTo>
                    <a:pt x="0" y="302895"/>
                  </a:lnTo>
                  <a:lnTo>
                    <a:pt x="91440" y="302895"/>
                  </a:lnTo>
                  <a:lnTo>
                    <a:pt x="107632" y="277178"/>
                  </a:lnTo>
                  <a:lnTo>
                    <a:pt x="101918" y="277178"/>
                  </a:lnTo>
                  <a:cubicBezTo>
                    <a:pt x="91440" y="286703"/>
                    <a:pt x="78105" y="296228"/>
                    <a:pt x="60007" y="296228"/>
                  </a:cubicBezTo>
                  <a:cubicBezTo>
                    <a:pt x="36195" y="296228"/>
                    <a:pt x="38100" y="295275"/>
                    <a:pt x="45720" y="273367"/>
                  </a:cubicBezTo>
                  <a:lnTo>
                    <a:pt x="54293" y="249555"/>
                  </a:lnTo>
                  <a:lnTo>
                    <a:pt x="76200" y="249555"/>
                  </a:lnTo>
                  <a:close/>
                  <a:moveTo>
                    <a:pt x="88582" y="188595"/>
                  </a:moveTo>
                  <a:lnTo>
                    <a:pt x="117157" y="168592"/>
                  </a:lnTo>
                  <a:lnTo>
                    <a:pt x="117157" y="165735"/>
                  </a:lnTo>
                  <a:lnTo>
                    <a:pt x="100013" y="165735"/>
                  </a:lnTo>
                  <a:lnTo>
                    <a:pt x="83820" y="188595"/>
                  </a:lnTo>
                  <a:lnTo>
                    <a:pt x="88582" y="188595"/>
                  </a:lnTo>
                  <a:close/>
                  <a:moveTo>
                    <a:pt x="450533" y="52388"/>
                  </a:moveTo>
                  <a:cubicBezTo>
                    <a:pt x="456247" y="52388"/>
                    <a:pt x="461010" y="56197"/>
                    <a:pt x="458153" y="66675"/>
                  </a:cubicBezTo>
                  <a:lnTo>
                    <a:pt x="432435" y="72390"/>
                  </a:lnTo>
                  <a:cubicBezTo>
                    <a:pt x="437197" y="60960"/>
                    <a:pt x="444818" y="52388"/>
                    <a:pt x="450533" y="52388"/>
                  </a:cubicBezTo>
                  <a:moveTo>
                    <a:pt x="464820" y="93345"/>
                  </a:moveTo>
                  <a:lnTo>
                    <a:pt x="460058" y="93345"/>
                  </a:lnTo>
                  <a:cubicBezTo>
                    <a:pt x="453390" y="100965"/>
                    <a:pt x="446722" y="106680"/>
                    <a:pt x="440055" y="106680"/>
                  </a:cubicBezTo>
                  <a:cubicBezTo>
                    <a:pt x="433388" y="106680"/>
                    <a:pt x="429578" y="102870"/>
                    <a:pt x="429578" y="93345"/>
                  </a:cubicBezTo>
                  <a:cubicBezTo>
                    <a:pt x="429578" y="89535"/>
                    <a:pt x="429578" y="85725"/>
                    <a:pt x="430530" y="81915"/>
                  </a:cubicBezTo>
                  <a:lnTo>
                    <a:pt x="471488" y="68580"/>
                  </a:lnTo>
                  <a:cubicBezTo>
                    <a:pt x="479108" y="49530"/>
                    <a:pt x="469583" y="40958"/>
                    <a:pt x="458153" y="40958"/>
                  </a:cubicBezTo>
                  <a:cubicBezTo>
                    <a:pt x="439103" y="40958"/>
                    <a:pt x="416243" y="73342"/>
                    <a:pt x="416243" y="101917"/>
                  </a:cubicBezTo>
                  <a:cubicBezTo>
                    <a:pt x="416243" y="114300"/>
                    <a:pt x="421958" y="121920"/>
                    <a:pt x="431483" y="121920"/>
                  </a:cubicBezTo>
                  <a:cubicBezTo>
                    <a:pt x="443865" y="121920"/>
                    <a:pt x="455295" y="111442"/>
                    <a:pt x="464820" y="93345"/>
                  </a:cubicBezTo>
                  <a:moveTo>
                    <a:pt x="457200" y="33338"/>
                  </a:moveTo>
                  <a:lnTo>
                    <a:pt x="485775" y="6667"/>
                  </a:lnTo>
                  <a:lnTo>
                    <a:pt x="485775" y="3810"/>
                  </a:lnTo>
                  <a:lnTo>
                    <a:pt x="470535" y="3810"/>
                  </a:lnTo>
                  <a:lnTo>
                    <a:pt x="452438" y="34290"/>
                  </a:lnTo>
                  <a:lnTo>
                    <a:pt x="457200" y="34290"/>
                  </a:lnTo>
                  <a:close/>
                  <a:moveTo>
                    <a:pt x="371475" y="52388"/>
                  </a:moveTo>
                  <a:lnTo>
                    <a:pt x="381953" y="52388"/>
                  </a:lnTo>
                  <a:lnTo>
                    <a:pt x="360045" y="111442"/>
                  </a:lnTo>
                  <a:cubicBezTo>
                    <a:pt x="358140" y="116205"/>
                    <a:pt x="360997" y="121920"/>
                    <a:pt x="365760" y="121920"/>
                  </a:cubicBezTo>
                  <a:cubicBezTo>
                    <a:pt x="378143" y="121920"/>
                    <a:pt x="398145" y="109538"/>
                    <a:pt x="404813" y="93345"/>
                  </a:cubicBezTo>
                  <a:lnTo>
                    <a:pt x="401003" y="93345"/>
                  </a:lnTo>
                  <a:cubicBezTo>
                    <a:pt x="395288" y="99060"/>
                    <a:pt x="384810" y="106680"/>
                    <a:pt x="376238" y="108585"/>
                  </a:cubicBezTo>
                  <a:lnTo>
                    <a:pt x="396240" y="53340"/>
                  </a:lnTo>
                  <a:lnTo>
                    <a:pt x="416243" y="53340"/>
                  </a:lnTo>
                  <a:lnTo>
                    <a:pt x="419100" y="44767"/>
                  </a:lnTo>
                  <a:lnTo>
                    <a:pt x="399097" y="44767"/>
                  </a:lnTo>
                  <a:lnTo>
                    <a:pt x="406718" y="23813"/>
                  </a:lnTo>
                  <a:lnTo>
                    <a:pt x="399097" y="23813"/>
                  </a:lnTo>
                  <a:lnTo>
                    <a:pt x="384810" y="44767"/>
                  </a:lnTo>
                  <a:lnTo>
                    <a:pt x="370522" y="46672"/>
                  </a:lnTo>
                  <a:lnTo>
                    <a:pt x="370522" y="52388"/>
                  </a:lnTo>
                  <a:close/>
                  <a:moveTo>
                    <a:pt x="360997" y="59055"/>
                  </a:moveTo>
                  <a:cubicBezTo>
                    <a:pt x="363855" y="49530"/>
                    <a:pt x="361950" y="40958"/>
                    <a:pt x="355283" y="40958"/>
                  </a:cubicBezTo>
                  <a:cubicBezTo>
                    <a:pt x="346710" y="40958"/>
                    <a:pt x="343853" y="47625"/>
                    <a:pt x="335280" y="66675"/>
                  </a:cubicBezTo>
                  <a:lnTo>
                    <a:pt x="335280" y="55245"/>
                  </a:lnTo>
                  <a:cubicBezTo>
                    <a:pt x="335280" y="47625"/>
                    <a:pt x="332423" y="40005"/>
                    <a:pt x="325755" y="40005"/>
                  </a:cubicBezTo>
                  <a:cubicBezTo>
                    <a:pt x="317183" y="40005"/>
                    <a:pt x="309563" y="53340"/>
                    <a:pt x="303848" y="65722"/>
                  </a:cubicBezTo>
                  <a:lnTo>
                    <a:pt x="307658" y="65722"/>
                  </a:lnTo>
                  <a:cubicBezTo>
                    <a:pt x="311468" y="60008"/>
                    <a:pt x="315278" y="56197"/>
                    <a:pt x="318135" y="56197"/>
                  </a:cubicBezTo>
                  <a:cubicBezTo>
                    <a:pt x="321945" y="56197"/>
                    <a:pt x="323850" y="61913"/>
                    <a:pt x="318135" y="74295"/>
                  </a:cubicBezTo>
                  <a:lnTo>
                    <a:pt x="301943" y="109538"/>
                  </a:lnTo>
                  <a:cubicBezTo>
                    <a:pt x="299085" y="116205"/>
                    <a:pt x="301943" y="120967"/>
                    <a:pt x="308610" y="120967"/>
                  </a:cubicBezTo>
                  <a:cubicBezTo>
                    <a:pt x="312420" y="120967"/>
                    <a:pt x="314325" y="120015"/>
                    <a:pt x="316230" y="115253"/>
                  </a:cubicBezTo>
                  <a:lnTo>
                    <a:pt x="332423" y="73342"/>
                  </a:lnTo>
                  <a:cubicBezTo>
                    <a:pt x="337185" y="67628"/>
                    <a:pt x="340995" y="62865"/>
                    <a:pt x="345758" y="58103"/>
                  </a:cubicBezTo>
                  <a:lnTo>
                    <a:pt x="360997" y="58103"/>
                  </a:lnTo>
                  <a:close/>
                  <a:moveTo>
                    <a:pt x="269558" y="52388"/>
                  </a:moveTo>
                  <a:cubicBezTo>
                    <a:pt x="275273" y="52388"/>
                    <a:pt x="280035" y="56197"/>
                    <a:pt x="277178" y="66675"/>
                  </a:cubicBezTo>
                  <a:lnTo>
                    <a:pt x="251460" y="72390"/>
                  </a:lnTo>
                  <a:cubicBezTo>
                    <a:pt x="256223" y="60960"/>
                    <a:pt x="263843" y="52388"/>
                    <a:pt x="269558" y="52388"/>
                  </a:cubicBezTo>
                  <a:moveTo>
                    <a:pt x="283845" y="93345"/>
                  </a:moveTo>
                  <a:lnTo>
                    <a:pt x="279083" y="93345"/>
                  </a:lnTo>
                  <a:cubicBezTo>
                    <a:pt x="272415" y="100965"/>
                    <a:pt x="265748" y="106680"/>
                    <a:pt x="259080" y="106680"/>
                  </a:cubicBezTo>
                  <a:cubicBezTo>
                    <a:pt x="252413" y="106680"/>
                    <a:pt x="248603" y="102870"/>
                    <a:pt x="248603" y="93345"/>
                  </a:cubicBezTo>
                  <a:cubicBezTo>
                    <a:pt x="248603" y="89535"/>
                    <a:pt x="248603" y="85725"/>
                    <a:pt x="249555" y="81915"/>
                  </a:cubicBezTo>
                  <a:lnTo>
                    <a:pt x="290513" y="68580"/>
                  </a:lnTo>
                  <a:cubicBezTo>
                    <a:pt x="298133" y="49530"/>
                    <a:pt x="288608" y="40958"/>
                    <a:pt x="277178" y="40958"/>
                  </a:cubicBezTo>
                  <a:cubicBezTo>
                    <a:pt x="258128" y="40958"/>
                    <a:pt x="235268" y="73342"/>
                    <a:pt x="235268" y="101917"/>
                  </a:cubicBezTo>
                  <a:cubicBezTo>
                    <a:pt x="235268" y="114300"/>
                    <a:pt x="240983" y="121920"/>
                    <a:pt x="250508" y="121920"/>
                  </a:cubicBezTo>
                  <a:cubicBezTo>
                    <a:pt x="262890" y="121920"/>
                    <a:pt x="274320" y="111442"/>
                    <a:pt x="283845" y="93345"/>
                  </a:cubicBezTo>
                  <a:moveTo>
                    <a:pt x="182880" y="110490"/>
                  </a:moveTo>
                  <a:cubicBezTo>
                    <a:pt x="179070" y="110490"/>
                    <a:pt x="173355" y="106680"/>
                    <a:pt x="173355" y="103822"/>
                  </a:cubicBezTo>
                  <a:cubicBezTo>
                    <a:pt x="173355" y="102870"/>
                    <a:pt x="175260" y="98108"/>
                    <a:pt x="177165" y="92392"/>
                  </a:cubicBezTo>
                  <a:lnTo>
                    <a:pt x="183833" y="74295"/>
                  </a:lnTo>
                  <a:cubicBezTo>
                    <a:pt x="190500" y="65722"/>
                    <a:pt x="201930" y="57150"/>
                    <a:pt x="207645" y="57150"/>
                  </a:cubicBezTo>
                  <a:cubicBezTo>
                    <a:pt x="211455" y="57150"/>
                    <a:pt x="214313" y="59055"/>
                    <a:pt x="214313" y="64770"/>
                  </a:cubicBezTo>
                  <a:cubicBezTo>
                    <a:pt x="215265" y="80963"/>
                    <a:pt x="200025" y="110490"/>
                    <a:pt x="182880" y="110490"/>
                  </a:cubicBezTo>
                  <a:moveTo>
                    <a:pt x="230505" y="58103"/>
                  </a:moveTo>
                  <a:cubicBezTo>
                    <a:pt x="230505" y="45720"/>
                    <a:pt x="225743" y="41910"/>
                    <a:pt x="218123" y="41910"/>
                  </a:cubicBezTo>
                  <a:cubicBezTo>
                    <a:pt x="207645" y="41910"/>
                    <a:pt x="198120" y="53340"/>
                    <a:pt x="188595" y="66675"/>
                  </a:cubicBezTo>
                  <a:lnTo>
                    <a:pt x="213360" y="1905"/>
                  </a:lnTo>
                  <a:lnTo>
                    <a:pt x="212408" y="0"/>
                  </a:lnTo>
                  <a:lnTo>
                    <a:pt x="186690" y="2858"/>
                  </a:lnTo>
                  <a:lnTo>
                    <a:pt x="186690" y="5715"/>
                  </a:lnTo>
                  <a:lnTo>
                    <a:pt x="191453" y="9525"/>
                  </a:lnTo>
                  <a:cubicBezTo>
                    <a:pt x="196215" y="13335"/>
                    <a:pt x="194310" y="17145"/>
                    <a:pt x="190500" y="27622"/>
                  </a:cubicBezTo>
                  <a:lnTo>
                    <a:pt x="163830" y="96203"/>
                  </a:lnTo>
                  <a:cubicBezTo>
                    <a:pt x="161925" y="100965"/>
                    <a:pt x="159068" y="107633"/>
                    <a:pt x="159068" y="108585"/>
                  </a:cubicBezTo>
                  <a:cubicBezTo>
                    <a:pt x="159068" y="115253"/>
                    <a:pt x="168593" y="121920"/>
                    <a:pt x="177165" y="121920"/>
                  </a:cubicBezTo>
                  <a:cubicBezTo>
                    <a:pt x="196215" y="121920"/>
                    <a:pt x="230505" y="85725"/>
                    <a:pt x="230505" y="58103"/>
                  </a:cubicBezTo>
                  <a:moveTo>
                    <a:pt x="149543" y="49530"/>
                  </a:moveTo>
                  <a:cubicBezTo>
                    <a:pt x="151448" y="43815"/>
                    <a:pt x="147638" y="40958"/>
                    <a:pt x="144780" y="40958"/>
                  </a:cubicBezTo>
                  <a:cubicBezTo>
                    <a:pt x="133350" y="40958"/>
                    <a:pt x="119063" y="51435"/>
                    <a:pt x="113348" y="66675"/>
                  </a:cubicBezTo>
                  <a:lnTo>
                    <a:pt x="117157" y="66675"/>
                  </a:lnTo>
                  <a:cubicBezTo>
                    <a:pt x="120968" y="60960"/>
                    <a:pt x="127635" y="55245"/>
                    <a:pt x="133350" y="54292"/>
                  </a:cubicBezTo>
                  <a:lnTo>
                    <a:pt x="110490" y="113347"/>
                  </a:lnTo>
                  <a:cubicBezTo>
                    <a:pt x="108585" y="119063"/>
                    <a:pt x="112395" y="121920"/>
                    <a:pt x="115253" y="121920"/>
                  </a:cubicBezTo>
                  <a:cubicBezTo>
                    <a:pt x="126682" y="121920"/>
                    <a:pt x="140018" y="111442"/>
                    <a:pt x="145733" y="96203"/>
                  </a:cubicBezTo>
                  <a:lnTo>
                    <a:pt x="141923" y="96203"/>
                  </a:lnTo>
                  <a:cubicBezTo>
                    <a:pt x="138113" y="101917"/>
                    <a:pt x="131445" y="107633"/>
                    <a:pt x="125730" y="108585"/>
                  </a:cubicBezTo>
                  <a:lnTo>
                    <a:pt x="149543" y="49530"/>
                  </a:lnTo>
                  <a:close/>
                  <a:moveTo>
                    <a:pt x="153353" y="20003"/>
                  </a:moveTo>
                  <a:cubicBezTo>
                    <a:pt x="159068" y="20003"/>
                    <a:pt x="162878" y="15240"/>
                    <a:pt x="162878" y="10478"/>
                  </a:cubicBezTo>
                  <a:cubicBezTo>
                    <a:pt x="162878" y="4763"/>
                    <a:pt x="158115" y="953"/>
                    <a:pt x="153353" y="953"/>
                  </a:cubicBezTo>
                  <a:cubicBezTo>
                    <a:pt x="147638" y="953"/>
                    <a:pt x="143828" y="5715"/>
                    <a:pt x="143828" y="10478"/>
                  </a:cubicBezTo>
                  <a:cubicBezTo>
                    <a:pt x="143828" y="16192"/>
                    <a:pt x="147638" y="20003"/>
                    <a:pt x="153353" y="20003"/>
                  </a:cubicBezTo>
                  <a:moveTo>
                    <a:pt x="93345" y="10478"/>
                  </a:moveTo>
                  <a:lnTo>
                    <a:pt x="39053" y="10478"/>
                  </a:lnTo>
                  <a:lnTo>
                    <a:pt x="37148" y="15240"/>
                  </a:lnTo>
                  <a:cubicBezTo>
                    <a:pt x="53340" y="18097"/>
                    <a:pt x="54293" y="20003"/>
                    <a:pt x="46673" y="40005"/>
                  </a:cubicBezTo>
                  <a:lnTo>
                    <a:pt x="29528" y="88583"/>
                  </a:lnTo>
                  <a:cubicBezTo>
                    <a:pt x="21908" y="108585"/>
                    <a:pt x="19050" y="110490"/>
                    <a:pt x="953" y="113347"/>
                  </a:cubicBezTo>
                  <a:lnTo>
                    <a:pt x="0" y="118110"/>
                  </a:lnTo>
                  <a:lnTo>
                    <a:pt x="82868" y="118110"/>
                  </a:lnTo>
                  <a:lnTo>
                    <a:pt x="100965" y="86678"/>
                  </a:lnTo>
                  <a:lnTo>
                    <a:pt x="94298" y="86678"/>
                  </a:lnTo>
                  <a:cubicBezTo>
                    <a:pt x="83820" y="98108"/>
                    <a:pt x="72390" y="111442"/>
                    <a:pt x="54293" y="111442"/>
                  </a:cubicBezTo>
                  <a:cubicBezTo>
                    <a:pt x="40957" y="111442"/>
                    <a:pt x="39053" y="109538"/>
                    <a:pt x="46673" y="88583"/>
                  </a:cubicBezTo>
                  <a:lnTo>
                    <a:pt x="63818" y="40005"/>
                  </a:lnTo>
                  <a:cubicBezTo>
                    <a:pt x="71438" y="20003"/>
                    <a:pt x="74295" y="18097"/>
                    <a:pt x="92393" y="15240"/>
                  </a:cubicBezTo>
                  <a:lnTo>
                    <a:pt x="93345" y="1047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BED0E4E2-D4A0-4819-8191-574E83C4B506}"/>
                </a:ext>
              </a:extLst>
            </p:cNvPr>
            <p:cNvSpPr/>
            <p:nvPr/>
          </p:nvSpPr>
          <p:spPr>
            <a:xfrm>
              <a:off x="270509" y="675322"/>
              <a:ext cx="1310640" cy="498157"/>
            </a:xfrm>
            <a:custGeom>
              <a:avLst/>
              <a:gdLst>
                <a:gd name="connsiteX0" fmla="*/ 0 w 1310640"/>
                <a:gd name="connsiteY0" fmla="*/ 196215 h 498157"/>
                <a:gd name="connsiteX1" fmla="*/ 0 w 1310640"/>
                <a:gd name="connsiteY1" fmla="*/ 0 h 498157"/>
                <a:gd name="connsiteX2" fmla="*/ 64770 w 1310640"/>
                <a:gd name="connsiteY2" fmla="*/ 0 h 498157"/>
                <a:gd name="connsiteX3" fmla="*/ 116205 w 1310640"/>
                <a:gd name="connsiteY3" fmla="*/ 16192 h 498157"/>
                <a:gd name="connsiteX4" fmla="*/ 135255 w 1310640"/>
                <a:gd name="connsiteY4" fmla="*/ 59055 h 498157"/>
                <a:gd name="connsiteX5" fmla="*/ 116205 w 1310640"/>
                <a:gd name="connsiteY5" fmla="*/ 101917 h 498157"/>
                <a:gd name="connsiteX6" fmla="*/ 64770 w 1310640"/>
                <a:gd name="connsiteY6" fmla="*/ 118110 h 498157"/>
                <a:gd name="connsiteX7" fmla="*/ 40005 w 1310640"/>
                <a:gd name="connsiteY7" fmla="*/ 118110 h 498157"/>
                <a:gd name="connsiteX8" fmla="*/ 40005 w 1310640"/>
                <a:gd name="connsiteY8" fmla="*/ 197167 h 498157"/>
                <a:gd name="connsiteX9" fmla="*/ 0 w 1310640"/>
                <a:gd name="connsiteY9" fmla="*/ 197167 h 498157"/>
                <a:gd name="connsiteX10" fmla="*/ 65723 w 1310640"/>
                <a:gd name="connsiteY10" fmla="*/ 33338 h 498157"/>
                <a:gd name="connsiteX11" fmla="*/ 39053 w 1310640"/>
                <a:gd name="connsiteY11" fmla="*/ 33338 h 498157"/>
                <a:gd name="connsiteX12" fmla="*/ 39053 w 1310640"/>
                <a:gd name="connsiteY12" fmla="*/ 82867 h 498157"/>
                <a:gd name="connsiteX13" fmla="*/ 65723 w 1310640"/>
                <a:gd name="connsiteY13" fmla="*/ 82867 h 498157"/>
                <a:gd name="connsiteX14" fmla="*/ 85725 w 1310640"/>
                <a:gd name="connsiteY14" fmla="*/ 76200 h 498157"/>
                <a:gd name="connsiteX15" fmla="*/ 93345 w 1310640"/>
                <a:gd name="connsiteY15" fmla="*/ 58102 h 498157"/>
                <a:gd name="connsiteX16" fmla="*/ 85725 w 1310640"/>
                <a:gd name="connsiteY16" fmla="*/ 40005 h 498157"/>
                <a:gd name="connsiteX17" fmla="*/ 65723 w 1310640"/>
                <a:gd name="connsiteY17" fmla="*/ 33338 h 498157"/>
                <a:gd name="connsiteX18" fmla="*/ 166688 w 1310640"/>
                <a:gd name="connsiteY18" fmla="*/ 196215 h 498157"/>
                <a:gd name="connsiteX19" fmla="*/ 166688 w 1310640"/>
                <a:gd name="connsiteY19" fmla="*/ 0 h 498157"/>
                <a:gd name="connsiteX20" fmla="*/ 226695 w 1310640"/>
                <a:gd name="connsiteY20" fmla="*/ 0 h 498157"/>
                <a:gd name="connsiteX21" fmla="*/ 278130 w 1310640"/>
                <a:gd name="connsiteY21" fmla="*/ 16192 h 498157"/>
                <a:gd name="connsiteX22" fmla="*/ 297180 w 1310640"/>
                <a:gd name="connsiteY22" fmla="*/ 59055 h 498157"/>
                <a:gd name="connsiteX23" fmla="*/ 288608 w 1310640"/>
                <a:gd name="connsiteY23" fmla="*/ 89535 h 498157"/>
                <a:gd name="connsiteX24" fmla="*/ 265748 w 1310640"/>
                <a:gd name="connsiteY24" fmla="*/ 109538 h 498157"/>
                <a:gd name="connsiteX25" fmla="*/ 327660 w 1310640"/>
                <a:gd name="connsiteY25" fmla="*/ 196215 h 498157"/>
                <a:gd name="connsiteX26" fmla="*/ 280035 w 1310640"/>
                <a:gd name="connsiteY26" fmla="*/ 196215 h 498157"/>
                <a:gd name="connsiteX27" fmla="*/ 227648 w 1310640"/>
                <a:gd name="connsiteY27" fmla="*/ 117157 h 498157"/>
                <a:gd name="connsiteX28" fmla="*/ 206692 w 1310640"/>
                <a:gd name="connsiteY28" fmla="*/ 117157 h 498157"/>
                <a:gd name="connsiteX29" fmla="*/ 206692 w 1310640"/>
                <a:gd name="connsiteY29" fmla="*/ 196215 h 498157"/>
                <a:gd name="connsiteX30" fmla="*/ 166688 w 1310640"/>
                <a:gd name="connsiteY30" fmla="*/ 196215 h 498157"/>
                <a:gd name="connsiteX31" fmla="*/ 229553 w 1310640"/>
                <a:gd name="connsiteY31" fmla="*/ 33338 h 498157"/>
                <a:gd name="connsiteX32" fmla="*/ 206692 w 1310640"/>
                <a:gd name="connsiteY32" fmla="*/ 33338 h 498157"/>
                <a:gd name="connsiteX33" fmla="*/ 206692 w 1310640"/>
                <a:gd name="connsiteY33" fmla="*/ 82867 h 498157"/>
                <a:gd name="connsiteX34" fmla="*/ 229553 w 1310640"/>
                <a:gd name="connsiteY34" fmla="*/ 82867 h 498157"/>
                <a:gd name="connsiteX35" fmla="*/ 249555 w 1310640"/>
                <a:gd name="connsiteY35" fmla="*/ 76200 h 498157"/>
                <a:gd name="connsiteX36" fmla="*/ 256223 w 1310640"/>
                <a:gd name="connsiteY36" fmla="*/ 58102 h 498157"/>
                <a:gd name="connsiteX37" fmla="*/ 249555 w 1310640"/>
                <a:gd name="connsiteY37" fmla="*/ 40005 h 498157"/>
                <a:gd name="connsiteX38" fmla="*/ 229553 w 1310640"/>
                <a:gd name="connsiteY38" fmla="*/ 33338 h 498157"/>
                <a:gd name="connsiteX39" fmla="*/ 352425 w 1310640"/>
                <a:gd name="connsiteY39" fmla="*/ 196215 h 498157"/>
                <a:gd name="connsiteX40" fmla="*/ 352425 w 1310640"/>
                <a:gd name="connsiteY40" fmla="*/ 0 h 498157"/>
                <a:gd name="connsiteX41" fmla="*/ 466725 w 1310640"/>
                <a:gd name="connsiteY41" fmla="*/ 0 h 498157"/>
                <a:gd name="connsiteX42" fmla="*/ 466725 w 1310640"/>
                <a:gd name="connsiteY42" fmla="*/ 34290 h 498157"/>
                <a:gd name="connsiteX43" fmla="*/ 392430 w 1310640"/>
                <a:gd name="connsiteY43" fmla="*/ 34290 h 498157"/>
                <a:gd name="connsiteX44" fmla="*/ 392430 w 1310640"/>
                <a:gd name="connsiteY44" fmla="*/ 80010 h 498157"/>
                <a:gd name="connsiteX45" fmla="*/ 456248 w 1310640"/>
                <a:gd name="connsiteY45" fmla="*/ 80010 h 498157"/>
                <a:gd name="connsiteX46" fmla="*/ 456248 w 1310640"/>
                <a:gd name="connsiteY46" fmla="*/ 114300 h 498157"/>
                <a:gd name="connsiteX47" fmla="*/ 392430 w 1310640"/>
                <a:gd name="connsiteY47" fmla="*/ 114300 h 498157"/>
                <a:gd name="connsiteX48" fmla="*/ 392430 w 1310640"/>
                <a:gd name="connsiteY48" fmla="*/ 163830 h 498157"/>
                <a:gd name="connsiteX49" fmla="*/ 466725 w 1310640"/>
                <a:gd name="connsiteY49" fmla="*/ 163830 h 498157"/>
                <a:gd name="connsiteX50" fmla="*/ 466725 w 1310640"/>
                <a:gd name="connsiteY50" fmla="*/ 198120 h 498157"/>
                <a:gd name="connsiteX51" fmla="*/ 352425 w 1310640"/>
                <a:gd name="connsiteY51" fmla="*/ 198120 h 498157"/>
                <a:gd name="connsiteX52" fmla="*/ 513398 w 1310640"/>
                <a:gd name="connsiteY52" fmla="*/ 196215 h 498157"/>
                <a:gd name="connsiteX53" fmla="*/ 513398 w 1310640"/>
                <a:gd name="connsiteY53" fmla="*/ 0 h 498157"/>
                <a:gd name="connsiteX54" fmla="*/ 563880 w 1310640"/>
                <a:gd name="connsiteY54" fmla="*/ 0 h 498157"/>
                <a:gd name="connsiteX55" fmla="*/ 611505 w 1310640"/>
                <a:gd name="connsiteY55" fmla="*/ 80963 h 498157"/>
                <a:gd name="connsiteX56" fmla="*/ 659130 w 1310640"/>
                <a:gd name="connsiteY56" fmla="*/ 0 h 498157"/>
                <a:gd name="connsiteX57" fmla="*/ 709613 w 1310640"/>
                <a:gd name="connsiteY57" fmla="*/ 0 h 498157"/>
                <a:gd name="connsiteX58" fmla="*/ 709613 w 1310640"/>
                <a:gd name="connsiteY58" fmla="*/ 197167 h 498157"/>
                <a:gd name="connsiteX59" fmla="*/ 669608 w 1310640"/>
                <a:gd name="connsiteY59" fmla="*/ 197167 h 498157"/>
                <a:gd name="connsiteX60" fmla="*/ 669608 w 1310640"/>
                <a:gd name="connsiteY60" fmla="*/ 56198 h 498157"/>
                <a:gd name="connsiteX61" fmla="*/ 624840 w 1310640"/>
                <a:gd name="connsiteY61" fmla="*/ 128588 h 498157"/>
                <a:gd name="connsiteX62" fmla="*/ 596265 w 1310640"/>
                <a:gd name="connsiteY62" fmla="*/ 128588 h 498157"/>
                <a:gd name="connsiteX63" fmla="*/ 552450 w 1310640"/>
                <a:gd name="connsiteY63" fmla="*/ 56198 h 498157"/>
                <a:gd name="connsiteX64" fmla="*/ 552450 w 1310640"/>
                <a:gd name="connsiteY64" fmla="*/ 196215 h 498157"/>
                <a:gd name="connsiteX65" fmla="*/ 513398 w 1310640"/>
                <a:gd name="connsiteY65" fmla="*/ 196215 h 498157"/>
                <a:gd name="connsiteX66" fmla="*/ 763905 w 1310640"/>
                <a:gd name="connsiteY66" fmla="*/ 196215 h 498157"/>
                <a:gd name="connsiteX67" fmla="*/ 763905 w 1310640"/>
                <a:gd name="connsiteY67" fmla="*/ 0 h 498157"/>
                <a:gd name="connsiteX68" fmla="*/ 803910 w 1310640"/>
                <a:gd name="connsiteY68" fmla="*/ 0 h 498157"/>
                <a:gd name="connsiteX69" fmla="*/ 803910 w 1310640"/>
                <a:gd name="connsiteY69" fmla="*/ 197167 h 498157"/>
                <a:gd name="connsiteX70" fmla="*/ 763905 w 1310640"/>
                <a:gd name="connsiteY70" fmla="*/ 197167 h 498157"/>
                <a:gd name="connsiteX71" fmla="*/ 858203 w 1310640"/>
                <a:gd name="connsiteY71" fmla="*/ 196215 h 498157"/>
                <a:gd name="connsiteX72" fmla="*/ 858203 w 1310640"/>
                <a:gd name="connsiteY72" fmla="*/ 0 h 498157"/>
                <a:gd name="connsiteX73" fmla="*/ 972503 w 1310640"/>
                <a:gd name="connsiteY73" fmla="*/ 0 h 498157"/>
                <a:gd name="connsiteX74" fmla="*/ 972503 w 1310640"/>
                <a:gd name="connsiteY74" fmla="*/ 34290 h 498157"/>
                <a:gd name="connsiteX75" fmla="*/ 898208 w 1310640"/>
                <a:gd name="connsiteY75" fmla="*/ 34290 h 498157"/>
                <a:gd name="connsiteX76" fmla="*/ 898208 w 1310640"/>
                <a:gd name="connsiteY76" fmla="*/ 80010 h 498157"/>
                <a:gd name="connsiteX77" fmla="*/ 962025 w 1310640"/>
                <a:gd name="connsiteY77" fmla="*/ 80010 h 498157"/>
                <a:gd name="connsiteX78" fmla="*/ 962025 w 1310640"/>
                <a:gd name="connsiteY78" fmla="*/ 114300 h 498157"/>
                <a:gd name="connsiteX79" fmla="*/ 898208 w 1310640"/>
                <a:gd name="connsiteY79" fmla="*/ 114300 h 498157"/>
                <a:gd name="connsiteX80" fmla="*/ 898208 w 1310640"/>
                <a:gd name="connsiteY80" fmla="*/ 163830 h 498157"/>
                <a:gd name="connsiteX81" fmla="*/ 972503 w 1310640"/>
                <a:gd name="connsiteY81" fmla="*/ 163830 h 498157"/>
                <a:gd name="connsiteX82" fmla="*/ 972503 w 1310640"/>
                <a:gd name="connsiteY82" fmla="*/ 198120 h 498157"/>
                <a:gd name="connsiteX83" fmla="*/ 858203 w 1310640"/>
                <a:gd name="connsiteY83" fmla="*/ 198120 h 498157"/>
                <a:gd name="connsiteX84" fmla="*/ 1019175 w 1310640"/>
                <a:gd name="connsiteY84" fmla="*/ 196215 h 498157"/>
                <a:gd name="connsiteX85" fmla="*/ 1019175 w 1310640"/>
                <a:gd name="connsiteY85" fmla="*/ 0 h 498157"/>
                <a:gd name="connsiteX86" fmla="*/ 1079183 w 1310640"/>
                <a:gd name="connsiteY86" fmla="*/ 0 h 498157"/>
                <a:gd name="connsiteX87" fmla="*/ 1130618 w 1310640"/>
                <a:gd name="connsiteY87" fmla="*/ 16192 h 498157"/>
                <a:gd name="connsiteX88" fmla="*/ 1149668 w 1310640"/>
                <a:gd name="connsiteY88" fmla="*/ 59055 h 498157"/>
                <a:gd name="connsiteX89" fmla="*/ 1141095 w 1310640"/>
                <a:gd name="connsiteY89" fmla="*/ 89535 h 498157"/>
                <a:gd name="connsiteX90" fmla="*/ 1118235 w 1310640"/>
                <a:gd name="connsiteY90" fmla="*/ 109538 h 498157"/>
                <a:gd name="connsiteX91" fmla="*/ 1180148 w 1310640"/>
                <a:gd name="connsiteY91" fmla="*/ 196215 h 498157"/>
                <a:gd name="connsiteX92" fmla="*/ 1132523 w 1310640"/>
                <a:gd name="connsiteY92" fmla="*/ 196215 h 498157"/>
                <a:gd name="connsiteX93" fmla="*/ 1080135 w 1310640"/>
                <a:gd name="connsiteY93" fmla="*/ 117157 h 498157"/>
                <a:gd name="connsiteX94" fmla="*/ 1059180 w 1310640"/>
                <a:gd name="connsiteY94" fmla="*/ 117157 h 498157"/>
                <a:gd name="connsiteX95" fmla="*/ 1059180 w 1310640"/>
                <a:gd name="connsiteY95" fmla="*/ 196215 h 498157"/>
                <a:gd name="connsiteX96" fmla="*/ 1019175 w 1310640"/>
                <a:gd name="connsiteY96" fmla="*/ 196215 h 498157"/>
                <a:gd name="connsiteX97" fmla="*/ 1082040 w 1310640"/>
                <a:gd name="connsiteY97" fmla="*/ 33338 h 498157"/>
                <a:gd name="connsiteX98" fmla="*/ 1059180 w 1310640"/>
                <a:gd name="connsiteY98" fmla="*/ 33338 h 498157"/>
                <a:gd name="connsiteX99" fmla="*/ 1059180 w 1310640"/>
                <a:gd name="connsiteY99" fmla="*/ 82867 h 498157"/>
                <a:gd name="connsiteX100" fmla="*/ 1082040 w 1310640"/>
                <a:gd name="connsiteY100" fmla="*/ 82867 h 498157"/>
                <a:gd name="connsiteX101" fmla="*/ 1102043 w 1310640"/>
                <a:gd name="connsiteY101" fmla="*/ 76200 h 498157"/>
                <a:gd name="connsiteX102" fmla="*/ 1108710 w 1310640"/>
                <a:gd name="connsiteY102" fmla="*/ 58102 h 498157"/>
                <a:gd name="connsiteX103" fmla="*/ 1102043 w 1310640"/>
                <a:gd name="connsiteY103" fmla="*/ 40005 h 498157"/>
                <a:gd name="connsiteX104" fmla="*/ 1082040 w 1310640"/>
                <a:gd name="connsiteY104" fmla="*/ 33338 h 498157"/>
                <a:gd name="connsiteX105" fmla="*/ 0 w 1310640"/>
                <a:gd name="connsiteY105" fmla="*/ 493395 h 498157"/>
                <a:gd name="connsiteX106" fmla="*/ 0 w 1310640"/>
                <a:gd name="connsiteY106" fmla="*/ 296228 h 498157"/>
                <a:gd name="connsiteX107" fmla="*/ 50483 w 1310640"/>
                <a:gd name="connsiteY107" fmla="*/ 296228 h 498157"/>
                <a:gd name="connsiteX108" fmla="*/ 98108 w 1310640"/>
                <a:gd name="connsiteY108" fmla="*/ 377190 h 498157"/>
                <a:gd name="connsiteX109" fmla="*/ 145733 w 1310640"/>
                <a:gd name="connsiteY109" fmla="*/ 296228 h 498157"/>
                <a:gd name="connsiteX110" fmla="*/ 196215 w 1310640"/>
                <a:gd name="connsiteY110" fmla="*/ 296228 h 498157"/>
                <a:gd name="connsiteX111" fmla="*/ 196215 w 1310640"/>
                <a:gd name="connsiteY111" fmla="*/ 493395 h 498157"/>
                <a:gd name="connsiteX112" fmla="*/ 156210 w 1310640"/>
                <a:gd name="connsiteY112" fmla="*/ 493395 h 498157"/>
                <a:gd name="connsiteX113" fmla="*/ 156210 w 1310640"/>
                <a:gd name="connsiteY113" fmla="*/ 353378 h 498157"/>
                <a:gd name="connsiteX114" fmla="*/ 112395 w 1310640"/>
                <a:gd name="connsiteY114" fmla="*/ 425767 h 498157"/>
                <a:gd name="connsiteX115" fmla="*/ 84773 w 1310640"/>
                <a:gd name="connsiteY115" fmla="*/ 425767 h 498157"/>
                <a:gd name="connsiteX116" fmla="*/ 40958 w 1310640"/>
                <a:gd name="connsiteY116" fmla="*/ 353378 h 498157"/>
                <a:gd name="connsiteX117" fmla="*/ 40958 w 1310640"/>
                <a:gd name="connsiteY117" fmla="*/ 493395 h 498157"/>
                <a:gd name="connsiteX118" fmla="*/ 0 w 1310640"/>
                <a:gd name="connsiteY118" fmla="*/ 493395 h 498157"/>
                <a:gd name="connsiteX119" fmla="*/ 249555 w 1310640"/>
                <a:gd name="connsiteY119" fmla="*/ 493395 h 498157"/>
                <a:gd name="connsiteX120" fmla="*/ 249555 w 1310640"/>
                <a:gd name="connsiteY120" fmla="*/ 296228 h 498157"/>
                <a:gd name="connsiteX121" fmla="*/ 289560 w 1310640"/>
                <a:gd name="connsiteY121" fmla="*/ 296228 h 498157"/>
                <a:gd name="connsiteX122" fmla="*/ 289560 w 1310640"/>
                <a:gd name="connsiteY122" fmla="*/ 493395 h 498157"/>
                <a:gd name="connsiteX123" fmla="*/ 249555 w 1310640"/>
                <a:gd name="connsiteY123" fmla="*/ 493395 h 498157"/>
                <a:gd name="connsiteX124" fmla="*/ 344805 w 1310640"/>
                <a:gd name="connsiteY124" fmla="*/ 493395 h 498157"/>
                <a:gd name="connsiteX125" fmla="*/ 344805 w 1310640"/>
                <a:gd name="connsiteY125" fmla="*/ 296228 h 498157"/>
                <a:gd name="connsiteX126" fmla="*/ 396240 w 1310640"/>
                <a:gd name="connsiteY126" fmla="*/ 296228 h 498157"/>
                <a:gd name="connsiteX127" fmla="*/ 483870 w 1310640"/>
                <a:gd name="connsiteY127" fmla="*/ 437198 h 498157"/>
                <a:gd name="connsiteX128" fmla="*/ 483870 w 1310640"/>
                <a:gd name="connsiteY128" fmla="*/ 296228 h 498157"/>
                <a:gd name="connsiteX129" fmla="*/ 523875 w 1310640"/>
                <a:gd name="connsiteY129" fmla="*/ 296228 h 498157"/>
                <a:gd name="connsiteX130" fmla="*/ 523875 w 1310640"/>
                <a:gd name="connsiteY130" fmla="*/ 493395 h 498157"/>
                <a:gd name="connsiteX131" fmla="*/ 472440 w 1310640"/>
                <a:gd name="connsiteY131" fmla="*/ 493395 h 498157"/>
                <a:gd name="connsiteX132" fmla="*/ 384810 w 1310640"/>
                <a:gd name="connsiteY132" fmla="*/ 352425 h 498157"/>
                <a:gd name="connsiteX133" fmla="*/ 384810 w 1310640"/>
                <a:gd name="connsiteY133" fmla="*/ 493395 h 498157"/>
                <a:gd name="connsiteX134" fmla="*/ 344805 w 1310640"/>
                <a:gd name="connsiteY134" fmla="*/ 493395 h 498157"/>
                <a:gd name="connsiteX135" fmla="*/ 579120 w 1310640"/>
                <a:gd name="connsiteY135" fmla="*/ 493395 h 498157"/>
                <a:gd name="connsiteX136" fmla="*/ 579120 w 1310640"/>
                <a:gd name="connsiteY136" fmla="*/ 296228 h 498157"/>
                <a:gd name="connsiteX137" fmla="*/ 619125 w 1310640"/>
                <a:gd name="connsiteY137" fmla="*/ 296228 h 498157"/>
                <a:gd name="connsiteX138" fmla="*/ 619125 w 1310640"/>
                <a:gd name="connsiteY138" fmla="*/ 493395 h 498157"/>
                <a:gd name="connsiteX139" fmla="*/ 579120 w 1310640"/>
                <a:gd name="connsiteY139" fmla="*/ 493395 h 498157"/>
                <a:gd name="connsiteX140" fmla="*/ 656273 w 1310640"/>
                <a:gd name="connsiteY140" fmla="*/ 466725 h 498157"/>
                <a:gd name="connsiteX141" fmla="*/ 684848 w 1310640"/>
                <a:gd name="connsiteY141" fmla="*/ 440055 h 498157"/>
                <a:gd name="connsiteX142" fmla="*/ 704850 w 1310640"/>
                <a:gd name="connsiteY142" fmla="*/ 458153 h 498157"/>
                <a:gd name="connsiteX143" fmla="*/ 728663 w 1310640"/>
                <a:gd name="connsiteY143" fmla="*/ 464820 h 498157"/>
                <a:gd name="connsiteX144" fmla="*/ 746760 w 1310640"/>
                <a:gd name="connsiteY144" fmla="*/ 459105 h 498157"/>
                <a:gd name="connsiteX145" fmla="*/ 753428 w 1310640"/>
                <a:gd name="connsiteY145" fmla="*/ 441960 h 498157"/>
                <a:gd name="connsiteX146" fmla="*/ 739140 w 1310640"/>
                <a:gd name="connsiteY146" fmla="*/ 421957 h 498157"/>
                <a:gd name="connsiteX147" fmla="*/ 708660 w 1310640"/>
                <a:gd name="connsiteY147" fmla="*/ 406717 h 498157"/>
                <a:gd name="connsiteX148" fmla="*/ 678180 w 1310640"/>
                <a:gd name="connsiteY148" fmla="*/ 385763 h 498157"/>
                <a:gd name="connsiteX149" fmla="*/ 663893 w 1310640"/>
                <a:gd name="connsiteY149" fmla="*/ 348615 h 498157"/>
                <a:gd name="connsiteX150" fmla="*/ 668655 w 1310640"/>
                <a:gd name="connsiteY150" fmla="*/ 326707 h 498157"/>
                <a:gd name="connsiteX151" fmla="*/ 681990 w 1310640"/>
                <a:gd name="connsiteY151" fmla="*/ 308610 h 498157"/>
                <a:gd name="connsiteX152" fmla="*/ 701993 w 1310640"/>
                <a:gd name="connsiteY152" fmla="*/ 296228 h 498157"/>
                <a:gd name="connsiteX153" fmla="*/ 727710 w 1310640"/>
                <a:gd name="connsiteY153" fmla="*/ 291465 h 498157"/>
                <a:gd name="connsiteX154" fmla="*/ 766763 w 1310640"/>
                <a:gd name="connsiteY154" fmla="*/ 300990 h 498157"/>
                <a:gd name="connsiteX155" fmla="*/ 796290 w 1310640"/>
                <a:gd name="connsiteY155" fmla="*/ 324803 h 498157"/>
                <a:gd name="connsiteX156" fmla="*/ 766763 w 1310640"/>
                <a:gd name="connsiteY156" fmla="*/ 350520 h 498157"/>
                <a:gd name="connsiteX157" fmla="*/ 748665 w 1310640"/>
                <a:gd name="connsiteY157" fmla="*/ 332423 h 498157"/>
                <a:gd name="connsiteX158" fmla="*/ 727710 w 1310640"/>
                <a:gd name="connsiteY158" fmla="*/ 325755 h 498157"/>
                <a:gd name="connsiteX159" fmla="*/ 711518 w 1310640"/>
                <a:gd name="connsiteY159" fmla="*/ 331470 h 498157"/>
                <a:gd name="connsiteX160" fmla="*/ 705803 w 1310640"/>
                <a:gd name="connsiteY160" fmla="*/ 345757 h 498157"/>
                <a:gd name="connsiteX161" fmla="*/ 720090 w 1310640"/>
                <a:gd name="connsiteY161" fmla="*/ 365760 h 498157"/>
                <a:gd name="connsiteX162" fmla="*/ 750570 w 1310640"/>
                <a:gd name="connsiteY162" fmla="*/ 381000 h 498157"/>
                <a:gd name="connsiteX163" fmla="*/ 781050 w 1310640"/>
                <a:gd name="connsiteY163" fmla="*/ 401955 h 498157"/>
                <a:gd name="connsiteX164" fmla="*/ 795338 w 1310640"/>
                <a:gd name="connsiteY164" fmla="*/ 440055 h 498157"/>
                <a:gd name="connsiteX165" fmla="*/ 789623 w 1310640"/>
                <a:gd name="connsiteY165" fmla="*/ 464820 h 498157"/>
                <a:gd name="connsiteX166" fmla="*/ 775335 w 1310640"/>
                <a:gd name="connsiteY166" fmla="*/ 482917 h 498157"/>
                <a:gd name="connsiteX167" fmla="*/ 754380 w 1310640"/>
                <a:gd name="connsiteY167" fmla="*/ 494348 h 498157"/>
                <a:gd name="connsiteX168" fmla="*/ 728663 w 1310640"/>
                <a:gd name="connsiteY168" fmla="*/ 498157 h 498157"/>
                <a:gd name="connsiteX169" fmla="*/ 685800 w 1310640"/>
                <a:gd name="connsiteY169" fmla="*/ 489585 h 498157"/>
                <a:gd name="connsiteX170" fmla="*/ 656273 w 1310640"/>
                <a:gd name="connsiteY170" fmla="*/ 466725 h 498157"/>
                <a:gd name="connsiteX171" fmla="*/ 814388 w 1310640"/>
                <a:gd name="connsiteY171" fmla="*/ 333375 h 498157"/>
                <a:gd name="connsiteX172" fmla="*/ 814388 w 1310640"/>
                <a:gd name="connsiteY172" fmla="*/ 297180 h 498157"/>
                <a:gd name="connsiteX173" fmla="*/ 975360 w 1310640"/>
                <a:gd name="connsiteY173" fmla="*/ 297180 h 498157"/>
                <a:gd name="connsiteX174" fmla="*/ 975360 w 1310640"/>
                <a:gd name="connsiteY174" fmla="*/ 333375 h 498157"/>
                <a:gd name="connsiteX175" fmla="*/ 914400 w 1310640"/>
                <a:gd name="connsiteY175" fmla="*/ 333375 h 498157"/>
                <a:gd name="connsiteX176" fmla="*/ 914400 w 1310640"/>
                <a:gd name="connsiteY176" fmla="*/ 493395 h 498157"/>
                <a:gd name="connsiteX177" fmla="*/ 874395 w 1310640"/>
                <a:gd name="connsiteY177" fmla="*/ 493395 h 498157"/>
                <a:gd name="connsiteX178" fmla="*/ 874395 w 1310640"/>
                <a:gd name="connsiteY178" fmla="*/ 333375 h 498157"/>
                <a:gd name="connsiteX179" fmla="*/ 814388 w 1310640"/>
                <a:gd name="connsiteY179" fmla="*/ 333375 h 498157"/>
                <a:gd name="connsiteX180" fmla="*/ 1011555 w 1310640"/>
                <a:gd name="connsiteY180" fmla="*/ 493395 h 498157"/>
                <a:gd name="connsiteX181" fmla="*/ 1011555 w 1310640"/>
                <a:gd name="connsiteY181" fmla="*/ 296228 h 498157"/>
                <a:gd name="connsiteX182" fmla="*/ 1071563 w 1310640"/>
                <a:gd name="connsiteY182" fmla="*/ 296228 h 498157"/>
                <a:gd name="connsiteX183" fmla="*/ 1122998 w 1310640"/>
                <a:gd name="connsiteY183" fmla="*/ 312420 h 498157"/>
                <a:gd name="connsiteX184" fmla="*/ 1142048 w 1310640"/>
                <a:gd name="connsiteY184" fmla="*/ 355282 h 498157"/>
                <a:gd name="connsiteX185" fmla="*/ 1133475 w 1310640"/>
                <a:gd name="connsiteY185" fmla="*/ 385763 h 498157"/>
                <a:gd name="connsiteX186" fmla="*/ 1110615 w 1310640"/>
                <a:gd name="connsiteY186" fmla="*/ 405765 h 498157"/>
                <a:gd name="connsiteX187" fmla="*/ 1172528 w 1310640"/>
                <a:gd name="connsiteY187" fmla="*/ 492442 h 498157"/>
                <a:gd name="connsiteX188" fmla="*/ 1124903 w 1310640"/>
                <a:gd name="connsiteY188" fmla="*/ 492442 h 498157"/>
                <a:gd name="connsiteX189" fmla="*/ 1072515 w 1310640"/>
                <a:gd name="connsiteY189" fmla="*/ 413385 h 498157"/>
                <a:gd name="connsiteX190" fmla="*/ 1051560 w 1310640"/>
                <a:gd name="connsiteY190" fmla="*/ 413385 h 498157"/>
                <a:gd name="connsiteX191" fmla="*/ 1051560 w 1310640"/>
                <a:gd name="connsiteY191" fmla="*/ 492442 h 498157"/>
                <a:gd name="connsiteX192" fmla="*/ 1011555 w 1310640"/>
                <a:gd name="connsiteY192" fmla="*/ 492442 h 498157"/>
                <a:gd name="connsiteX193" fmla="*/ 1073468 w 1310640"/>
                <a:gd name="connsiteY193" fmla="*/ 330517 h 498157"/>
                <a:gd name="connsiteX194" fmla="*/ 1050608 w 1310640"/>
                <a:gd name="connsiteY194" fmla="*/ 330517 h 498157"/>
                <a:gd name="connsiteX195" fmla="*/ 1050608 w 1310640"/>
                <a:gd name="connsiteY195" fmla="*/ 380048 h 498157"/>
                <a:gd name="connsiteX196" fmla="*/ 1073468 w 1310640"/>
                <a:gd name="connsiteY196" fmla="*/ 380048 h 498157"/>
                <a:gd name="connsiteX197" fmla="*/ 1093470 w 1310640"/>
                <a:gd name="connsiteY197" fmla="*/ 373380 h 498157"/>
                <a:gd name="connsiteX198" fmla="*/ 1100138 w 1310640"/>
                <a:gd name="connsiteY198" fmla="*/ 355282 h 498157"/>
                <a:gd name="connsiteX199" fmla="*/ 1093470 w 1310640"/>
                <a:gd name="connsiteY199" fmla="*/ 337185 h 498157"/>
                <a:gd name="connsiteX200" fmla="*/ 1073468 w 1310640"/>
                <a:gd name="connsiteY200" fmla="*/ 330517 h 498157"/>
                <a:gd name="connsiteX201" fmla="*/ 1196340 w 1310640"/>
                <a:gd name="connsiteY201" fmla="*/ 493395 h 498157"/>
                <a:gd name="connsiteX202" fmla="*/ 1196340 w 1310640"/>
                <a:gd name="connsiteY202" fmla="*/ 296228 h 498157"/>
                <a:gd name="connsiteX203" fmla="*/ 1310640 w 1310640"/>
                <a:gd name="connsiteY203" fmla="*/ 296228 h 498157"/>
                <a:gd name="connsiteX204" fmla="*/ 1310640 w 1310640"/>
                <a:gd name="connsiteY204" fmla="*/ 330517 h 498157"/>
                <a:gd name="connsiteX205" fmla="*/ 1236345 w 1310640"/>
                <a:gd name="connsiteY205" fmla="*/ 330517 h 498157"/>
                <a:gd name="connsiteX206" fmla="*/ 1236345 w 1310640"/>
                <a:gd name="connsiteY206" fmla="*/ 376238 h 498157"/>
                <a:gd name="connsiteX207" fmla="*/ 1300163 w 1310640"/>
                <a:gd name="connsiteY207" fmla="*/ 376238 h 498157"/>
                <a:gd name="connsiteX208" fmla="*/ 1300163 w 1310640"/>
                <a:gd name="connsiteY208" fmla="*/ 410528 h 498157"/>
                <a:gd name="connsiteX209" fmla="*/ 1236345 w 1310640"/>
                <a:gd name="connsiteY209" fmla="*/ 410528 h 498157"/>
                <a:gd name="connsiteX210" fmla="*/ 1236345 w 1310640"/>
                <a:gd name="connsiteY210" fmla="*/ 460057 h 498157"/>
                <a:gd name="connsiteX211" fmla="*/ 1310640 w 1310640"/>
                <a:gd name="connsiteY211" fmla="*/ 460057 h 498157"/>
                <a:gd name="connsiteX212" fmla="*/ 1310640 w 1310640"/>
                <a:gd name="connsiteY212" fmla="*/ 494348 h 498157"/>
                <a:gd name="connsiteX213" fmla="*/ 1196340 w 1310640"/>
                <a:gd name="connsiteY213" fmla="*/ 494348 h 49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</a:cxnLst>
              <a:rect l="l" t="t" r="r" b="b"/>
              <a:pathLst>
                <a:path w="1310640" h="498157">
                  <a:moveTo>
                    <a:pt x="0" y="196215"/>
                  </a:moveTo>
                  <a:lnTo>
                    <a:pt x="0" y="0"/>
                  </a:lnTo>
                  <a:lnTo>
                    <a:pt x="64770" y="0"/>
                  </a:lnTo>
                  <a:cubicBezTo>
                    <a:pt x="86678" y="0"/>
                    <a:pt x="102870" y="5715"/>
                    <a:pt x="116205" y="16192"/>
                  </a:cubicBezTo>
                  <a:cubicBezTo>
                    <a:pt x="128588" y="26670"/>
                    <a:pt x="135255" y="40957"/>
                    <a:pt x="135255" y="59055"/>
                  </a:cubicBezTo>
                  <a:cubicBezTo>
                    <a:pt x="135255" y="77152"/>
                    <a:pt x="128588" y="91440"/>
                    <a:pt x="116205" y="101917"/>
                  </a:cubicBezTo>
                  <a:cubicBezTo>
                    <a:pt x="103823" y="112395"/>
                    <a:pt x="86678" y="118110"/>
                    <a:pt x="64770" y="118110"/>
                  </a:cubicBezTo>
                  <a:lnTo>
                    <a:pt x="40005" y="118110"/>
                  </a:lnTo>
                  <a:lnTo>
                    <a:pt x="40005" y="197167"/>
                  </a:lnTo>
                  <a:lnTo>
                    <a:pt x="0" y="197167"/>
                  </a:lnTo>
                  <a:close/>
                  <a:moveTo>
                    <a:pt x="65723" y="33338"/>
                  </a:moveTo>
                  <a:lnTo>
                    <a:pt x="39053" y="33338"/>
                  </a:lnTo>
                  <a:lnTo>
                    <a:pt x="39053" y="82867"/>
                  </a:lnTo>
                  <a:lnTo>
                    <a:pt x="65723" y="82867"/>
                  </a:lnTo>
                  <a:cubicBezTo>
                    <a:pt x="74295" y="82867"/>
                    <a:pt x="80963" y="80963"/>
                    <a:pt x="85725" y="76200"/>
                  </a:cubicBezTo>
                  <a:cubicBezTo>
                    <a:pt x="90488" y="71438"/>
                    <a:pt x="93345" y="65723"/>
                    <a:pt x="93345" y="58102"/>
                  </a:cubicBezTo>
                  <a:cubicBezTo>
                    <a:pt x="93345" y="50482"/>
                    <a:pt x="90488" y="44767"/>
                    <a:pt x="85725" y="40005"/>
                  </a:cubicBezTo>
                  <a:cubicBezTo>
                    <a:pt x="80963" y="36195"/>
                    <a:pt x="74295" y="33338"/>
                    <a:pt x="65723" y="33338"/>
                  </a:cubicBezTo>
                  <a:close/>
                  <a:moveTo>
                    <a:pt x="166688" y="196215"/>
                  </a:moveTo>
                  <a:lnTo>
                    <a:pt x="166688" y="0"/>
                  </a:lnTo>
                  <a:lnTo>
                    <a:pt x="226695" y="0"/>
                  </a:lnTo>
                  <a:cubicBezTo>
                    <a:pt x="248603" y="0"/>
                    <a:pt x="265748" y="5715"/>
                    <a:pt x="278130" y="16192"/>
                  </a:cubicBezTo>
                  <a:cubicBezTo>
                    <a:pt x="290513" y="26670"/>
                    <a:pt x="297180" y="40957"/>
                    <a:pt x="297180" y="59055"/>
                  </a:cubicBezTo>
                  <a:cubicBezTo>
                    <a:pt x="297180" y="70485"/>
                    <a:pt x="294323" y="80963"/>
                    <a:pt x="288608" y="89535"/>
                  </a:cubicBezTo>
                  <a:cubicBezTo>
                    <a:pt x="282893" y="98107"/>
                    <a:pt x="275273" y="104775"/>
                    <a:pt x="265748" y="109538"/>
                  </a:cubicBezTo>
                  <a:lnTo>
                    <a:pt x="327660" y="196215"/>
                  </a:lnTo>
                  <a:lnTo>
                    <a:pt x="280035" y="196215"/>
                  </a:lnTo>
                  <a:lnTo>
                    <a:pt x="227648" y="117157"/>
                  </a:lnTo>
                  <a:lnTo>
                    <a:pt x="206692" y="117157"/>
                  </a:lnTo>
                  <a:lnTo>
                    <a:pt x="206692" y="196215"/>
                  </a:lnTo>
                  <a:lnTo>
                    <a:pt x="166688" y="196215"/>
                  </a:lnTo>
                  <a:close/>
                  <a:moveTo>
                    <a:pt x="229553" y="33338"/>
                  </a:moveTo>
                  <a:lnTo>
                    <a:pt x="206692" y="33338"/>
                  </a:lnTo>
                  <a:lnTo>
                    <a:pt x="206692" y="82867"/>
                  </a:lnTo>
                  <a:lnTo>
                    <a:pt x="229553" y="82867"/>
                  </a:lnTo>
                  <a:cubicBezTo>
                    <a:pt x="238125" y="82867"/>
                    <a:pt x="244792" y="80963"/>
                    <a:pt x="249555" y="76200"/>
                  </a:cubicBezTo>
                  <a:cubicBezTo>
                    <a:pt x="254317" y="71438"/>
                    <a:pt x="256223" y="65723"/>
                    <a:pt x="256223" y="58102"/>
                  </a:cubicBezTo>
                  <a:cubicBezTo>
                    <a:pt x="256223" y="50482"/>
                    <a:pt x="254317" y="44767"/>
                    <a:pt x="249555" y="40005"/>
                  </a:cubicBezTo>
                  <a:cubicBezTo>
                    <a:pt x="244792" y="36195"/>
                    <a:pt x="238125" y="33338"/>
                    <a:pt x="229553" y="33338"/>
                  </a:cubicBezTo>
                  <a:close/>
                  <a:moveTo>
                    <a:pt x="352425" y="196215"/>
                  </a:moveTo>
                  <a:lnTo>
                    <a:pt x="352425" y="0"/>
                  </a:lnTo>
                  <a:lnTo>
                    <a:pt x="466725" y="0"/>
                  </a:lnTo>
                  <a:lnTo>
                    <a:pt x="466725" y="34290"/>
                  </a:lnTo>
                  <a:lnTo>
                    <a:pt x="392430" y="34290"/>
                  </a:lnTo>
                  <a:lnTo>
                    <a:pt x="392430" y="80010"/>
                  </a:lnTo>
                  <a:lnTo>
                    <a:pt x="456248" y="80010"/>
                  </a:lnTo>
                  <a:lnTo>
                    <a:pt x="456248" y="114300"/>
                  </a:lnTo>
                  <a:lnTo>
                    <a:pt x="392430" y="114300"/>
                  </a:lnTo>
                  <a:lnTo>
                    <a:pt x="392430" y="163830"/>
                  </a:lnTo>
                  <a:lnTo>
                    <a:pt x="466725" y="163830"/>
                  </a:lnTo>
                  <a:lnTo>
                    <a:pt x="466725" y="198120"/>
                  </a:lnTo>
                  <a:lnTo>
                    <a:pt x="352425" y="198120"/>
                  </a:lnTo>
                  <a:close/>
                  <a:moveTo>
                    <a:pt x="513398" y="196215"/>
                  </a:moveTo>
                  <a:lnTo>
                    <a:pt x="513398" y="0"/>
                  </a:lnTo>
                  <a:lnTo>
                    <a:pt x="563880" y="0"/>
                  </a:lnTo>
                  <a:lnTo>
                    <a:pt x="611505" y="80963"/>
                  </a:lnTo>
                  <a:lnTo>
                    <a:pt x="659130" y="0"/>
                  </a:lnTo>
                  <a:lnTo>
                    <a:pt x="709613" y="0"/>
                  </a:lnTo>
                  <a:lnTo>
                    <a:pt x="709613" y="197167"/>
                  </a:lnTo>
                  <a:lnTo>
                    <a:pt x="669608" y="197167"/>
                  </a:lnTo>
                  <a:lnTo>
                    <a:pt x="669608" y="56198"/>
                  </a:lnTo>
                  <a:lnTo>
                    <a:pt x="624840" y="128588"/>
                  </a:lnTo>
                  <a:lnTo>
                    <a:pt x="596265" y="128588"/>
                  </a:lnTo>
                  <a:lnTo>
                    <a:pt x="552450" y="56198"/>
                  </a:lnTo>
                  <a:lnTo>
                    <a:pt x="552450" y="196215"/>
                  </a:lnTo>
                  <a:lnTo>
                    <a:pt x="513398" y="196215"/>
                  </a:lnTo>
                  <a:close/>
                  <a:moveTo>
                    <a:pt x="763905" y="196215"/>
                  </a:moveTo>
                  <a:lnTo>
                    <a:pt x="763905" y="0"/>
                  </a:lnTo>
                  <a:lnTo>
                    <a:pt x="803910" y="0"/>
                  </a:lnTo>
                  <a:lnTo>
                    <a:pt x="803910" y="197167"/>
                  </a:lnTo>
                  <a:lnTo>
                    <a:pt x="763905" y="197167"/>
                  </a:lnTo>
                  <a:close/>
                  <a:moveTo>
                    <a:pt x="858203" y="196215"/>
                  </a:moveTo>
                  <a:lnTo>
                    <a:pt x="858203" y="0"/>
                  </a:lnTo>
                  <a:lnTo>
                    <a:pt x="972503" y="0"/>
                  </a:lnTo>
                  <a:lnTo>
                    <a:pt x="972503" y="34290"/>
                  </a:lnTo>
                  <a:lnTo>
                    <a:pt x="898208" y="34290"/>
                  </a:lnTo>
                  <a:lnTo>
                    <a:pt x="898208" y="80010"/>
                  </a:lnTo>
                  <a:lnTo>
                    <a:pt x="962025" y="80010"/>
                  </a:lnTo>
                  <a:lnTo>
                    <a:pt x="962025" y="114300"/>
                  </a:lnTo>
                  <a:lnTo>
                    <a:pt x="898208" y="114300"/>
                  </a:lnTo>
                  <a:lnTo>
                    <a:pt x="898208" y="163830"/>
                  </a:lnTo>
                  <a:lnTo>
                    <a:pt x="972503" y="163830"/>
                  </a:lnTo>
                  <a:lnTo>
                    <a:pt x="972503" y="198120"/>
                  </a:lnTo>
                  <a:lnTo>
                    <a:pt x="858203" y="198120"/>
                  </a:lnTo>
                  <a:close/>
                  <a:moveTo>
                    <a:pt x="1019175" y="196215"/>
                  </a:moveTo>
                  <a:lnTo>
                    <a:pt x="1019175" y="0"/>
                  </a:lnTo>
                  <a:lnTo>
                    <a:pt x="1079183" y="0"/>
                  </a:lnTo>
                  <a:cubicBezTo>
                    <a:pt x="1101090" y="0"/>
                    <a:pt x="1118235" y="5715"/>
                    <a:pt x="1130618" y="16192"/>
                  </a:cubicBezTo>
                  <a:cubicBezTo>
                    <a:pt x="1143000" y="26670"/>
                    <a:pt x="1149668" y="40957"/>
                    <a:pt x="1149668" y="59055"/>
                  </a:cubicBezTo>
                  <a:cubicBezTo>
                    <a:pt x="1149668" y="70485"/>
                    <a:pt x="1146810" y="80963"/>
                    <a:pt x="1141095" y="89535"/>
                  </a:cubicBezTo>
                  <a:cubicBezTo>
                    <a:pt x="1135380" y="98107"/>
                    <a:pt x="1127760" y="104775"/>
                    <a:pt x="1118235" y="109538"/>
                  </a:cubicBezTo>
                  <a:lnTo>
                    <a:pt x="1180148" y="196215"/>
                  </a:lnTo>
                  <a:lnTo>
                    <a:pt x="1132523" y="196215"/>
                  </a:lnTo>
                  <a:lnTo>
                    <a:pt x="1080135" y="117157"/>
                  </a:lnTo>
                  <a:lnTo>
                    <a:pt x="1059180" y="117157"/>
                  </a:lnTo>
                  <a:lnTo>
                    <a:pt x="1059180" y="196215"/>
                  </a:lnTo>
                  <a:lnTo>
                    <a:pt x="1019175" y="196215"/>
                  </a:lnTo>
                  <a:close/>
                  <a:moveTo>
                    <a:pt x="1082040" y="33338"/>
                  </a:moveTo>
                  <a:lnTo>
                    <a:pt x="1059180" y="33338"/>
                  </a:lnTo>
                  <a:lnTo>
                    <a:pt x="1059180" y="82867"/>
                  </a:lnTo>
                  <a:lnTo>
                    <a:pt x="1082040" y="82867"/>
                  </a:lnTo>
                  <a:cubicBezTo>
                    <a:pt x="1090613" y="82867"/>
                    <a:pt x="1097280" y="80963"/>
                    <a:pt x="1102043" y="76200"/>
                  </a:cubicBezTo>
                  <a:cubicBezTo>
                    <a:pt x="1106805" y="71438"/>
                    <a:pt x="1108710" y="65723"/>
                    <a:pt x="1108710" y="58102"/>
                  </a:cubicBezTo>
                  <a:cubicBezTo>
                    <a:pt x="1108710" y="50482"/>
                    <a:pt x="1106805" y="44767"/>
                    <a:pt x="1102043" y="40005"/>
                  </a:cubicBezTo>
                  <a:cubicBezTo>
                    <a:pt x="1097280" y="36195"/>
                    <a:pt x="1090613" y="33338"/>
                    <a:pt x="1082040" y="33338"/>
                  </a:cubicBezTo>
                  <a:close/>
                  <a:moveTo>
                    <a:pt x="0" y="493395"/>
                  </a:moveTo>
                  <a:lnTo>
                    <a:pt x="0" y="296228"/>
                  </a:lnTo>
                  <a:lnTo>
                    <a:pt x="50483" y="296228"/>
                  </a:lnTo>
                  <a:lnTo>
                    <a:pt x="98108" y="377190"/>
                  </a:lnTo>
                  <a:lnTo>
                    <a:pt x="145733" y="296228"/>
                  </a:lnTo>
                  <a:lnTo>
                    <a:pt x="196215" y="296228"/>
                  </a:lnTo>
                  <a:lnTo>
                    <a:pt x="196215" y="493395"/>
                  </a:lnTo>
                  <a:lnTo>
                    <a:pt x="156210" y="493395"/>
                  </a:lnTo>
                  <a:lnTo>
                    <a:pt x="156210" y="353378"/>
                  </a:lnTo>
                  <a:lnTo>
                    <a:pt x="112395" y="425767"/>
                  </a:lnTo>
                  <a:lnTo>
                    <a:pt x="84773" y="425767"/>
                  </a:lnTo>
                  <a:lnTo>
                    <a:pt x="40958" y="353378"/>
                  </a:lnTo>
                  <a:lnTo>
                    <a:pt x="40958" y="493395"/>
                  </a:lnTo>
                  <a:lnTo>
                    <a:pt x="0" y="493395"/>
                  </a:lnTo>
                  <a:close/>
                  <a:moveTo>
                    <a:pt x="249555" y="493395"/>
                  </a:moveTo>
                  <a:lnTo>
                    <a:pt x="249555" y="296228"/>
                  </a:lnTo>
                  <a:lnTo>
                    <a:pt x="289560" y="296228"/>
                  </a:lnTo>
                  <a:lnTo>
                    <a:pt x="289560" y="493395"/>
                  </a:lnTo>
                  <a:lnTo>
                    <a:pt x="249555" y="493395"/>
                  </a:lnTo>
                  <a:close/>
                  <a:moveTo>
                    <a:pt x="344805" y="493395"/>
                  </a:moveTo>
                  <a:lnTo>
                    <a:pt x="344805" y="296228"/>
                  </a:lnTo>
                  <a:lnTo>
                    <a:pt x="396240" y="296228"/>
                  </a:lnTo>
                  <a:lnTo>
                    <a:pt x="483870" y="437198"/>
                  </a:lnTo>
                  <a:lnTo>
                    <a:pt x="483870" y="296228"/>
                  </a:lnTo>
                  <a:lnTo>
                    <a:pt x="523875" y="296228"/>
                  </a:lnTo>
                  <a:lnTo>
                    <a:pt x="523875" y="493395"/>
                  </a:lnTo>
                  <a:lnTo>
                    <a:pt x="472440" y="493395"/>
                  </a:lnTo>
                  <a:lnTo>
                    <a:pt x="384810" y="352425"/>
                  </a:lnTo>
                  <a:lnTo>
                    <a:pt x="384810" y="493395"/>
                  </a:lnTo>
                  <a:lnTo>
                    <a:pt x="344805" y="493395"/>
                  </a:lnTo>
                  <a:close/>
                  <a:moveTo>
                    <a:pt x="579120" y="493395"/>
                  </a:moveTo>
                  <a:lnTo>
                    <a:pt x="579120" y="296228"/>
                  </a:lnTo>
                  <a:lnTo>
                    <a:pt x="619125" y="296228"/>
                  </a:lnTo>
                  <a:lnTo>
                    <a:pt x="619125" y="493395"/>
                  </a:lnTo>
                  <a:lnTo>
                    <a:pt x="579120" y="493395"/>
                  </a:lnTo>
                  <a:close/>
                  <a:moveTo>
                    <a:pt x="656273" y="466725"/>
                  </a:moveTo>
                  <a:lnTo>
                    <a:pt x="684848" y="440055"/>
                  </a:lnTo>
                  <a:cubicBezTo>
                    <a:pt x="690563" y="447675"/>
                    <a:pt x="697230" y="453390"/>
                    <a:pt x="704850" y="458153"/>
                  </a:cubicBezTo>
                  <a:cubicBezTo>
                    <a:pt x="712470" y="462915"/>
                    <a:pt x="720090" y="464820"/>
                    <a:pt x="728663" y="464820"/>
                  </a:cubicBezTo>
                  <a:cubicBezTo>
                    <a:pt x="736283" y="464820"/>
                    <a:pt x="742950" y="462915"/>
                    <a:pt x="746760" y="459105"/>
                  </a:cubicBezTo>
                  <a:cubicBezTo>
                    <a:pt x="751523" y="455295"/>
                    <a:pt x="753428" y="449580"/>
                    <a:pt x="753428" y="441960"/>
                  </a:cubicBezTo>
                  <a:cubicBezTo>
                    <a:pt x="753428" y="433388"/>
                    <a:pt x="748665" y="426720"/>
                    <a:pt x="739140" y="421957"/>
                  </a:cubicBezTo>
                  <a:cubicBezTo>
                    <a:pt x="729615" y="417195"/>
                    <a:pt x="719138" y="412432"/>
                    <a:pt x="708660" y="406717"/>
                  </a:cubicBezTo>
                  <a:cubicBezTo>
                    <a:pt x="697230" y="401003"/>
                    <a:pt x="686753" y="394335"/>
                    <a:pt x="678180" y="385763"/>
                  </a:cubicBezTo>
                  <a:cubicBezTo>
                    <a:pt x="669608" y="377190"/>
                    <a:pt x="663893" y="364807"/>
                    <a:pt x="663893" y="348615"/>
                  </a:cubicBezTo>
                  <a:cubicBezTo>
                    <a:pt x="663893" y="340995"/>
                    <a:pt x="665798" y="333375"/>
                    <a:pt x="668655" y="326707"/>
                  </a:cubicBezTo>
                  <a:cubicBezTo>
                    <a:pt x="671513" y="320040"/>
                    <a:pt x="676275" y="313373"/>
                    <a:pt x="681990" y="308610"/>
                  </a:cubicBezTo>
                  <a:cubicBezTo>
                    <a:pt x="687705" y="303848"/>
                    <a:pt x="694373" y="299085"/>
                    <a:pt x="701993" y="296228"/>
                  </a:cubicBezTo>
                  <a:cubicBezTo>
                    <a:pt x="709613" y="293370"/>
                    <a:pt x="718185" y="291465"/>
                    <a:pt x="727710" y="291465"/>
                  </a:cubicBezTo>
                  <a:cubicBezTo>
                    <a:pt x="741998" y="291465"/>
                    <a:pt x="755333" y="294323"/>
                    <a:pt x="766763" y="300990"/>
                  </a:cubicBezTo>
                  <a:cubicBezTo>
                    <a:pt x="778193" y="306705"/>
                    <a:pt x="787718" y="315278"/>
                    <a:pt x="796290" y="324803"/>
                  </a:cubicBezTo>
                  <a:lnTo>
                    <a:pt x="766763" y="350520"/>
                  </a:lnTo>
                  <a:cubicBezTo>
                    <a:pt x="761048" y="342900"/>
                    <a:pt x="754380" y="337185"/>
                    <a:pt x="748665" y="332423"/>
                  </a:cubicBezTo>
                  <a:cubicBezTo>
                    <a:pt x="741998" y="327660"/>
                    <a:pt x="735330" y="325755"/>
                    <a:pt x="727710" y="325755"/>
                  </a:cubicBezTo>
                  <a:cubicBezTo>
                    <a:pt x="721043" y="325755"/>
                    <a:pt x="715328" y="327660"/>
                    <a:pt x="711518" y="331470"/>
                  </a:cubicBezTo>
                  <a:cubicBezTo>
                    <a:pt x="707708" y="335280"/>
                    <a:pt x="705803" y="340042"/>
                    <a:pt x="705803" y="345757"/>
                  </a:cubicBezTo>
                  <a:cubicBezTo>
                    <a:pt x="705803" y="354330"/>
                    <a:pt x="710565" y="360998"/>
                    <a:pt x="720090" y="365760"/>
                  </a:cubicBezTo>
                  <a:cubicBezTo>
                    <a:pt x="729615" y="370523"/>
                    <a:pt x="740093" y="375285"/>
                    <a:pt x="750570" y="381000"/>
                  </a:cubicBezTo>
                  <a:cubicBezTo>
                    <a:pt x="762000" y="386715"/>
                    <a:pt x="772478" y="393382"/>
                    <a:pt x="781050" y="401955"/>
                  </a:cubicBezTo>
                  <a:cubicBezTo>
                    <a:pt x="790575" y="410528"/>
                    <a:pt x="795338" y="422910"/>
                    <a:pt x="795338" y="440055"/>
                  </a:cubicBezTo>
                  <a:cubicBezTo>
                    <a:pt x="795338" y="449580"/>
                    <a:pt x="793433" y="457200"/>
                    <a:pt x="789623" y="464820"/>
                  </a:cubicBezTo>
                  <a:cubicBezTo>
                    <a:pt x="785813" y="472440"/>
                    <a:pt x="781050" y="478155"/>
                    <a:pt x="775335" y="482917"/>
                  </a:cubicBezTo>
                  <a:cubicBezTo>
                    <a:pt x="769620" y="487680"/>
                    <a:pt x="762953" y="491490"/>
                    <a:pt x="754380" y="494348"/>
                  </a:cubicBezTo>
                  <a:cubicBezTo>
                    <a:pt x="746760" y="497205"/>
                    <a:pt x="738188" y="498157"/>
                    <a:pt x="728663" y="498157"/>
                  </a:cubicBezTo>
                  <a:cubicBezTo>
                    <a:pt x="712470" y="498157"/>
                    <a:pt x="698183" y="495300"/>
                    <a:pt x="685800" y="489585"/>
                  </a:cubicBezTo>
                  <a:cubicBezTo>
                    <a:pt x="675323" y="484823"/>
                    <a:pt x="664845" y="476250"/>
                    <a:pt x="656273" y="466725"/>
                  </a:cubicBezTo>
                  <a:close/>
                  <a:moveTo>
                    <a:pt x="814388" y="333375"/>
                  </a:moveTo>
                  <a:lnTo>
                    <a:pt x="814388" y="297180"/>
                  </a:lnTo>
                  <a:lnTo>
                    <a:pt x="975360" y="297180"/>
                  </a:lnTo>
                  <a:lnTo>
                    <a:pt x="975360" y="333375"/>
                  </a:lnTo>
                  <a:lnTo>
                    <a:pt x="914400" y="333375"/>
                  </a:lnTo>
                  <a:lnTo>
                    <a:pt x="914400" y="493395"/>
                  </a:lnTo>
                  <a:lnTo>
                    <a:pt x="874395" y="493395"/>
                  </a:lnTo>
                  <a:lnTo>
                    <a:pt x="874395" y="333375"/>
                  </a:lnTo>
                  <a:lnTo>
                    <a:pt x="814388" y="333375"/>
                  </a:lnTo>
                  <a:close/>
                  <a:moveTo>
                    <a:pt x="1011555" y="493395"/>
                  </a:moveTo>
                  <a:lnTo>
                    <a:pt x="1011555" y="296228"/>
                  </a:lnTo>
                  <a:lnTo>
                    <a:pt x="1071563" y="296228"/>
                  </a:lnTo>
                  <a:cubicBezTo>
                    <a:pt x="1093470" y="296228"/>
                    <a:pt x="1110615" y="301942"/>
                    <a:pt x="1122998" y="312420"/>
                  </a:cubicBezTo>
                  <a:cubicBezTo>
                    <a:pt x="1135380" y="322898"/>
                    <a:pt x="1142048" y="337185"/>
                    <a:pt x="1142048" y="355282"/>
                  </a:cubicBezTo>
                  <a:cubicBezTo>
                    <a:pt x="1142048" y="366713"/>
                    <a:pt x="1139190" y="377190"/>
                    <a:pt x="1133475" y="385763"/>
                  </a:cubicBezTo>
                  <a:cubicBezTo>
                    <a:pt x="1127760" y="394335"/>
                    <a:pt x="1120140" y="401003"/>
                    <a:pt x="1110615" y="405765"/>
                  </a:cubicBezTo>
                  <a:lnTo>
                    <a:pt x="1172528" y="492442"/>
                  </a:lnTo>
                  <a:lnTo>
                    <a:pt x="1124903" y="492442"/>
                  </a:lnTo>
                  <a:lnTo>
                    <a:pt x="1072515" y="413385"/>
                  </a:lnTo>
                  <a:lnTo>
                    <a:pt x="1051560" y="413385"/>
                  </a:lnTo>
                  <a:lnTo>
                    <a:pt x="1051560" y="492442"/>
                  </a:lnTo>
                  <a:lnTo>
                    <a:pt x="1011555" y="492442"/>
                  </a:lnTo>
                  <a:close/>
                  <a:moveTo>
                    <a:pt x="1073468" y="330517"/>
                  </a:moveTo>
                  <a:lnTo>
                    <a:pt x="1050608" y="330517"/>
                  </a:lnTo>
                  <a:lnTo>
                    <a:pt x="1050608" y="380048"/>
                  </a:lnTo>
                  <a:lnTo>
                    <a:pt x="1073468" y="380048"/>
                  </a:lnTo>
                  <a:cubicBezTo>
                    <a:pt x="1082040" y="380048"/>
                    <a:pt x="1088708" y="378142"/>
                    <a:pt x="1093470" y="373380"/>
                  </a:cubicBezTo>
                  <a:cubicBezTo>
                    <a:pt x="1098233" y="368617"/>
                    <a:pt x="1100138" y="362903"/>
                    <a:pt x="1100138" y="355282"/>
                  </a:cubicBezTo>
                  <a:cubicBezTo>
                    <a:pt x="1100138" y="347663"/>
                    <a:pt x="1098233" y="341948"/>
                    <a:pt x="1093470" y="337185"/>
                  </a:cubicBezTo>
                  <a:cubicBezTo>
                    <a:pt x="1088708" y="333375"/>
                    <a:pt x="1082040" y="330517"/>
                    <a:pt x="1073468" y="330517"/>
                  </a:cubicBezTo>
                  <a:close/>
                  <a:moveTo>
                    <a:pt x="1196340" y="493395"/>
                  </a:moveTo>
                  <a:lnTo>
                    <a:pt x="1196340" y="296228"/>
                  </a:lnTo>
                  <a:lnTo>
                    <a:pt x="1310640" y="296228"/>
                  </a:lnTo>
                  <a:lnTo>
                    <a:pt x="1310640" y="330517"/>
                  </a:lnTo>
                  <a:lnTo>
                    <a:pt x="1236345" y="330517"/>
                  </a:lnTo>
                  <a:lnTo>
                    <a:pt x="1236345" y="376238"/>
                  </a:lnTo>
                  <a:lnTo>
                    <a:pt x="1300163" y="376238"/>
                  </a:lnTo>
                  <a:lnTo>
                    <a:pt x="1300163" y="410528"/>
                  </a:lnTo>
                  <a:lnTo>
                    <a:pt x="1236345" y="410528"/>
                  </a:lnTo>
                  <a:lnTo>
                    <a:pt x="1236345" y="460057"/>
                  </a:lnTo>
                  <a:lnTo>
                    <a:pt x="1310640" y="460057"/>
                  </a:lnTo>
                  <a:lnTo>
                    <a:pt x="1310640" y="494348"/>
                  </a:lnTo>
                  <a:lnTo>
                    <a:pt x="1196340" y="49434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grpSp>
          <p:nvGrpSpPr>
            <p:cNvPr id="10" name="Graphique 2">
              <a:extLst>
                <a:ext uri="{FF2B5EF4-FFF2-40B4-BE49-F238E27FC236}">
                  <a16:creationId xmlns:a16="http://schemas.microsoft.com/office/drawing/2014/main" id="{BB4AE2C8-C4DB-4471-9ABD-029EE0FA7393}"/>
                </a:ext>
              </a:extLst>
            </p:cNvPr>
            <p:cNvGrpSpPr/>
            <p:nvPr/>
          </p:nvGrpSpPr>
          <p:grpSpPr>
            <a:xfrm>
              <a:off x="270509" y="269557"/>
              <a:ext cx="744854" cy="270510"/>
              <a:chOff x="270509" y="269557"/>
              <a:chExt cx="744854" cy="270510"/>
            </a:xfrm>
          </p:grpSpPr>
          <p:sp>
            <p:nvSpPr>
              <p:cNvPr id="11" name="Forme libre : forme 10">
                <a:extLst>
                  <a:ext uri="{FF2B5EF4-FFF2-40B4-BE49-F238E27FC236}">
                    <a16:creationId xmlns:a16="http://schemas.microsoft.com/office/drawing/2014/main" id="{8483BC22-0BB3-4233-918B-F44B28383B89}"/>
                  </a:ext>
                </a:extLst>
              </p:cNvPr>
              <p:cNvSpPr/>
              <p:nvPr/>
            </p:nvSpPr>
            <p:spPr>
              <a:xfrm>
                <a:off x="419100" y="270509"/>
                <a:ext cx="359871" cy="268604"/>
              </a:xfrm>
              <a:custGeom>
                <a:avLst/>
                <a:gdLst>
                  <a:gd name="connsiteX0" fmla="*/ 158115 w 359871"/>
                  <a:gd name="connsiteY0" fmla="*/ 237173 h 268604"/>
                  <a:gd name="connsiteX1" fmla="*/ 166688 w 359871"/>
                  <a:gd name="connsiteY1" fmla="*/ 227648 h 268604"/>
                  <a:gd name="connsiteX2" fmla="*/ 166688 w 359871"/>
                  <a:gd name="connsiteY2" fmla="*/ 227648 h 268604"/>
                  <a:gd name="connsiteX3" fmla="*/ 183833 w 359871"/>
                  <a:gd name="connsiteY3" fmla="*/ 210503 h 268604"/>
                  <a:gd name="connsiteX4" fmla="*/ 189548 w 359871"/>
                  <a:gd name="connsiteY4" fmla="*/ 205740 h 268604"/>
                  <a:gd name="connsiteX5" fmla="*/ 190500 w 359871"/>
                  <a:gd name="connsiteY5" fmla="*/ 203835 h 268604"/>
                  <a:gd name="connsiteX6" fmla="*/ 183833 w 359871"/>
                  <a:gd name="connsiteY6" fmla="*/ 207645 h 268604"/>
                  <a:gd name="connsiteX7" fmla="*/ 182880 w 359871"/>
                  <a:gd name="connsiteY7" fmla="*/ 206692 h 268604"/>
                  <a:gd name="connsiteX8" fmla="*/ 188595 w 359871"/>
                  <a:gd name="connsiteY8" fmla="*/ 202883 h 268604"/>
                  <a:gd name="connsiteX9" fmla="*/ 188595 w 359871"/>
                  <a:gd name="connsiteY9" fmla="*/ 202883 h 268604"/>
                  <a:gd name="connsiteX10" fmla="*/ 187643 w 359871"/>
                  <a:gd name="connsiteY10" fmla="*/ 201930 h 268604"/>
                  <a:gd name="connsiteX11" fmla="*/ 171450 w 359871"/>
                  <a:gd name="connsiteY11" fmla="*/ 210503 h 268604"/>
                  <a:gd name="connsiteX12" fmla="*/ 168593 w 359871"/>
                  <a:gd name="connsiteY12" fmla="*/ 209550 h 268604"/>
                  <a:gd name="connsiteX13" fmla="*/ 147638 w 359871"/>
                  <a:gd name="connsiteY13" fmla="*/ 221933 h 268604"/>
                  <a:gd name="connsiteX14" fmla="*/ 147638 w 359871"/>
                  <a:gd name="connsiteY14" fmla="*/ 220980 h 268604"/>
                  <a:gd name="connsiteX15" fmla="*/ 138113 w 359871"/>
                  <a:gd name="connsiteY15" fmla="*/ 224790 h 268604"/>
                  <a:gd name="connsiteX16" fmla="*/ 125730 w 359871"/>
                  <a:gd name="connsiteY16" fmla="*/ 225742 h 268604"/>
                  <a:gd name="connsiteX17" fmla="*/ 107632 w 359871"/>
                  <a:gd name="connsiteY17" fmla="*/ 228600 h 268604"/>
                  <a:gd name="connsiteX18" fmla="*/ 106680 w 359871"/>
                  <a:gd name="connsiteY18" fmla="*/ 228600 h 268604"/>
                  <a:gd name="connsiteX19" fmla="*/ 97155 w 359871"/>
                  <a:gd name="connsiteY19" fmla="*/ 232410 h 268604"/>
                  <a:gd name="connsiteX20" fmla="*/ 97155 w 359871"/>
                  <a:gd name="connsiteY20" fmla="*/ 232410 h 268604"/>
                  <a:gd name="connsiteX21" fmla="*/ 96202 w 359871"/>
                  <a:gd name="connsiteY21" fmla="*/ 233363 h 268604"/>
                  <a:gd name="connsiteX22" fmla="*/ 92393 w 359871"/>
                  <a:gd name="connsiteY22" fmla="*/ 236220 h 268604"/>
                  <a:gd name="connsiteX23" fmla="*/ 83820 w 359871"/>
                  <a:gd name="connsiteY23" fmla="*/ 242888 h 268604"/>
                  <a:gd name="connsiteX24" fmla="*/ 82868 w 359871"/>
                  <a:gd name="connsiteY24" fmla="*/ 242888 h 268604"/>
                  <a:gd name="connsiteX25" fmla="*/ 74295 w 359871"/>
                  <a:gd name="connsiteY25" fmla="*/ 250508 h 268604"/>
                  <a:gd name="connsiteX26" fmla="*/ 72390 w 359871"/>
                  <a:gd name="connsiteY26" fmla="*/ 250508 h 268604"/>
                  <a:gd name="connsiteX27" fmla="*/ 72390 w 359871"/>
                  <a:gd name="connsiteY27" fmla="*/ 250508 h 268604"/>
                  <a:gd name="connsiteX28" fmla="*/ 72390 w 359871"/>
                  <a:gd name="connsiteY28" fmla="*/ 249555 h 268604"/>
                  <a:gd name="connsiteX29" fmla="*/ 73343 w 359871"/>
                  <a:gd name="connsiteY29" fmla="*/ 247650 h 268604"/>
                  <a:gd name="connsiteX30" fmla="*/ 75248 w 359871"/>
                  <a:gd name="connsiteY30" fmla="*/ 245745 h 268604"/>
                  <a:gd name="connsiteX31" fmla="*/ 77152 w 359871"/>
                  <a:gd name="connsiteY31" fmla="*/ 242888 h 268604"/>
                  <a:gd name="connsiteX32" fmla="*/ 77152 w 359871"/>
                  <a:gd name="connsiteY32" fmla="*/ 241935 h 268604"/>
                  <a:gd name="connsiteX33" fmla="*/ 76200 w 359871"/>
                  <a:gd name="connsiteY33" fmla="*/ 241935 h 268604"/>
                  <a:gd name="connsiteX34" fmla="*/ 84773 w 359871"/>
                  <a:gd name="connsiteY34" fmla="*/ 235267 h 268604"/>
                  <a:gd name="connsiteX35" fmla="*/ 84773 w 359871"/>
                  <a:gd name="connsiteY35" fmla="*/ 235267 h 268604"/>
                  <a:gd name="connsiteX36" fmla="*/ 83820 w 359871"/>
                  <a:gd name="connsiteY36" fmla="*/ 234315 h 268604"/>
                  <a:gd name="connsiteX37" fmla="*/ 84773 w 359871"/>
                  <a:gd name="connsiteY37" fmla="*/ 233363 h 268604"/>
                  <a:gd name="connsiteX38" fmla="*/ 84773 w 359871"/>
                  <a:gd name="connsiteY38" fmla="*/ 233363 h 268604"/>
                  <a:gd name="connsiteX39" fmla="*/ 84773 w 359871"/>
                  <a:gd name="connsiteY39" fmla="*/ 233363 h 268604"/>
                  <a:gd name="connsiteX40" fmla="*/ 84773 w 359871"/>
                  <a:gd name="connsiteY40" fmla="*/ 234315 h 268604"/>
                  <a:gd name="connsiteX41" fmla="*/ 80963 w 359871"/>
                  <a:gd name="connsiteY41" fmla="*/ 237173 h 268604"/>
                  <a:gd name="connsiteX42" fmla="*/ 80010 w 359871"/>
                  <a:gd name="connsiteY42" fmla="*/ 237173 h 268604"/>
                  <a:gd name="connsiteX43" fmla="*/ 79057 w 359871"/>
                  <a:gd name="connsiteY43" fmla="*/ 237173 h 268604"/>
                  <a:gd name="connsiteX44" fmla="*/ 79057 w 359871"/>
                  <a:gd name="connsiteY44" fmla="*/ 237173 h 268604"/>
                  <a:gd name="connsiteX45" fmla="*/ 79057 w 359871"/>
                  <a:gd name="connsiteY45" fmla="*/ 237173 h 268604"/>
                  <a:gd name="connsiteX46" fmla="*/ 79057 w 359871"/>
                  <a:gd name="connsiteY46" fmla="*/ 237173 h 268604"/>
                  <a:gd name="connsiteX47" fmla="*/ 79057 w 359871"/>
                  <a:gd name="connsiteY47" fmla="*/ 237173 h 268604"/>
                  <a:gd name="connsiteX48" fmla="*/ 79057 w 359871"/>
                  <a:gd name="connsiteY48" fmla="*/ 237173 h 268604"/>
                  <a:gd name="connsiteX49" fmla="*/ 79057 w 359871"/>
                  <a:gd name="connsiteY49" fmla="*/ 237173 h 268604"/>
                  <a:gd name="connsiteX50" fmla="*/ 79057 w 359871"/>
                  <a:gd name="connsiteY50" fmla="*/ 236220 h 268604"/>
                  <a:gd name="connsiteX51" fmla="*/ 79057 w 359871"/>
                  <a:gd name="connsiteY51" fmla="*/ 236220 h 268604"/>
                  <a:gd name="connsiteX52" fmla="*/ 80010 w 359871"/>
                  <a:gd name="connsiteY52" fmla="*/ 235267 h 268604"/>
                  <a:gd name="connsiteX53" fmla="*/ 80010 w 359871"/>
                  <a:gd name="connsiteY53" fmla="*/ 234315 h 268604"/>
                  <a:gd name="connsiteX54" fmla="*/ 80963 w 359871"/>
                  <a:gd name="connsiteY54" fmla="*/ 233363 h 268604"/>
                  <a:gd name="connsiteX55" fmla="*/ 80963 w 359871"/>
                  <a:gd name="connsiteY55" fmla="*/ 232410 h 268604"/>
                  <a:gd name="connsiteX56" fmla="*/ 84773 w 359871"/>
                  <a:gd name="connsiteY56" fmla="*/ 229553 h 268604"/>
                  <a:gd name="connsiteX57" fmla="*/ 84773 w 359871"/>
                  <a:gd name="connsiteY57" fmla="*/ 229553 h 268604"/>
                  <a:gd name="connsiteX58" fmla="*/ 90488 w 359871"/>
                  <a:gd name="connsiteY58" fmla="*/ 226695 h 268604"/>
                  <a:gd name="connsiteX59" fmla="*/ 91440 w 359871"/>
                  <a:gd name="connsiteY59" fmla="*/ 225742 h 268604"/>
                  <a:gd name="connsiteX60" fmla="*/ 82868 w 359871"/>
                  <a:gd name="connsiteY60" fmla="*/ 229553 h 268604"/>
                  <a:gd name="connsiteX61" fmla="*/ 81915 w 359871"/>
                  <a:gd name="connsiteY61" fmla="*/ 229553 h 268604"/>
                  <a:gd name="connsiteX62" fmla="*/ 80963 w 359871"/>
                  <a:gd name="connsiteY62" fmla="*/ 229553 h 268604"/>
                  <a:gd name="connsiteX63" fmla="*/ 80963 w 359871"/>
                  <a:gd name="connsiteY63" fmla="*/ 229553 h 268604"/>
                  <a:gd name="connsiteX64" fmla="*/ 83820 w 359871"/>
                  <a:gd name="connsiteY64" fmla="*/ 226695 h 268604"/>
                  <a:gd name="connsiteX65" fmla="*/ 84773 w 359871"/>
                  <a:gd name="connsiteY65" fmla="*/ 227648 h 268604"/>
                  <a:gd name="connsiteX66" fmla="*/ 142875 w 359871"/>
                  <a:gd name="connsiteY66" fmla="*/ 211455 h 268604"/>
                  <a:gd name="connsiteX67" fmla="*/ 147638 w 359871"/>
                  <a:gd name="connsiteY67" fmla="*/ 208598 h 268604"/>
                  <a:gd name="connsiteX68" fmla="*/ 155258 w 359871"/>
                  <a:gd name="connsiteY68" fmla="*/ 203835 h 268604"/>
                  <a:gd name="connsiteX69" fmla="*/ 163830 w 359871"/>
                  <a:gd name="connsiteY69" fmla="*/ 192405 h 268604"/>
                  <a:gd name="connsiteX70" fmla="*/ 162877 w 359871"/>
                  <a:gd name="connsiteY70" fmla="*/ 191453 h 268604"/>
                  <a:gd name="connsiteX71" fmla="*/ 140018 w 359871"/>
                  <a:gd name="connsiteY71" fmla="*/ 208598 h 268604"/>
                  <a:gd name="connsiteX72" fmla="*/ 106680 w 359871"/>
                  <a:gd name="connsiteY72" fmla="*/ 214313 h 268604"/>
                  <a:gd name="connsiteX73" fmla="*/ 109538 w 359871"/>
                  <a:gd name="connsiteY73" fmla="*/ 213360 h 268604"/>
                  <a:gd name="connsiteX74" fmla="*/ 111443 w 359871"/>
                  <a:gd name="connsiteY74" fmla="*/ 210503 h 268604"/>
                  <a:gd name="connsiteX75" fmla="*/ 113348 w 359871"/>
                  <a:gd name="connsiteY75" fmla="*/ 210503 h 268604"/>
                  <a:gd name="connsiteX76" fmla="*/ 114300 w 359871"/>
                  <a:gd name="connsiteY76" fmla="*/ 209550 h 268604"/>
                  <a:gd name="connsiteX77" fmla="*/ 116205 w 359871"/>
                  <a:gd name="connsiteY77" fmla="*/ 208598 h 268604"/>
                  <a:gd name="connsiteX78" fmla="*/ 108585 w 359871"/>
                  <a:gd name="connsiteY78" fmla="*/ 208598 h 268604"/>
                  <a:gd name="connsiteX79" fmla="*/ 110490 w 359871"/>
                  <a:gd name="connsiteY79" fmla="*/ 205740 h 268604"/>
                  <a:gd name="connsiteX80" fmla="*/ 112395 w 359871"/>
                  <a:gd name="connsiteY80" fmla="*/ 205740 h 268604"/>
                  <a:gd name="connsiteX81" fmla="*/ 113348 w 359871"/>
                  <a:gd name="connsiteY81" fmla="*/ 203835 h 268604"/>
                  <a:gd name="connsiteX82" fmla="*/ 135255 w 359871"/>
                  <a:gd name="connsiteY82" fmla="*/ 191453 h 268604"/>
                  <a:gd name="connsiteX83" fmla="*/ 131445 w 359871"/>
                  <a:gd name="connsiteY83" fmla="*/ 192405 h 268604"/>
                  <a:gd name="connsiteX84" fmla="*/ 132398 w 359871"/>
                  <a:gd name="connsiteY84" fmla="*/ 190500 h 268604"/>
                  <a:gd name="connsiteX85" fmla="*/ 148590 w 359871"/>
                  <a:gd name="connsiteY85" fmla="*/ 183833 h 268604"/>
                  <a:gd name="connsiteX86" fmla="*/ 142875 w 359871"/>
                  <a:gd name="connsiteY86" fmla="*/ 183833 h 268604"/>
                  <a:gd name="connsiteX87" fmla="*/ 145733 w 359871"/>
                  <a:gd name="connsiteY87" fmla="*/ 181928 h 268604"/>
                  <a:gd name="connsiteX88" fmla="*/ 145733 w 359871"/>
                  <a:gd name="connsiteY88" fmla="*/ 180023 h 268604"/>
                  <a:gd name="connsiteX89" fmla="*/ 146685 w 359871"/>
                  <a:gd name="connsiteY89" fmla="*/ 179070 h 268604"/>
                  <a:gd name="connsiteX90" fmla="*/ 145733 w 359871"/>
                  <a:gd name="connsiteY90" fmla="*/ 178117 h 268604"/>
                  <a:gd name="connsiteX91" fmla="*/ 148590 w 359871"/>
                  <a:gd name="connsiteY91" fmla="*/ 176213 h 268604"/>
                  <a:gd name="connsiteX92" fmla="*/ 146685 w 359871"/>
                  <a:gd name="connsiteY92" fmla="*/ 175260 h 268604"/>
                  <a:gd name="connsiteX93" fmla="*/ 153352 w 359871"/>
                  <a:gd name="connsiteY93" fmla="*/ 172403 h 268604"/>
                  <a:gd name="connsiteX94" fmla="*/ 151448 w 359871"/>
                  <a:gd name="connsiteY94" fmla="*/ 171450 h 268604"/>
                  <a:gd name="connsiteX95" fmla="*/ 152400 w 359871"/>
                  <a:gd name="connsiteY95" fmla="*/ 170498 h 268604"/>
                  <a:gd name="connsiteX96" fmla="*/ 152400 w 359871"/>
                  <a:gd name="connsiteY96" fmla="*/ 170498 h 268604"/>
                  <a:gd name="connsiteX97" fmla="*/ 151448 w 359871"/>
                  <a:gd name="connsiteY97" fmla="*/ 168592 h 268604"/>
                  <a:gd name="connsiteX98" fmla="*/ 156210 w 359871"/>
                  <a:gd name="connsiteY98" fmla="*/ 156210 h 268604"/>
                  <a:gd name="connsiteX99" fmla="*/ 155258 w 359871"/>
                  <a:gd name="connsiteY99" fmla="*/ 155258 h 268604"/>
                  <a:gd name="connsiteX100" fmla="*/ 134302 w 359871"/>
                  <a:gd name="connsiteY100" fmla="*/ 164783 h 268604"/>
                  <a:gd name="connsiteX101" fmla="*/ 131445 w 359871"/>
                  <a:gd name="connsiteY101" fmla="*/ 164783 h 268604"/>
                  <a:gd name="connsiteX102" fmla="*/ 122873 w 359871"/>
                  <a:gd name="connsiteY102" fmla="*/ 163830 h 268604"/>
                  <a:gd name="connsiteX103" fmla="*/ 118110 w 359871"/>
                  <a:gd name="connsiteY103" fmla="*/ 160020 h 268604"/>
                  <a:gd name="connsiteX104" fmla="*/ 105727 w 359871"/>
                  <a:gd name="connsiteY104" fmla="*/ 154305 h 268604"/>
                  <a:gd name="connsiteX105" fmla="*/ 66675 w 359871"/>
                  <a:gd name="connsiteY105" fmla="*/ 148590 h 268604"/>
                  <a:gd name="connsiteX106" fmla="*/ 84773 w 359871"/>
                  <a:gd name="connsiteY106" fmla="*/ 143828 h 268604"/>
                  <a:gd name="connsiteX107" fmla="*/ 110490 w 359871"/>
                  <a:gd name="connsiteY107" fmla="*/ 139065 h 268604"/>
                  <a:gd name="connsiteX108" fmla="*/ 105727 w 359871"/>
                  <a:gd name="connsiteY108" fmla="*/ 139065 h 268604"/>
                  <a:gd name="connsiteX109" fmla="*/ 83820 w 359871"/>
                  <a:gd name="connsiteY109" fmla="*/ 141923 h 268604"/>
                  <a:gd name="connsiteX110" fmla="*/ 68580 w 359871"/>
                  <a:gd name="connsiteY110" fmla="*/ 145733 h 268604"/>
                  <a:gd name="connsiteX111" fmla="*/ 60007 w 359871"/>
                  <a:gd name="connsiteY111" fmla="*/ 149542 h 268604"/>
                  <a:gd name="connsiteX112" fmla="*/ 60007 w 359871"/>
                  <a:gd name="connsiteY112" fmla="*/ 147638 h 268604"/>
                  <a:gd name="connsiteX113" fmla="*/ 79057 w 359871"/>
                  <a:gd name="connsiteY113" fmla="*/ 135255 h 268604"/>
                  <a:gd name="connsiteX114" fmla="*/ 105727 w 359871"/>
                  <a:gd name="connsiteY114" fmla="*/ 136208 h 268604"/>
                  <a:gd name="connsiteX115" fmla="*/ 124777 w 359871"/>
                  <a:gd name="connsiteY115" fmla="*/ 140017 h 268604"/>
                  <a:gd name="connsiteX116" fmla="*/ 129540 w 359871"/>
                  <a:gd name="connsiteY116" fmla="*/ 144780 h 268604"/>
                  <a:gd name="connsiteX117" fmla="*/ 139065 w 359871"/>
                  <a:gd name="connsiteY117" fmla="*/ 146685 h 268604"/>
                  <a:gd name="connsiteX118" fmla="*/ 139065 w 359871"/>
                  <a:gd name="connsiteY118" fmla="*/ 143828 h 268604"/>
                  <a:gd name="connsiteX119" fmla="*/ 145733 w 359871"/>
                  <a:gd name="connsiteY119" fmla="*/ 142875 h 268604"/>
                  <a:gd name="connsiteX120" fmla="*/ 140018 w 359871"/>
                  <a:gd name="connsiteY120" fmla="*/ 132398 h 268604"/>
                  <a:gd name="connsiteX121" fmla="*/ 140970 w 359871"/>
                  <a:gd name="connsiteY121" fmla="*/ 131445 h 268604"/>
                  <a:gd name="connsiteX122" fmla="*/ 153352 w 359871"/>
                  <a:gd name="connsiteY122" fmla="*/ 141923 h 268604"/>
                  <a:gd name="connsiteX123" fmla="*/ 160973 w 359871"/>
                  <a:gd name="connsiteY123" fmla="*/ 140970 h 268604"/>
                  <a:gd name="connsiteX124" fmla="*/ 149543 w 359871"/>
                  <a:gd name="connsiteY124" fmla="*/ 125730 h 268604"/>
                  <a:gd name="connsiteX125" fmla="*/ 149543 w 359871"/>
                  <a:gd name="connsiteY125" fmla="*/ 123825 h 268604"/>
                  <a:gd name="connsiteX126" fmla="*/ 147638 w 359871"/>
                  <a:gd name="connsiteY126" fmla="*/ 122873 h 268604"/>
                  <a:gd name="connsiteX127" fmla="*/ 147638 w 359871"/>
                  <a:gd name="connsiteY127" fmla="*/ 120015 h 268604"/>
                  <a:gd name="connsiteX128" fmla="*/ 144780 w 359871"/>
                  <a:gd name="connsiteY128" fmla="*/ 115253 h 268604"/>
                  <a:gd name="connsiteX129" fmla="*/ 142875 w 359871"/>
                  <a:gd name="connsiteY129" fmla="*/ 105728 h 268604"/>
                  <a:gd name="connsiteX130" fmla="*/ 141923 w 359871"/>
                  <a:gd name="connsiteY130" fmla="*/ 98108 h 268604"/>
                  <a:gd name="connsiteX131" fmla="*/ 137160 w 359871"/>
                  <a:gd name="connsiteY131" fmla="*/ 73342 h 268604"/>
                  <a:gd name="connsiteX132" fmla="*/ 147638 w 359871"/>
                  <a:gd name="connsiteY132" fmla="*/ 47625 h 268604"/>
                  <a:gd name="connsiteX133" fmla="*/ 161925 w 359871"/>
                  <a:gd name="connsiteY133" fmla="*/ 31433 h 268604"/>
                  <a:gd name="connsiteX134" fmla="*/ 171450 w 359871"/>
                  <a:gd name="connsiteY134" fmla="*/ 15240 h 268604"/>
                  <a:gd name="connsiteX135" fmla="*/ 187643 w 359871"/>
                  <a:gd name="connsiteY135" fmla="*/ 4763 h 268604"/>
                  <a:gd name="connsiteX136" fmla="*/ 200977 w 359871"/>
                  <a:gd name="connsiteY136" fmla="*/ 0 h 268604"/>
                  <a:gd name="connsiteX137" fmla="*/ 302895 w 359871"/>
                  <a:gd name="connsiteY137" fmla="*/ 0 h 268604"/>
                  <a:gd name="connsiteX138" fmla="*/ 305753 w 359871"/>
                  <a:gd name="connsiteY138" fmla="*/ 953 h 268604"/>
                  <a:gd name="connsiteX139" fmla="*/ 313373 w 359871"/>
                  <a:gd name="connsiteY139" fmla="*/ 4763 h 268604"/>
                  <a:gd name="connsiteX140" fmla="*/ 322898 w 359871"/>
                  <a:gd name="connsiteY140" fmla="*/ 13335 h 268604"/>
                  <a:gd name="connsiteX141" fmla="*/ 324803 w 359871"/>
                  <a:gd name="connsiteY141" fmla="*/ 20003 h 268604"/>
                  <a:gd name="connsiteX142" fmla="*/ 320992 w 359871"/>
                  <a:gd name="connsiteY142" fmla="*/ 27622 h 268604"/>
                  <a:gd name="connsiteX143" fmla="*/ 310515 w 359871"/>
                  <a:gd name="connsiteY143" fmla="*/ 28575 h 268604"/>
                  <a:gd name="connsiteX144" fmla="*/ 304800 w 359871"/>
                  <a:gd name="connsiteY144" fmla="*/ 27622 h 268604"/>
                  <a:gd name="connsiteX145" fmla="*/ 324803 w 359871"/>
                  <a:gd name="connsiteY145" fmla="*/ 40958 h 268604"/>
                  <a:gd name="connsiteX146" fmla="*/ 329565 w 359871"/>
                  <a:gd name="connsiteY146" fmla="*/ 42863 h 268604"/>
                  <a:gd name="connsiteX147" fmla="*/ 330517 w 359871"/>
                  <a:gd name="connsiteY147" fmla="*/ 44767 h 268604"/>
                  <a:gd name="connsiteX148" fmla="*/ 328613 w 359871"/>
                  <a:gd name="connsiteY148" fmla="*/ 47625 h 268604"/>
                  <a:gd name="connsiteX149" fmla="*/ 330517 w 359871"/>
                  <a:gd name="connsiteY149" fmla="*/ 47625 h 268604"/>
                  <a:gd name="connsiteX150" fmla="*/ 336233 w 359871"/>
                  <a:gd name="connsiteY150" fmla="*/ 42863 h 268604"/>
                  <a:gd name="connsiteX151" fmla="*/ 338138 w 359871"/>
                  <a:gd name="connsiteY151" fmla="*/ 50483 h 268604"/>
                  <a:gd name="connsiteX152" fmla="*/ 332423 w 359871"/>
                  <a:gd name="connsiteY152" fmla="*/ 55245 h 268604"/>
                  <a:gd name="connsiteX153" fmla="*/ 332423 w 359871"/>
                  <a:gd name="connsiteY153" fmla="*/ 59055 h 268604"/>
                  <a:gd name="connsiteX154" fmla="*/ 335280 w 359871"/>
                  <a:gd name="connsiteY154" fmla="*/ 64770 h 268604"/>
                  <a:gd name="connsiteX155" fmla="*/ 339090 w 359871"/>
                  <a:gd name="connsiteY155" fmla="*/ 76200 h 268604"/>
                  <a:gd name="connsiteX156" fmla="*/ 342900 w 359871"/>
                  <a:gd name="connsiteY156" fmla="*/ 99060 h 268604"/>
                  <a:gd name="connsiteX157" fmla="*/ 341948 w 359871"/>
                  <a:gd name="connsiteY157" fmla="*/ 110490 h 268604"/>
                  <a:gd name="connsiteX158" fmla="*/ 347663 w 359871"/>
                  <a:gd name="connsiteY158" fmla="*/ 120967 h 268604"/>
                  <a:gd name="connsiteX159" fmla="*/ 353378 w 359871"/>
                  <a:gd name="connsiteY159" fmla="*/ 129540 h 268604"/>
                  <a:gd name="connsiteX160" fmla="*/ 359092 w 359871"/>
                  <a:gd name="connsiteY160" fmla="*/ 145733 h 268604"/>
                  <a:gd name="connsiteX161" fmla="*/ 348615 w 359871"/>
                  <a:gd name="connsiteY161" fmla="*/ 150495 h 268604"/>
                  <a:gd name="connsiteX162" fmla="*/ 349567 w 359871"/>
                  <a:gd name="connsiteY162" fmla="*/ 160020 h 268604"/>
                  <a:gd name="connsiteX163" fmla="*/ 342900 w 359871"/>
                  <a:gd name="connsiteY163" fmla="*/ 169545 h 268604"/>
                  <a:gd name="connsiteX164" fmla="*/ 346710 w 359871"/>
                  <a:gd name="connsiteY164" fmla="*/ 171450 h 268604"/>
                  <a:gd name="connsiteX165" fmla="*/ 348615 w 359871"/>
                  <a:gd name="connsiteY165" fmla="*/ 178117 h 268604"/>
                  <a:gd name="connsiteX166" fmla="*/ 343853 w 359871"/>
                  <a:gd name="connsiteY166" fmla="*/ 187642 h 268604"/>
                  <a:gd name="connsiteX167" fmla="*/ 342900 w 359871"/>
                  <a:gd name="connsiteY167" fmla="*/ 199073 h 268604"/>
                  <a:gd name="connsiteX168" fmla="*/ 333375 w 359871"/>
                  <a:gd name="connsiteY168" fmla="*/ 206692 h 268604"/>
                  <a:gd name="connsiteX169" fmla="*/ 323850 w 359871"/>
                  <a:gd name="connsiteY169" fmla="*/ 207645 h 268604"/>
                  <a:gd name="connsiteX170" fmla="*/ 318135 w 359871"/>
                  <a:gd name="connsiteY170" fmla="*/ 205740 h 268604"/>
                  <a:gd name="connsiteX171" fmla="*/ 292417 w 359871"/>
                  <a:gd name="connsiteY171" fmla="*/ 201930 h 268604"/>
                  <a:gd name="connsiteX172" fmla="*/ 285750 w 359871"/>
                  <a:gd name="connsiteY172" fmla="*/ 203835 h 268604"/>
                  <a:gd name="connsiteX173" fmla="*/ 280035 w 359871"/>
                  <a:gd name="connsiteY173" fmla="*/ 209550 h 268604"/>
                  <a:gd name="connsiteX174" fmla="*/ 280035 w 359871"/>
                  <a:gd name="connsiteY174" fmla="*/ 209550 h 268604"/>
                  <a:gd name="connsiteX175" fmla="*/ 279083 w 359871"/>
                  <a:gd name="connsiteY175" fmla="*/ 210503 h 268604"/>
                  <a:gd name="connsiteX176" fmla="*/ 278130 w 359871"/>
                  <a:gd name="connsiteY176" fmla="*/ 211455 h 268604"/>
                  <a:gd name="connsiteX177" fmla="*/ 278130 w 359871"/>
                  <a:gd name="connsiteY177" fmla="*/ 212408 h 268604"/>
                  <a:gd name="connsiteX178" fmla="*/ 274320 w 359871"/>
                  <a:gd name="connsiteY178" fmla="*/ 218123 h 268604"/>
                  <a:gd name="connsiteX179" fmla="*/ 274320 w 359871"/>
                  <a:gd name="connsiteY179" fmla="*/ 218123 h 268604"/>
                  <a:gd name="connsiteX180" fmla="*/ 274320 w 359871"/>
                  <a:gd name="connsiteY180" fmla="*/ 219075 h 268604"/>
                  <a:gd name="connsiteX181" fmla="*/ 270510 w 359871"/>
                  <a:gd name="connsiteY181" fmla="*/ 228600 h 268604"/>
                  <a:gd name="connsiteX182" fmla="*/ 271463 w 359871"/>
                  <a:gd name="connsiteY182" fmla="*/ 252413 h 268604"/>
                  <a:gd name="connsiteX183" fmla="*/ 299085 w 359871"/>
                  <a:gd name="connsiteY183" fmla="*/ 262890 h 268604"/>
                  <a:gd name="connsiteX184" fmla="*/ 311467 w 359871"/>
                  <a:gd name="connsiteY184" fmla="*/ 268605 h 268604"/>
                  <a:gd name="connsiteX185" fmla="*/ 101918 w 359871"/>
                  <a:gd name="connsiteY185" fmla="*/ 268605 h 268604"/>
                  <a:gd name="connsiteX186" fmla="*/ 135255 w 359871"/>
                  <a:gd name="connsiteY186" fmla="*/ 251460 h 268604"/>
                  <a:gd name="connsiteX187" fmla="*/ 158115 w 359871"/>
                  <a:gd name="connsiteY187" fmla="*/ 237173 h 268604"/>
                  <a:gd name="connsiteX188" fmla="*/ 79057 w 359871"/>
                  <a:gd name="connsiteY188" fmla="*/ 200978 h 268604"/>
                  <a:gd name="connsiteX189" fmla="*/ 76200 w 359871"/>
                  <a:gd name="connsiteY189" fmla="*/ 200025 h 268604"/>
                  <a:gd name="connsiteX190" fmla="*/ 81915 w 359871"/>
                  <a:gd name="connsiteY190" fmla="*/ 196215 h 268604"/>
                  <a:gd name="connsiteX191" fmla="*/ 85725 w 359871"/>
                  <a:gd name="connsiteY191" fmla="*/ 195263 h 268604"/>
                  <a:gd name="connsiteX192" fmla="*/ 89535 w 359871"/>
                  <a:gd name="connsiteY192" fmla="*/ 197167 h 268604"/>
                  <a:gd name="connsiteX193" fmla="*/ 79057 w 359871"/>
                  <a:gd name="connsiteY193" fmla="*/ 200978 h 268604"/>
                  <a:gd name="connsiteX194" fmla="*/ 952 w 359871"/>
                  <a:gd name="connsiteY194" fmla="*/ 189548 h 268604"/>
                  <a:gd name="connsiteX195" fmla="*/ 0 w 359871"/>
                  <a:gd name="connsiteY195" fmla="*/ 188595 h 268604"/>
                  <a:gd name="connsiteX196" fmla="*/ 16193 w 359871"/>
                  <a:gd name="connsiteY196" fmla="*/ 162878 h 268604"/>
                  <a:gd name="connsiteX197" fmla="*/ 33338 w 359871"/>
                  <a:gd name="connsiteY197" fmla="*/ 148590 h 268604"/>
                  <a:gd name="connsiteX198" fmla="*/ 61913 w 359871"/>
                  <a:gd name="connsiteY198" fmla="*/ 125730 h 268604"/>
                  <a:gd name="connsiteX199" fmla="*/ 75248 w 359871"/>
                  <a:gd name="connsiteY199" fmla="*/ 126683 h 268604"/>
                  <a:gd name="connsiteX200" fmla="*/ 69532 w 359871"/>
                  <a:gd name="connsiteY200" fmla="*/ 129540 h 268604"/>
                  <a:gd name="connsiteX201" fmla="*/ 67627 w 359871"/>
                  <a:gd name="connsiteY201" fmla="*/ 128588 h 268604"/>
                  <a:gd name="connsiteX202" fmla="*/ 68580 w 359871"/>
                  <a:gd name="connsiteY202" fmla="*/ 126683 h 268604"/>
                  <a:gd name="connsiteX203" fmla="*/ 52388 w 359871"/>
                  <a:gd name="connsiteY203" fmla="*/ 141923 h 268604"/>
                  <a:gd name="connsiteX204" fmla="*/ 40957 w 359871"/>
                  <a:gd name="connsiteY204" fmla="*/ 155258 h 268604"/>
                  <a:gd name="connsiteX205" fmla="*/ 40005 w 359871"/>
                  <a:gd name="connsiteY205" fmla="*/ 154305 h 268604"/>
                  <a:gd name="connsiteX206" fmla="*/ 952 w 359871"/>
                  <a:gd name="connsiteY206" fmla="*/ 189548 h 268604"/>
                  <a:gd name="connsiteX207" fmla="*/ 43815 w 359871"/>
                  <a:gd name="connsiteY207" fmla="*/ 156210 h 268604"/>
                  <a:gd name="connsiteX208" fmla="*/ 41910 w 359871"/>
                  <a:gd name="connsiteY208" fmla="*/ 158115 h 268604"/>
                  <a:gd name="connsiteX209" fmla="*/ 40005 w 359871"/>
                  <a:gd name="connsiteY209" fmla="*/ 160020 h 268604"/>
                  <a:gd name="connsiteX210" fmla="*/ 39052 w 359871"/>
                  <a:gd name="connsiteY210" fmla="*/ 159067 h 268604"/>
                  <a:gd name="connsiteX211" fmla="*/ 42863 w 359871"/>
                  <a:gd name="connsiteY211" fmla="*/ 154305 h 268604"/>
                  <a:gd name="connsiteX212" fmla="*/ 43815 w 359871"/>
                  <a:gd name="connsiteY212" fmla="*/ 156210 h 268604"/>
                  <a:gd name="connsiteX213" fmla="*/ 67627 w 359871"/>
                  <a:gd name="connsiteY213" fmla="*/ 232410 h 268604"/>
                  <a:gd name="connsiteX214" fmla="*/ 66675 w 359871"/>
                  <a:gd name="connsiteY214" fmla="*/ 234315 h 268604"/>
                  <a:gd name="connsiteX215" fmla="*/ 67627 w 359871"/>
                  <a:gd name="connsiteY215" fmla="*/ 235267 h 268604"/>
                  <a:gd name="connsiteX216" fmla="*/ 63818 w 359871"/>
                  <a:gd name="connsiteY216" fmla="*/ 238125 h 268604"/>
                  <a:gd name="connsiteX217" fmla="*/ 62865 w 359871"/>
                  <a:gd name="connsiteY217" fmla="*/ 238125 h 268604"/>
                  <a:gd name="connsiteX218" fmla="*/ 60960 w 359871"/>
                  <a:gd name="connsiteY218" fmla="*/ 240030 h 268604"/>
                  <a:gd name="connsiteX219" fmla="*/ 58102 w 359871"/>
                  <a:gd name="connsiteY219" fmla="*/ 239078 h 268604"/>
                  <a:gd name="connsiteX220" fmla="*/ 61913 w 359871"/>
                  <a:gd name="connsiteY220" fmla="*/ 235267 h 268604"/>
                  <a:gd name="connsiteX221" fmla="*/ 63818 w 359871"/>
                  <a:gd name="connsiteY221" fmla="*/ 233363 h 268604"/>
                  <a:gd name="connsiteX222" fmla="*/ 64770 w 359871"/>
                  <a:gd name="connsiteY222" fmla="*/ 232410 h 268604"/>
                  <a:gd name="connsiteX223" fmla="*/ 67627 w 359871"/>
                  <a:gd name="connsiteY223" fmla="*/ 232410 h 268604"/>
                  <a:gd name="connsiteX224" fmla="*/ 58102 w 359871"/>
                  <a:gd name="connsiteY224" fmla="*/ 228600 h 268604"/>
                  <a:gd name="connsiteX225" fmla="*/ 58102 w 359871"/>
                  <a:gd name="connsiteY225" fmla="*/ 228600 h 268604"/>
                  <a:gd name="connsiteX226" fmla="*/ 52388 w 359871"/>
                  <a:gd name="connsiteY226" fmla="*/ 232410 h 268604"/>
                  <a:gd name="connsiteX227" fmla="*/ 45720 w 359871"/>
                  <a:gd name="connsiteY227" fmla="*/ 235267 h 268604"/>
                  <a:gd name="connsiteX228" fmla="*/ 45720 w 359871"/>
                  <a:gd name="connsiteY228" fmla="*/ 235267 h 268604"/>
                  <a:gd name="connsiteX229" fmla="*/ 44768 w 359871"/>
                  <a:gd name="connsiteY229" fmla="*/ 235267 h 268604"/>
                  <a:gd name="connsiteX230" fmla="*/ 40005 w 359871"/>
                  <a:gd name="connsiteY230" fmla="*/ 239078 h 268604"/>
                  <a:gd name="connsiteX231" fmla="*/ 39052 w 359871"/>
                  <a:gd name="connsiteY231" fmla="*/ 240030 h 268604"/>
                  <a:gd name="connsiteX232" fmla="*/ 39052 w 359871"/>
                  <a:gd name="connsiteY232" fmla="*/ 240030 h 268604"/>
                  <a:gd name="connsiteX233" fmla="*/ 39052 w 359871"/>
                  <a:gd name="connsiteY233" fmla="*/ 240030 h 268604"/>
                  <a:gd name="connsiteX234" fmla="*/ 38100 w 359871"/>
                  <a:gd name="connsiteY234" fmla="*/ 240983 h 268604"/>
                  <a:gd name="connsiteX235" fmla="*/ 38100 w 359871"/>
                  <a:gd name="connsiteY235" fmla="*/ 240983 h 268604"/>
                  <a:gd name="connsiteX236" fmla="*/ 38100 w 359871"/>
                  <a:gd name="connsiteY236" fmla="*/ 240983 h 268604"/>
                  <a:gd name="connsiteX237" fmla="*/ 37148 w 359871"/>
                  <a:gd name="connsiteY237" fmla="*/ 241935 h 268604"/>
                  <a:gd name="connsiteX238" fmla="*/ 36195 w 359871"/>
                  <a:gd name="connsiteY238" fmla="*/ 242888 h 268604"/>
                  <a:gd name="connsiteX239" fmla="*/ 35243 w 359871"/>
                  <a:gd name="connsiteY239" fmla="*/ 242888 h 268604"/>
                  <a:gd name="connsiteX240" fmla="*/ 35243 w 359871"/>
                  <a:gd name="connsiteY240" fmla="*/ 242888 h 268604"/>
                  <a:gd name="connsiteX241" fmla="*/ 34290 w 359871"/>
                  <a:gd name="connsiteY241" fmla="*/ 242888 h 268604"/>
                  <a:gd name="connsiteX242" fmla="*/ 33338 w 359871"/>
                  <a:gd name="connsiteY242" fmla="*/ 242888 h 268604"/>
                  <a:gd name="connsiteX243" fmla="*/ 33338 w 359871"/>
                  <a:gd name="connsiteY243" fmla="*/ 242888 h 268604"/>
                  <a:gd name="connsiteX244" fmla="*/ 33338 w 359871"/>
                  <a:gd name="connsiteY244" fmla="*/ 242888 h 268604"/>
                  <a:gd name="connsiteX245" fmla="*/ 31432 w 359871"/>
                  <a:gd name="connsiteY245" fmla="*/ 244792 h 268604"/>
                  <a:gd name="connsiteX246" fmla="*/ 28575 w 359871"/>
                  <a:gd name="connsiteY246" fmla="*/ 247650 h 268604"/>
                  <a:gd name="connsiteX247" fmla="*/ 28575 w 359871"/>
                  <a:gd name="connsiteY247" fmla="*/ 247650 h 268604"/>
                  <a:gd name="connsiteX248" fmla="*/ 28575 w 359871"/>
                  <a:gd name="connsiteY248" fmla="*/ 247650 h 268604"/>
                  <a:gd name="connsiteX249" fmla="*/ 28575 w 359871"/>
                  <a:gd name="connsiteY249" fmla="*/ 247650 h 268604"/>
                  <a:gd name="connsiteX250" fmla="*/ 28575 w 359871"/>
                  <a:gd name="connsiteY250" fmla="*/ 247650 h 268604"/>
                  <a:gd name="connsiteX251" fmla="*/ 28575 w 359871"/>
                  <a:gd name="connsiteY251" fmla="*/ 247650 h 268604"/>
                  <a:gd name="connsiteX252" fmla="*/ 28575 w 359871"/>
                  <a:gd name="connsiteY252" fmla="*/ 248603 h 268604"/>
                  <a:gd name="connsiteX253" fmla="*/ 28575 w 359871"/>
                  <a:gd name="connsiteY253" fmla="*/ 248603 h 268604"/>
                  <a:gd name="connsiteX254" fmla="*/ 28575 w 359871"/>
                  <a:gd name="connsiteY254" fmla="*/ 248603 h 268604"/>
                  <a:gd name="connsiteX255" fmla="*/ 28575 w 359871"/>
                  <a:gd name="connsiteY255" fmla="*/ 248603 h 268604"/>
                  <a:gd name="connsiteX256" fmla="*/ 28575 w 359871"/>
                  <a:gd name="connsiteY256" fmla="*/ 248603 h 268604"/>
                  <a:gd name="connsiteX257" fmla="*/ 28575 w 359871"/>
                  <a:gd name="connsiteY257" fmla="*/ 247650 h 268604"/>
                  <a:gd name="connsiteX258" fmla="*/ 28575 w 359871"/>
                  <a:gd name="connsiteY258" fmla="*/ 247650 h 268604"/>
                  <a:gd name="connsiteX259" fmla="*/ 28575 w 359871"/>
                  <a:gd name="connsiteY259" fmla="*/ 247650 h 268604"/>
                  <a:gd name="connsiteX260" fmla="*/ 30480 w 359871"/>
                  <a:gd name="connsiteY260" fmla="*/ 245745 h 268604"/>
                  <a:gd name="connsiteX261" fmla="*/ 30480 w 359871"/>
                  <a:gd name="connsiteY261" fmla="*/ 245745 h 268604"/>
                  <a:gd name="connsiteX262" fmla="*/ 31432 w 359871"/>
                  <a:gd name="connsiteY262" fmla="*/ 244792 h 268604"/>
                  <a:gd name="connsiteX263" fmla="*/ 32385 w 359871"/>
                  <a:gd name="connsiteY263" fmla="*/ 243840 h 268604"/>
                  <a:gd name="connsiteX264" fmla="*/ 32385 w 359871"/>
                  <a:gd name="connsiteY264" fmla="*/ 243840 h 268604"/>
                  <a:gd name="connsiteX265" fmla="*/ 34290 w 359871"/>
                  <a:gd name="connsiteY265" fmla="*/ 241935 h 268604"/>
                  <a:gd name="connsiteX266" fmla="*/ 34290 w 359871"/>
                  <a:gd name="connsiteY266" fmla="*/ 241935 h 268604"/>
                  <a:gd name="connsiteX267" fmla="*/ 34290 w 359871"/>
                  <a:gd name="connsiteY267" fmla="*/ 241935 h 268604"/>
                  <a:gd name="connsiteX268" fmla="*/ 35243 w 359871"/>
                  <a:gd name="connsiteY268" fmla="*/ 240983 h 268604"/>
                  <a:gd name="connsiteX269" fmla="*/ 36195 w 359871"/>
                  <a:gd name="connsiteY269" fmla="*/ 240030 h 268604"/>
                  <a:gd name="connsiteX270" fmla="*/ 36195 w 359871"/>
                  <a:gd name="connsiteY270" fmla="*/ 240030 h 268604"/>
                  <a:gd name="connsiteX271" fmla="*/ 36195 w 359871"/>
                  <a:gd name="connsiteY271" fmla="*/ 240030 h 268604"/>
                  <a:gd name="connsiteX272" fmla="*/ 36195 w 359871"/>
                  <a:gd name="connsiteY272" fmla="*/ 240030 h 268604"/>
                  <a:gd name="connsiteX273" fmla="*/ 37148 w 359871"/>
                  <a:gd name="connsiteY273" fmla="*/ 239078 h 268604"/>
                  <a:gd name="connsiteX274" fmla="*/ 37148 w 359871"/>
                  <a:gd name="connsiteY274" fmla="*/ 239078 h 268604"/>
                  <a:gd name="connsiteX275" fmla="*/ 37148 w 359871"/>
                  <a:gd name="connsiteY275" fmla="*/ 239078 h 268604"/>
                  <a:gd name="connsiteX276" fmla="*/ 37148 w 359871"/>
                  <a:gd name="connsiteY276" fmla="*/ 238125 h 268604"/>
                  <a:gd name="connsiteX277" fmla="*/ 37148 w 359871"/>
                  <a:gd name="connsiteY277" fmla="*/ 238125 h 268604"/>
                  <a:gd name="connsiteX278" fmla="*/ 37148 w 359871"/>
                  <a:gd name="connsiteY278" fmla="*/ 237173 h 268604"/>
                  <a:gd name="connsiteX279" fmla="*/ 37148 w 359871"/>
                  <a:gd name="connsiteY279" fmla="*/ 237173 h 268604"/>
                  <a:gd name="connsiteX280" fmla="*/ 39052 w 359871"/>
                  <a:gd name="connsiteY280" fmla="*/ 234315 h 268604"/>
                  <a:gd name="connsiteX281" fmla="*/ 39052 w 359871"/>
                  <a:gd name="connsiteY281" fmla="*/ 234315 h 268604"/>
                  <a:gd name="connsiteX282" fmla="*/ 37148 w 359871"/>
                  <a:gd name="connsiteY282" fmla="*/ 236220 h 268604"/>
                  <a:gd name="connsiteX283" fmla="*/ 36195 w 359871"/>
                  <a:gd name="connsiteY283" fmla="*/ 235267 h 268604"/>
                  <a:gd name="connsiteX284" fmla="*/ 37148 w 359871"/>
                  <a:gd name="connsiteY284" fmla="*/ 234315 h 268604"/>
                  <a:gd name="connsiteX285" fmla="*/ 37148 w 359871"/>
                  <a:gd name="connsiteY285" fmla="*/ 234315 h 268604"/>
                  <a:gd name="connsiteX286" fmla="*/ 40005 w 359871"/>
                  <a:gd name="connsiteY286" fmla="*/ 231458 h 268604"/>
                  <a:gd name="connsiteX287" fmla="*/ 41910 w 359871"/>
                  <a:gd name="connsiteY287" fmla="*/ 230505 h 268604"/>
                  <a:gd name="connsiteX288" fmla="*/ 41910 w 359871"/>
                  <a:gd name="connsiteY288" fmla="*/ 230505 h 268604"/>
                  <a:gd name="connsiteX289" fmla="*/ 42863 w 359871"/>
                  <a:gd name="connsiteY289" fmla="*/ 229553 h 268604"/>
                  <a:gd name="connsiteX290" fmla="*/ 42863 w 359871"/>
                  <a:gd name="connsiteY290" fmla="*/ 229553 h 268604"/>
                  <a:gd name="connsiteX291" fmla="*/ 62865 w 359871"/>
                  <a:gd name="connsiteY291" fmla="*/ 221933 h 268604"/>
                  <a:gd name="connsiteX292" fmla="*/ 71438 w 359871"/>
                  <a:gd name="connsiteY292" fmla="*/ 221933 h 268604"/>
                  <a:gd name="connsiteX293" fmla="*/ 76200 w 359871"/>
                  <a:gd name="connsiteY293" fmla="*/ 222885 h 268604"/>
                  <a:gd name="connsiteX294" fmla="*/ 58102 w 359871"/>
                  <a:gd name="connsiteY294" fmla="*/ 228600 h 268604"/>
                  <a:gd name="connsiteX295" fmla="*/ 68580 w 359871"/>
                  <a:gd name="connsiteY295" fmla="*/ 193358 h 268604"/>
                  <a:gd name="connsiteX296" fmla="*/ 70485 w 359871"/>
                  <a:gd name="connsiteY296" fmla="*/ 192405 h 268604"/>
                  <a:gd name="connsiteX297" fmla="*/ 66675 w 359871"/>
                  <a:gd name="connsiteY297" fmla="*/ 192405 h 268604"/>
                  <a:gd name="connsiteX298" fmla="*/ 65723 w 359871"/>
                  <a:gd name="connsiteY298" fmla="*/ 191453 h 268604"/>
                  <a:gd name="connsiteX299" fmla="*/ 57150 w 359871"/>
                  <a:gd name="connsiteY299" fmla="*/ 193358 h 268604"/>
                  <a:gd name="connsiteX300" fmla="*/ 46673 w 359871"/>
                  <a:gd name="connsiteY300" fmla="*/ 198120 h 268604"/>
                  <a:gd name="connsiteX301" fmla="*/ 30480 w 359871"/>
                  <a:gd name="connsiteY301" fmla="*/ 206692 h 268604"/>
                  <a:gd name="connsiteX302" fmla="*/ 29527 w 359871"/>
                  <a:gd name="connsiteY302" fmla="*/ 205740 h 268604"/>
                  <a:gd name="connsiteX303" fmla="*/ 33338 w 359871"/>
                  <a:gd name="connsiteY303" fmla="*/ 201930 h 268604"/>
                  <a:gd name="connsiteX304" fmla="*/ 32385 w 359871"/>
                  <a:gd name="connsiteY304" fmla="*/ 200978 h 268604"/>
                  <a:gd name="connsiteX305" fmla="*/ 47625 w 359871"/>
                  <a:gd name="connsiteY305" fmla="*/ 187642 h 268604"/>
                  <a:gd name="connsiteX306" fmla="*/ 47625 w 359871"/>
                  <a:gd name="connsiteY306" fmla="*/ 185738 h 268604"/>
                  <a:gd name="connsiteX307" fmla="*/ 52388 w 359871"/>
                  <a:gd name="connsiteY307" fmla="*/ 180023 h 268604"/>
                  <a:gd name="connsiteX308" fmla="*/ 57150 w 359871"/>
                  <a:gd name="connsiteY308" fmla="*/ 175260 h 268604"/>
                  <a:gd name="connsiteX309" fmla="*/ 55245 w 359871"/>
                  <a:gd name="connsiteY309" fmla="*/ 173355 h 268604"/>
                  <a:gd name="connsiteX310" fmla="*/ 49530 w 359871"/>
                  <a:gd name="connsiteY310" fmla="*/ 172403 h 268604"/>
                  <a:gd name="connsiteX311" fmla="*/ 52388 w 359871"/>
                  <a:gd name="connsiteY311" fmla="*/ 170498 h 268604"/>
                  <a:gd name="connsiteX312" fmla="*/ 51435 w 359871"/>
                  <a:gd name="connsiteY312" fmla="*/ 169545 h 268604"/>
                  <a:gd name="connsiteX313" fmla="*/ 54293 w 359871"/>
                  <a:gd name="connsiteY313" fmla="*/ 166688 h 268604"/>
                  <a:gd name="connsiteX314" fmla="*/ 60007 w 359871"/>
                  <a:gd name="connsiteY314" fmla="*/ 164783 h 268604"/>
                  <a:gd name="connsiteX315" fmla="*/ 48577 w 359871"/>
                  <a:gd name="connsiteY315" fmla="*/ 163830 h 268604"/>
                  <a:gd name="connsiteX316" fmla="*/ 60960 w 359871"/>
                  <a:gd name="connsiteY316" fmla="*/ 148590 h 268604"/>
                  <a:gd name="connsiteX317" fmla="*/ 62865 w 359871"/>
                  <a:gd name="connsiteY317" fmla="*/ 149542 h 268604"/>
                  <a:gd name="connsiteX318" fmla="*/ 59055 w 359871"/>
                  <a:gd name="connsiteY318" fmla="*/ 154305 h 268604"/>
                  <a:gd name="connsiteX319" fmla="*/ 71438 w 359871"/>
                  <a:gd name="connsiteY319" fmla="*/ 157163 h 268604"/>
                  <a:gd name="connsiteX320" fmla="*/ 69532 w 359871"/>
                  <a:gd name="connsiteY320" fmla="*/ 158115 h 268604"/>
                  <a:gd name="connsiteX321" fmla="*/ 78105 w 359871"/>
                  <a:gd name="connsiteY321" fmla="*/ 160973 h 268604"/>
                  <a:gd name="connsiteX322" fmla="*/ 73343 w 359871"/>
                  <a:gd name="connsiteY322" fmla="*/ 160973 h 268604"/>
                  <a:gd name="connsiteX323" fmla="*/ 119063 w 359871"/>
                  <a:gd name="connsiteY323" fmla="*/ 179070 h 268604"/>
                  <a:gd name="connsiteX324" fmla="*/ 83820 w 359871"/>
                  <a:gd name="connsiteY324" fmla="*/ 189548 h 268604"/>
                  <a:gd name="connsiteX325" fmla="*/ 80010 w 359871"/>
                  <a:gd name="connsiteY325" fmla="*/ 188595 h 268604"/>
                  <a:gd name="connsiteX326" fmla="*/ 79057 w 359871"/>
                  <a:gd name="connsiteY326" fmla="*/ 190500 h 268604"/>
                  <a:gd name="connsiteX327" fmla="*/ 74295 w 359871"/>
                  <a:gd name="connsiteY327" fmla="*/ 191453 h 268604"/>
                  <a:gd name="connsiteX328" fmla="*/ 68580 w 359871"/>
                  <a:gd name="connsiteY328" fmla="*/ 193358 h 26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359871" h="268604">
                    <a:moveTo>
                      <a:pt x="158115" y="237173"/>
                    </a:moveTo>
                    <a:cubicBezTo>
                      <a:pt x="160973" y="234315"/>
                      <a:pt x="163830" y="231458"/>
                      <a:pt x="166688" y="227648"/>
                    </a:cubicBezTo>
                    <a:lnTo>
                      <a:pt x="166688" y="227648"/>
                    </a:lnTo>
                    <a:cubicBezTo>
                      <a:pt x="172402" y="221933"/>
                      <a:pt x="177165" y="215265"/>
                      <a:pt x="183833" y="210503"/>
                    </a:cubicBezTo>
                    <a:cubicBezTo>
                      <a:pt x="185738" y="208598"/>
                      <a:pt x="187643" y="207645"/>
                      <a:pt x="189548" y="205740"/>
                    </a:cubicBezTo>
                    <a:cubicBezTo>
                      <a:pt x="190500" y="204788"/>
                      <a:pt x="190500" y="203835"/>
                      <a:pt x="190500" y="203835"/>
                    </a:cubicBezTo>
                    <a:cubicBezTo>
                      <a:pt x="187643" y="204788"/>
                      <a:pt x="186690" y="206692"/>
                      <a:pt x="183833" y="207645"/>
                    </a:cubicBezTo>
                    <a:cubicBezTo>
                      <a:pt x="182880" y="207645"/>
                      <a:pt x="182880" y="206692"/>
                      <a:pt x="182880" y="206692"/>
                    </a:cubicBezTo>
                    <a:cubicBezTo>
                      <a:pt x="184785" y="205740"/>
                      <a:pt x="186690" y="203835"/>
                      <a:pt x="188595" y="202883"/>
                    </a:cubicBezTo>
                    <a:cubicBezTo>
                      <a:pt x="188595" y="202883"/>
                      <a:pt x="188595" y="202883"/>
                      <a:pt x="188595" y="202883"/>
                    </a:cubicBezTo>
                    <a:cubicBezTo>
                      <a:pt x="187643" y="202883"/>
                      <a:pt x="187643" y="201930"/>
                      <a:pt x="187643" y="201930"/>
                    </a:cubicBezTo>
                    <a:cubicBezTo>
                      <a:pt x="180975" y="201930"/>
                      <a:pt x="176213" y="205740"/>
                      <a:pt x="171450" y="210503"/>
                    </a:cubicBezTo>
                    <a:cubicBezTo>
                      <a:pt x="170498" y="211455"/>
                      <a:pt x="169545" y="209550"/>
                      <a:pt x="168593" y="209550"/>
                    </a:cubicBezTo>
                    <a:cubicBezTo>
                      <a:pt x="160973" y="212408"/>
                      <a:pt x="155258" y="219075"/>
                      <a:pt x="147638" y="221933"/>
                    </a:cubicBezTo>
                    <a:lnTo>
                      <a:pt x="147638" y="220980"/>
                    </a:lnTo>
                    <a:cubicBezTo>
                      <a:pt x="144780" y="221933"/>
                      <a:pt x="141923" y="223838"/>
                      <a:pt x="138113" y="224790"/>
                    </a:cubicBezTo>
                    <a:cubicBezTo>
                      <a:pt x="133350" y="225742"/>
                      <a:pt x="129540" y="225742"/>
                      <a:pt x="125730" y="225742"/>
                    </a:cubicBezTo>
                    <a:cubicBezTo>
                      <a:pt x="120015" y="226695"/>
                      <a:pt x="113348" y="227648"/>
                      <a:pt x="107632" y="228600"/>
                    </a:cubicBezTo>
                    <a:cubicBezTo>
                      <a:pt x="107632" y="228600"/>
                      <a:pt x="107632" y="228600"/>
                      <a:pt x="106680" y="228600"/>
                    </a:cubicBezTo>
                    <a:cubicBezTo>
                      <a:pt x="103823" y="229553"/>
                      <a:pt x="100013" y="230505"/>
                      <a:pt x="97155" y="232410"/>
                    </a:cubicBezTo>
                    <a:cubicBezTo>
                      <a:pt x="97155" y="232410"/>
                      <a:pt x="97155" y="232410"/>
                      <a:pt x="97155" y="232410"/>
                    </a:cubicBezTo>
                    <a:cubicBezTo>
                      <a:pt x="97155" y="232410"/>
                      <a:pt x="96202" y="233363"/>
                      <a:pt x="96202" y="233363"/>
                    </a:cubicBezTo>
                    <a:cubicBezTo>
                      <a:pt x="95250" y="234315"/>
                      <a:pt x="94298" y="235267"/>
                      <a:pt x="92393" y="236220"/>
                    </a:cubicBezTo>
                    <a:cubicBezTo>
                      <a:pt x="89535" y="238125"/>
                      <a:pt x="86677" y="240983"/>
                      <a:pt x="83820" y="242888"/>
                    </a:cubicBezTo>
                    <a:cubicBezTo>
                      <a:pt x="83820" y="242888"/>
                      <a:pt x="82868" y="242888"/>
                      <a:pt x="82868" y="242888"/>
                    </a:cubicBezTo>
                    <a:cubicBezTo>
                      <a:pt x="80010" y="245745"/>
                      <a:pt x="77152" y="248603"/>
                      <a:pt x="74295" y="250508"/>
                    </a:cubicBezTo>
                    <a:cubicBezTo>
                      <a:pt x="74295" y="250508"/>
                      <a:pt x="73343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49555"/>
                    </a:cubicBezTo>
                    <a:cubicBezTo>
                      <a:pt x="72390" y="248603"/>
                      <a:pt x="73343" y="247650"/>
                      <a:pt x="73343" y="247650"/>
                    </a:cubicBezTo>
                    <a:cubicBezTo>
                      <a:pt x="74295" y="246698"/>
                      <a:pt x="74295" y="245745"/>
                      <a:pt x="75248" y="245745"/>
                    </a:cubicBezTo>
                    <a:cubicBezTo>
                      <a:pt x="76200" y="244792"/>
                      <a:pt x="76200" y="243840"/>
                      <a:pt x="77152" y="242888"/>
                    </a:cubicBezTo>
                    <a:cubicBezTo>
                      <a:pt x="77152" y="242888"/>
                      <a:pt x="77152" y="241935"/>
                      <a:pt x="77152" y="241935"/>
                    </a:cubicBezTo>
                    <a:cubicBezTo>
                      <a:pt x="77152" y="241935"/>
                      <a:pt x="77152" y="241935"/>
                      <a:pt x="76200" y="241935"/>
                    </a:cubicBezTo>
                    <a:cubicBezTo>
                      <a:pt x="79057" y="239078"/>
                      <a:pt x="81915" y="237173"/>
                      <a:pt x="84773" y="235267"/>
                    </a:cubicBezTo>
                    <a:lnTo>
                      <a:pt x="84773" y="235267"/>
                    </a:lnTo>
                    <a:cubicBezTo>
                      <a:pt x="84773" y="235267"/>
                      <a:pt x="83820" y="235267"/>
                      <a:pt x="83820" y="234315"/>
                    </a:cubicBezTo>
                    <a:cubicBezTo>
                      <a:pt x="83820" y="234315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5725" y="233363"/>
                      <a:pt x="84773" y="234315"/>
                      <a:pt x="84773" y="234315"/>
                    </a:cubicBezTo>
                    <a:cubicBezTo>
                      <a:pt x="83820" y="235267"/>
                      <a:pt x="82868" y="238125"/>
                      <a:pt x="80963" y="237173"/>
                    </a:cubicBezTo>
                    <a:cubicBezTo>
                      <a:pt x="80963" y="237173"/>
                      <a:pt x="80010" y="237173"/>
                      <a:pt x="80010" y="237173"/>
                    </a:cubicBezTo>
                    <a:cubicBezTo>
                      <a:pt x="80010" y="237173"/>
                      <a:pt x="80010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6220"/>
                    </a:cubicBezTo>
                    <a:cubicBezTo>
                      <a:pt x="79057" y="236220"/>
                      <a:pt x="79057" y="236220"/>
                      <a:pt x="79057" y="236220"/>
                    </a:cubicBezTo>
                    <a:cubicBezTo>
                      <a:pt x="79057" y="236220"/>
                      <a:pt x="79057" y="235267"/>
                      <a:pt x="80010" y="235267"/>
                    </a:cubicBezTo>
                    <a:cubicBezTo>
                      <a:pt x="80010" y="235267"/>
                      <a:pt x="80010" y="235267"/>
                      <a:pt x="80010" y="234315"/>
                    </a:cubicBezTo>
                    <a:cubicBezTo>
                      <a:pt x="80010" y="234315"/>
                      <a:pt x="80010" y="233363"/>
                      <a:pt x="80963" y="233363"/>
                    </a:cubicBezTo>
                    <a:cubicBezTo>
                      <a:pt x="80963" y="233363"/>
                      <a:pt x="80963" y="232410"/>
                      <a:pt x="80963" y="232410"/>
                    </a:cubicBezTo>
                    <a:cubicBezTo>
                      <a:pt x="81915" y="231458"/>
                      <a:pt x="82868" y="230505"/>
                      <a:pt x="84773" y="229553"/>
                    </a:cubicBezTo>
                    <a:lnTo>
                      <a:pt x="84773" y="229553"/>
                    </a:lnTo>
                    <a:cubicBezTo>
                      <a:pt x="86677" y="228600"/>
                      <a:pt x="88582" y="227648"/>
                      <a:pt x="90488" y="226695"/>
                    </a:cubicBezTo>
                    <a:cubicBezTo>
                      <a:pt x="90488" y="226695"/>
                      <a:pt x="91440" y="225742"/>
                      <a:pt x="91440" y="225742"/>
                    </a:cubicBezTo>
                    <a:cubicBezTo>
                      <a:pt x="88582" y="226695"/>
                      <a:pt x="85725" y="227648"/>
                      <a:pt x="82868" y="229553"/>
                    </a:cubicBezTo>
                    <a:cubicBezTo>
                      <a:pt x="82868" y="229553"/>
                      <a:pt x="81915" y="229553"/>
                      <a:pt x="81915" y="229553"/>
                    </a:cubicBezTo>
                    <a:cubicBezTo>
                      <a:pt x="81915" y="229553"/>
                      <a:pt x="80963" y="229553"/>
                      <a:pt x="80963" y="229553"/>
                    </a:cubicBezTo>
                    <a:cubicBezTo>
                      <a:pt x="80963" y="229553"/>
                      <a:pt x="80963" y="229553"/>
                      <a:pt x="80963" y="229553"/>
                    </a:cubicBezTo>
                    <a:cubicBezTo>
                      <a:pt x="81915" y="228600"/>
                      <a:pt x="82868" y="227648"/>
                      <a:pt x="83820" y="226695"/>
                    </a:cubicBezTo>
                    <a:cubicBezTo>
                      <a:pt x="84773" y="226695"/>
                      <a:pt x="84773" y="226695"/>
                      <a:pt x="84773" y="227648"/>
                    </a:cubicBezTo>
                    <a:cubicBezTo>
                      <a:pt x="100965" y="215265"/>
                      <a:pt x="123825" y="218123"/>
                      <a:pt x="142875" y="211455"/>
                    </a:cubicBezTo>
                    <a:cubicBezTo>
                      <a:pt x="144780" y="210503"/>
                      <a:pt x="145733" y="209550"/>
                      <a:pt x="147638" y="208598"/>
                    </a:cubicBezTo>
                    <a:cubicBezTo>
                      <a:pt x="150495" y="207645"/>
                      <a:pt x="152400" y="204788"/>
                      <a:pt x="155258" y="203835"/>
                    </a:cubicBezTo>
                    <a:cubicBezTo>
                      <a:pt x="159068" y="200978"/>
                      <a:pt x="161925" y="197167"/>
                      <a:pt x="163830" y="192405"/>
                    </a:cubicBezTo>
                    <a:cubicBezTo>
                      <a:pt x="163830" y="191453"/>
                      <a:pt x="162877" y="191453"/>
                      <a:pt x="162877" y="191453"/>
                    </a:cubicBezTo>
                    <a:cubicBezTo>
                      <a:pt x="156210" y="199073"/>
                      <a:pt x="148590" y="203835"/>
                      <a:pt x="140018" y="208598"/>
                    </a:cubicBezTo>
                    <a:cubicBezTo>
                      <a:pt x="129540" y="214313"/>
                      <a:pt x="117157" y="213360"/>
                      <a:pt x="106680" y="214313"/>
                    </a:cubicBezTo>
                    <a:cubicBezTo>
                      <a:pt x="107632" y="213360"/>
                      <a:pt x="108585" y="213360"/>
                      <a:pt x="109538" y="213360"/>
                    </a:cubicBezTo>
                    <a:cubicBezTo>
                      <a:pt x="109538" y="211455"/>
                      <a:pt x="110490" y="211455"/>
                      <a:pt x="111443" y="210503"/>
                    </a:cubicBezTo>
                    <a:lnTo>
                      <a:pt x="113348" y="210503"/>
                    </a:lnTo>
                    <a:cubicBezTo>
                      <a:pt x="114300" y="210503"/>
                      <a:pt x="114300" y="209550"/>
                      <a:pt x="114300" y="209550"/>
                    </a:cubicBezTo>
                    <a:cubicBezTo>
                      <a:pt x="115252" y="209550"/>
                      <a:pt x="117157" y="208598"/>
                      <a:pt x="116205" y="208598"/>
                    </a:cubicBezTo>
                    <a:cubicBezTo>
                      <a:pt x="114300" y="206692"/>
                      <a:pt x="111443" y="210503"/>
                      <a:pt x="108585" y="208598"/>
                    </a:cubicBezTo>
                    <a:cubicBezTo>
                      <a:pt x="109538" y="207645"/>
                      <a:pt x="109538" y="205740"/>
                      <a:pt x="110490" y="205740"/>
                    </a:cubicBezTo>
                    <a:lnTo>
                      <a:pt x="112395" y="205740"/>
                    </a:lnTo>
                    <a:cubicBezTo>
                      <a:pt x="112395" y="204788"/>
                      <a:pt x="113348" y="203835"/>
                      <a:pt x="113348" y="203835"/>
                    </a:cubicBezTo>
                    <a:cubicBezTo>
                      <a:pt x="120968" y="199073"/>
                      <a:pt x="128588" y="195263"/>
                      <a:pt x="135255" y="191453"/>
                    </a:cubicBezTo>
                    <a:cubicBezTo>
                      <a:pt x="133350" y="191453"/>
                      <a:pt x="132398" y="193358"/>
                      <a:pt x="131445" y="192405"/>
                    </a:cubicBezTo>
                    <a:cubicBezTo>
                      <a:pt x="132398" y="192405"/>
                      <a:pt x="131445" y="190500"/>
                      <a:pt x="132398" y="190500"/>
                    </a:cubicBezTo>
                    <a:cubicBezTo>
                      <a:pt x="138113" y="188595"/>
                      <a:pt x="142875" y="185738"/>
                      <a:pt x="148590" y="183833"/>
                    </a:cubicBezTo>
                    <a:cubicBezTo>
                      <a:pt x="146685" y="183833"/>
                      <a:pt x="144780" y="185738"/>
                      <a:pt x="142875" y="183833"/>
                    </a:cubicBezTo>
                    <a:cubicBezTo>
                      <a:pt x="143827" y="182880"/>
                      <a:pt x="144780" y="181928"/>
                      <a:pt x="145733" y="181928"/>
                    </a:cubicBezTo>
                    <a:lnTo>
                      <a:pt x="145733" y="180023"/>
                    </a:lnTo>
                    <a:cubicBezTo>
                      <a:pt x="145733" y="179070"/>
                      <a:pt x="146685" y="179070"/>
                      <a:pt x="146685" y="179070"/>
                    </a:cubicBezTo>
                    <a:cubicBezTo>
                      <a:pt x="145733" y="179070"/>
                      <a:pt x="145733" y="178117"/>
                      <a:pt x="145733" y="178117"/>
                    </a:cubicBezTo>
                    <a:cubicBezTo>
                      <a:pt x="146685" y="177165"/>
                      <a:pt x="147638" y="177165"/>
                      <a:pt x="148590" y="176213"/>
                    </a:cubicBezTo>
                    <a:cubicBezTo>
                      <a:pt x="147638" y="176213"/>
                      <a:pt x="146685" y="176213"/>
                      <a:pt x="146685" y="175260"/>
                    </a:cubicBezTo>
                    <a:cubicBezTo>
                      <a:pt x="148590" y="173355"/>
                      <a:pt x="150495" y="172403"/>
                      <a:pt x="153352" y="172403"/>
                    </a:cubicBezTo>
                    <a:cubicBezTo>
                      <a:pt x="152400" y="171450"/>
                      <a:pt x="151448" y="172403"/>
                      <a:pt x="151448" y="171450"/>
                    </a:cubicBezTo>
                    <a:cubicBezTo>
                      <a:pt x="151448" y="170498"/>
                      <a:pt x="152400" y="170498"/>
                      <a:pt x="152400" y="170498"/>
                    </a:cubicBezTo>
                    <a:lnTo>
                      <a:pt x="152400" y="170498"/>
                    </a:lnTo>
                    <a:cubicBezTo>
                      <a:pt x="151448" y="169545"/>
                      <a:pt x="151448" y="168592"/>
                      <a:pt x="151448" y="168592"/>
                    </a:cubicBezTo>
                    <a:cubicBezTo>
                      <a:pt x="154305" y="164783"/>
                      <a:pt x="154305" y="160020"/>
                      <a:pt x="156210" y="156210"/>
                    </a:cubicBezTo>
                    <a:cubicBezTo>
                      <a:pt x="155258" y="156210"/>
                      <a:pt x="155258" y="156210"/>
                      <a:pt x="155258" y="155258"/>
                    </a:cubicBezTo>
                    <a:cubicBezTo>
                      <a:pt x="150495" y="160973"/>
                      <a:pt x="141923" y="162878"/>
                      <a:pt x="134302" y="164783"/>
                    </a:cubicBezTo>
                    <a:lnTo>
                      <a:pt x="131445" y="164783"/>
                    </a:lnTo>
                    <a:cubicBezTo>
                      <a:pt x="128588" y="165735"/>
                      <a:pt x="125730" y="165735"/>
                      <a:pt x="122873" y="163830"/>
                    </a:cubicBezTo>
                    <a:cubicBezTo>
                      <a:pt x="120968" y="162878"/>
                      <a:pt x="120015" y="160973"/>
                      <a:pt x="118110" y="160020"/>
                    </a:cubicBezTo>
                    <a:cubicBezTo>
                      <a:pt x="114300" y="157163"/>
                      <a:pt x="109538" y="155258"/>
                      <a:pt x="105727" y="154305"/>
                    </a:cubicBezTo>
                    <a:cubicBezTo>
                      <a:pt x="93345" y="150495"/>
                      <a:pt x="80010" y="148590"/>
                      <a:pt x="66675" y="148590"/>
                    </a:cubicBezTo>
                    <a:cubicBezTo>
                      <a:pt x="72390" y="145733"/>
                      <a:pt x="78105" y="145733"/>
                      <a:pt x="84773" y="143828"/>
                    </a:cubicBezTo>
                    <a:cubicBezTo>
                      <a:pt x="93345" y="140970"/>
                      <a:pt x="101918" y="138113"/>
                      <a:pt x="110490" y="139065"/>
                    </a:cubicBezTo>
                    <a:cubicBezTo>
                      <a:pt x="108585" y="138113"/>
                      <a:pt x="106680" y="139065"/>
                      <a:pt x="105727" y="139065"/>
                    </a:cubicBezTo>
                    <a:cubicBezTo>
                      <a:pt x="98107" y="138113"/>
                      <a:pt x="91440" y="140970"/>
                      <a:pt x="83820" y="141923"/>
                    </a:cubicBezTo>
                    <a:cubicBezTo>
                      <a:pt x="79057" y="142875"/>
                      <a:pt x="74295" y="144780"/>
                      <a:pt x="68580" y="145733"/>
                    </a:cubicBezTo>
                    <a:cubicBezTo>
                      <a:pt x="65723" y="146685"/>
                      <a:pt x="63818" y="149542"/>
                      <a:pt x="60007" y="149542"/>
                    </a:cubicBezTo>
                    <a:lnTo>
                      <a:pt x="60007" y="147638"/>
                    </a:lnTo>
                    <a:cubicBezTo>
                      <a:pt x="64770" y="141923"/>
                      <a:pt x="71438" y="135255"/>
                      <a:pt x="79057" y="135255"/>
                    </a:cubicBezTo>
                    <a:cubicBezTo>
                      <a:pt x="88582" y="133350"/>
                      <a:pt x="97155" y="135255"/>
                      <a:pt x="105727" y="136208"/>
                    </a:cubicBezTo>
                    <a:cubicBezTo>
                      <a:pt x="112395" y="137160"/>
                      <a:pt x="118110" y="138113"/>
                      <a:pt x="124777" y="140017"/>
                    </a:cubicBezTo>
                    <a:cubicBezTo>
                      <a:pt x="127635" y="140017"/>
                      <a:pt x="127635" y="143828"/>
                      <a:pt x="129540" y="144780"/>
                    </a:cubicBezTo>
                    <a:cubicBezTo>
                      <a:pt x="132398" y="145733"/>
                      <a:pt x="135255" y="144780"/>
                      <a:pt x="139065" y="146685"/>
                    </a:cubicBezTo>
                    <a:cubicBezTo>
                      <a:pt x="139065" y="145733"/>
                      <a:pt x="138113" y="144780"/>
                      <a:pt x="139065" y="143828"/>
                    </a:cubicBezTo>
                    <a:cubicBezTo>
                      <a:pt x="140970" y="141923"/>
                      <a:pt x="143827" y="144780"/>
                      <a:pt x="145733" y="142875"/>
                    </a:cubicBezTo>
                    <a:cubicBezTo>
                      <a:pt x="149543" y="140017"/>
                      <a:pt x="141923" y="136208"/>
                      <a:pt x="140018" y="132398"/>
                    </a:cubicBezTo>
                    <a:cubicBezTo>
                      <a:pt x="140018" y="131445"/>
                      <a:pt x="140970" y="131445"/>
                      <a:pt x="140970" y="131445"/>
                    </a:cubicBezTo>
                    <a:cubicBezTo>
                      <a:pt x="144780" y="135255"/>
                      <a:pt x="147638" y="139065"/>
                      <a:pt x="153352" y="141923"/>
                    </a:cubicBezTo>
                    <a:cubicBezTo>
                      <a:pt x="156210" y="142875"/>
                      <a:pt x="161925" y="144780"/>
                      <a:pt x="160973" y="140970"/>
                    </a:cubicBezTo>
                    <a:cubicBezTo>
                      <a:pt x="158115" y="135255"/>
                      <a:pt x="153352" y="130492"/>
                      <a:pt x="149543" y="125730"/>
                    </a:cubicBezTo>
                    <a:lnTo>
                      <a:pt x="149543" y="123825"/>
                    </a:lnTo>
                    <a:cubicBezTo>
                      <a:pt x="148590" y="123825"/>
                      <a:pt x="148590" y="122873"/>
                      <a:pt x="147638" y="122873"/>
                    </a:cubicBezTo>
                    <a:lnTo>
                      <a:pt x="147638" y="120015"/>
                    </a:lnTo>
                    <a:cubicBezTo>
                      <a:pt x="145733" y="119063"/>
                      <a:pt x="145733" y="117158"/>
                      <a:pt x="144780" y="115253"/>
                    </a:cubicBezTo>
                    <a:cubicBezTo>
                      <a:pt x="142875" y="112395"/>
                      <a:pt x="143827" y="109538"/>
                      <a:pt x="142875" y="105728"/>
                    </a:cubicBezTo>
                    <a:cubicBezTo>
                      <a:pt x="142875" y="103823"/>
                      <a:pt x="142875" y="100965"/>
                      <a:pt x="141923" y="98108"/>
                    </a:cubicBezTo>
                    <a:cubicBezTo>
                      <a:pt x="140018" y="89535"/>
                      <a:pt x="138113" y="81915"/>
                      <a:pt x="137160" y="73342"/>
                    </a:cubicBezTo>
                    <a:cubicBezTo>
                      <a:pt x="136208" y="63817"/>
                      <a:pt x="142875" y="56197"/>
                      <a:pt x="147638" y="47625"/>
                    </a:cubicBezTo>
                    <a:cubicBezTo>
                      <a:pt x="151448" y="41910"/>
                      <a:pt x="155258" y="35242"/>
                      <a:pt x="161925" y="31433"/>
                    </a:cubicBezTo>
                    <a:cubicBezTo>
                      <a:pt x="163830" y="25718"/>
                      <a:pt x="167640" y="20003"/>
                      <a:pt x="171450" y="15240"/>
                    </a:cubicBezTo>
                    <a:cubicBezTo>
                      <a:pt x="175260" y="10478"/>
                      <a:pt x="181927" y="7620"/>
                      <a:pt x="187643" y="4763"/>
                    </a:cubicBezTo>
                    <a:cubicBezTo>
                      <a:pt x="194310" y="1905"/>
                      <a:pt x="200977" y="0"/>
                      <a:pt x="200977" y="0"/>
                    </a:cubicBezTo>
                    <a:lnTo>
                      <a:pt x="302895" y="0"/>
                    </a:lnTo>
                    <a:cubicBezTo>
                      <a:pt x="302895" y="0"/>
                      <a:pt x="303848" y="0"/>
                      <a:pt x="305753" y="953"/>
                    </a:cubicBezTo>
                    <a:cubicBezTo>
                      <a:pt x="307658" y="1905"/>
                      <a:pt x="311467" y="3810"/>
                      <a:pt x="313373" y="4763"/>
                    </a:cubicBezTo>
                    <a:cubicBezTo>
                      <a:pt x="317183" y="6668"/>
                      <a:pt x="320992" y="9525"/>
                      <a:pt x="322898" y="13335"/>
                    </a:cubicBezTo>
                    <a:cubicBezTo>
                      <a:pt x="323850" y="15240"/>
                      <a:pt x="325755" y="18097"/>
                      <a:pt x="324803" y="20003"/>
                    </a:cubicBezTo>
                    <a:cubicBezTo>
                      <a:pt x="323850" y="22860"/>
                      <a:pt x="322898" y="26670"/>
                      <a:pt x="320992" y="27622"/>
                    </a:cubicBezTo>
                    <a:cubicBezTo>
                      <a:pt x="318135" y="29528"/>
                      <a:pt x="314325" y="29528"/>
                      <a:pt x="310515" y="28575"/>
                    </a:cubicBezTo>
                    <a:cubicBezTo>
                      <a:pt x="308610" y="28575"/>
                      <a:pt x="306705" y="27622"/>
                      <a:pt x="304800" y="27622"/>
                    </a:cubicBezTo>
                    <a:cubicBezTo>
                      <a:pt x="312420" y="30480"/>
                      <a:pt x="320040" y="34290"/>
                      <a:pt x="324803" y="40958"/>
                    </a:cubicBezTo>
                    <a:cubicBezTo>
                      <a:pt x="325755" y="41910"/>
                      <a:pt x="327660" y="42863"/>
                      <a:pt x="329565" y="42863"/>
                    </a:cubicBezTo>
                    <a:cubicBezTo>
                      <a:pt x="330517" y="42863"/>
                      <a:pt x="330517" y="43815"/>
                      <a:pt x="330517" y="44767"/>
                    </a:cubicBezTo>
                    <a:cubicBezTo>
                      <a:pt x="329565" y="45720"/>
                      <a:pt x="328613" y="46672"/>
                      <a:pt x="328613" y="47625"/>
                    </a:cubicBezTo>
                    <a:lnTo>
                      <a:pt x="330517" y="47625"/>
                    </a:lnTo>
                    <a:cubicBezTo>
                      <a:pt x="333375" y="46672"/>
                      <a:pt x="332423" y="41910"/>
                      <a:pt x="336233" y="42863"/>
                    </a:cubicBezTo>
                    <a:cubicBezTo>
                      <a:pt x="339090" y="44767"/>
                      <a:pt x="340042" y="47625"/>
                      <a:pt x="338138" y="50483"/>
                    </a:cubicBezTo>
                    <a:cubicBezTo>
                      <a:pt x="336233" y="52388"/>
                      <a:pt x="334328" y="54292"/>
                      <a:pt x="332423" y="55245"/>
                    </a:cubicBezTo>
                    <a:cubicBezTo>
                      <a:pt x="331470" y="56197"/>
                      <a:pt x="331470" y="58103"/>
                      <a:pt x="332423" y="59055"/>
                    </a:cubicBezTo>
                    <a:cubicBezTo>
                      <a:pt x="334328" y="60960"/>
                      <a:pt x="334328" y="62865"/>
                      <a:pt x="335280" y="64770"/>
                    </a:cubicBezTo>
                    <a:cubicBezTo>
                      <a:pt x="337185" y="68580"/>
                      <a:pt x="337185" y="72390"/>
                      <a:pt x="339090" y="76200"/>
                    </a:cubicBezTo>
                    <a:cubicBezTo>
                      <a:pt x="340995" y="83820"/>
                      <a:pt x="342900" y="91440"/>
                      <a:pt x="342900" y="99060"/>
                    </a:cubicBezTo>
                    <a:cubicBezTo>
                      <a:pt x="342900" y="102870"/>
                      <a:pt x="340995" y="106680"/>
                      <a:pt x="341948" y="110490"/>
                    </a:cubicBezTo>
                    <a:cubicBezTo>
                      <a:pt x="342900" y="114300"/>
                      <a:pt x="345758" y="118110"/>
                      <a:pt x="347663" y="120967"/>
                    </a:cubicBezTo>
                    <a:cubicBezTo>
                      <a:pt x="349567" y="123825"/>
                      <a:pt x="351473" y="125730"/>
                      <a:pt x="353378" y="129540"/>
                    </a:cubicBezTo>
                    <a:cubicBezTo>
                      <a:pt x="356235" y="134303"/>
                      <a:pt x="361950" y="140017"/>
                      <a:pt x="359092" y="145733"/>
                    </a:cubicBezTo>
                    <a:cubicBezTo>
                      <a:pt x="357188" y="149542"/>
                      <a:pt x="351473" y="148590"/>
                      <a:pt x="348615" y="150495"/>
                    </a:cubicBezTo>
                    <a:cubicBezTo>
                      <a:pt x="345758" y="153353"/>
                      <a:pt x="347663" y="157163"/>
                      <a:pt x="349567" y="160020"/>
                    </a:cubicBezTo>
                    <a:cubicBezTo>
                      <a:pt x="352425" y="164783"/>
                      <a:pt x="346710" y="167640"/>
                      <a:pt x="342900" y="169545"/>
                    </a:cubicBezTo>
                    <a:cubicBezTo>
                      <a:pt x="343853" y="171450"/>
                      <a:pt x="345758" y="170498"/>
                      <a:pt x="346710" y="171450"/>
                    </a:cubicBezTo>
                    <a:cubicBezTo>
                      <a:pt x="347663" y="174308"/>
                      <a:pt x="349567" y="175260"/>
                      <a:pt x="348615" y="178117"/>
                    </a:cubicBezTo>
                    <a:cubicBezTo>
                      <a:pt x="346710" y="180975"/>
                      <a:pt x="340042" y="182880"/>
                      <a:pt x="343853" y="187642"/>
                    </a:cubicBezTo>
                    <a:cubicBezTo>
                      <a:pt x="345758" y="191453"/>
                      <a:pt x="344805" y="195263"/>
                      <a:pt x="342900" y="199073"/>
                    </a:cubicBezTo>
                    <a:cubicBezTo>
                      <a:pt x="340995" y="203835"/>
                      <a:pt x="337185" y="205740"/>
                      <a:pt x="333375" y="206692"/>
                    </a:cubicBezTo>
                    <a:cubicBezTo>
                      <a:pt x="330517" y="207645"/>
                      <a:pt x="326708" y="207645"/>
                      <a:pt x="323850" y="207645"/>
                    </a:cubicBezTo>
                    <a:cubicBezTo>
                      <a:pt x="320040" y="205740"/>
                      <a:pt x="319088" y="205740"/>
                      <a:pt x="318135" y="205740"/>
                    </a:cubicBezTo>
                    <a:cubicBezTo>
                      <a:pt x="309563" y="204788"/>
                      <a:pt x="300990" y="201930"/>
                      <a:pt x="292417" y="201930"/>
                    </a:cubicBezTo>
                    <a:cubicBezTo>
                      <a:pt x="289560" y="202883"/>
                      <a:pt x="287655" y="202883"/>
                      <a:pt x="285750" y="203835"/>
                    </a:cubicBezTo>
                    <a:cubicBezTo>
                      <a:pt x="283845" y="205740"/>
                      <a:pt x="280988" y="207645"/>
                      <a:pt x="280035" y="209550"/>
                    </a:cubicBezTo>
                    <a:cubicBezTo>
                      <a:pt x="280035" y="209550"/>
                      <a:pt x="280035" y="209550"/>
                      <a:pt x="280035" y="209550"/>
                    </a:cubicBezTo>
                    <a:cubicBezTo>
                      <a:pt x="280035" y="209550"/>
                      <a:pt x="279083" y="210503"/>
                      <a:pt x="279083" y="210503"/>
                    </a:cubicBezTo>
                    <a:cubicBezTo>
                      <a:pt x="279083" y="210503"/>
                      <a:pt x="279083" y="211455"/>
                      <a:pt x="278130" y="211455"/>
                    </a:cubicBezTo>
                    <a:cubicBezTo>
                      <a:pt x="278130" y="211455"/>
                      <a:pt x="278130" y="211455"/>
                      <a:pt x="278130" y="212408"/>
                    </a:cubicBezTo>
                    <a:cubicBezTo>
                      <a:pt x="276225" y="214313"/>
                      <a:pt x="275273" y="216217"/>
                      <a:pt x="274320" y="218123"/>
                    </a:cubicBezTo>
                    <a:cubicBezTo>
                      <a:pt x="274320" y="218123"/>
                      <a:pt x="274320" y="218123"/>
                      <a:pt x="274320" y="218123"/>
                    </a:cubicBezTo>
                    <a:cubicBezTo>
                      <a:pt x="274320" y="218123"/>
                      <a:pt x="274320" y="219075"/>
                      <a:pt x="274320" y="219075"/>
                    </a:cubicBezTo>
                    <a:cubicBezTo>
                      <a:pt x="272415" y="221933"/>
                      <a:pt x="271463" y="225742"/>
                      <a:pt x="270510" y="228600"/>
                    </a:cubicBezTo>
                    <a:cubicBezTo>
                      <a:pt x="266700" y="240030"/>
                      <a:pt x="268605" y="250508"/>
                      <a:pt x="271463" y="252413"/>
                    </a:cubicBezTo>
                    <a:cubicBezTo>
                      <a:pt x="272415" y="253365"/>
                      <a:pt x="288608" y="258128"/>
                      <a:pt x="299085" y="262890"/>
                    </a:cubicBezTo>
                    <a:cubicBezTo>
                      <a:pt x="304800" y="264795"/>
                      <a:pt x="307658" y="266700"/>
                      <a:pt x="311467" y="268605"/>
                    </a:cubicBezTo>
                    <a:lnTo>
                      <a:pt x="101918" y="268605"/>
                    </a:lnTo>
                    <a:cubicBezTo>
                      <a:pt x="111443" y="261938"/>
                      <a:pt x="120968" y="258128"/>
                      <a:pt x="135255" y="251460"/>
                    </a:cubicBezTo>
                    <a:cubicBezTo>
                      <a:pt x="138113" y="249555"/>
                      <a:pt x="153352" y="242888"/>
                      <a:pt x="158115" y="237173"/>
                    </a:cubicBezTo>
                    <a:moveTo>
                      <a:pt x="79057" y="200978"/>
                    </a:moveTo>
                    <a:cubicBezTo>
                      <a:pt x="78105" y="200978"/>
                      <a:pt x="76200" y="201930"/>
                      <a:pt x="76200" y="200025"/>
                    </a:cubicBezTo>
                    <a:cubicBezTo>
                      <a:pt x="77152" y="197167"/>
                      <a:pt x="80010" y="197167"/>
                      <a:pt x="81915" y="196215"/>
                    </a:cubicBezTo>
                    <a:cubicBezTo>
                      <a:pt x="82868" y="195263"/>
                      <a:pt x="84773" y="194310"/>
                      <a:pt x="85725" y="195263"/>
                    </a:cubicBezTo>
                    <a:cubicBezTo>
                      <a:pt x="86677" y="197167"/>
                      <a:pt x="88582" y="196215"/>
                      <a:pt x="89535" y="197167"/>
                    </a:cubicBezTo>
                    <a:cubicBezTo>
                      <a:pt x="86677" y="200978"/>
                      <a:pt x="82868" y="200025"/>
                      <a:pt x="79057" y="200978"/>
                    </a:cubicBezTo>
                    <a:moveTo>
                      <a:pt x="952" y="189548"/>
                    </a:moveTo>
                    <a:cubicBezTo>
                      <a:pt x="952" y="189548"/>
                      <a:pt x="0" y="188595"/>
                      <a:pt x="0" y="188595"/>
                    </a:cubicBezTo>
                    <a:cubicBezTo>
                      <a:pt x="6668" y="180023"/>
                      <a:pt x="11430" y="171450"/>
                      <a:pt x="16193" y="162878"/>
                    </a:cubicBezTo>
                    <a:cubicBezTo>
                      <a:pt x="22860" y="159067"/>
                      <a:pt x="28575" y="154305"/>
                      <a:pt x="33338" y="148590"/>
                    </a:cubicBezTo>
                    <a:cubicBezTo>
                      <a:pt x="41910" y="139065"/>
                      <a:pt x="51435" y="131445"/>
                      <a:pt x="61913" y="125730"/>
                    </a:cubicBezTo>
                    <a:cubicBezTo>
                      <a:pt x="65723" y="123825"/>
                      <a:pt x="71438" y="124778"/>
                      <a:pt x="75248" y="126683"/>
                    </a:cubicBezTo>
                    <a:cubicBezTo>
                      <a:pt x="73343" y="128588"/>
                      <a:pt x="71438" y="128588"/>
                      <a:pt x="69532" y="129540"/>
                    </a:cubicBezTo>
                    <a:cubicBezTo>
                      <a:pt x="68580" y="129540"/>
                      <a:pt x="68580" y="129540"/>
                      <a:pt x="67627" y="128588"/>
                    </a:cubicBezTo>
                    <a:cubicBezTo>
                      <a:pt x="68580" y="127635"/>
                      <a:pt x="68580" y="127635"/>
                      <a:pt x="68580" y="126683"/>
                    </a:cubicBezTo>
                    <a:cubicBezTo>
                      <a:pt x="63818" y="132398"/>
                      <a:pt x="56198" y="135255"/>
                      <a:pt x="52388" y="141923"/>
                    </a:cubicBezTo>
                    <a:cubicBezTo>
                      <a:pt x="49530" y="146685"/>
                      <a:pt x="47625" y="153353"/>
                      <a:pt x="40957" y="155258"/>
                    </a:cubicBezTo>
                    <a:cubicBezTo>
                      <a:pt x="39052" y="156210"/>
                      <a:pt x="41910" y="153353"/>
                      <a:pt x="40005" y="154305"/>
                    </a:cubicBezTo>
                    <a:cubicBezTo>
                      <a:pt x="24765" y="164783"/>
                      <a:pt x="13335" y="176213"/>
                      <a:pt x="952" y="189548"/>
                    </a:cubicBezTo>
                    <a:moveTo>
                      <a:pt x="43815" y="156210"/>
                    </a:moveTo>
                    <a:cubicBezTo>
                      <a:pt x="42863" y="157163"/>
                      <a:pt x="42863" y="157163"/>
                      <a:pt x="41910" y="158115"/>
                    </a:cubicBezTo>
                    <a:cubicBezTo>
                      <a:pt x="40957" y="159067"/>
                      <a:pt x="40957" y="160020"/>
                      <a:pt x="40005" y="160020"/>
                    </a:cubicBezTo>
                    <a:cubicBezTo>
                      <a:pt x="39052" y="160020"/>
                      <a:pt x="39052" y="160020"/>
                      <a:pt x="39052" y="159067"/>
                    </a:cubicBezTo>
                    <a:cubicBezTo>
                      <a:pt x="40005" y="157163"/>
                      <a:pt x="40957" y="155258"/>
                      <a:pt x="42863" y="154305"/>
                    </a:cubicBezTo>
                    <a:cubicBezTo>
                      <a:pt x="43815" y="155258"/>
                      <a:pt x="43815" y="155258"/>
                      <a:pt x="43815" y="156210"/>
                    </a:cubicBezTo>
                    <a:moveTo>
                      <a:pt x="67627" y="232410"/>
                    </a:moveTo>
                    <a:cubicBezTo>
                      <a:pt x="67627" y="233363"/>
                      <a:pt x="66675" y="233363"/>
                      <a:pt x="66675" y="234315"/>
                    </a:cubicBezTo>
                    <a:cubicBezTo>
                      <a:pt x="67627" y="234315"/>
                      <a:pt x="67627" y="234315"/>
                      <a:pt x="67627" y="235267"/>
                    </a:cubicBezTo>
                    <a:cubicBezTo>
                      <a:pt x="66675" y="236220"/>
                      <a:pt x="65723" y="237173"/>
                      <a:pt x="63818" y="238125"/>
                    </a:cubicBezTo>
                    <a:cubicBezTo>
                      <a:pt x="63818" y="238125"/>
                      <a:pt x="63818" y="238125"/>
                      <a:pt x="62865" y="238125"/>
                    </a:cubicBezTo>
                    <a:cubicBezTo>
                      <a:pt x="61913" y="239078"/>
                      <a:pt x="61913" y="239078"/>
                      <a:pt x="60960" y="240030"/>
                    </a:cubicBezTo>
                    <a:cubicBezTo>
                      <a:pt x="60007" y="240983"/>
                      <a:pt x="57150" y="240030"/>
                      <a:pt x="58102" y="239078"/>
                    </a:cubicBezTo>
                    <a:cubicBezTo>
                      <a:pt x="59055" y="238125"/>
                      <a:pt x="60960" y="236220"/>
                      <a:pt x="61913" y="235267"/>
                    </a:cubicBezTo>
                    <a:cubicBezTo>
                      <a:pt x="62865" y="234315"/>
                      <a:pt x="63818" y="234315"/>
                      <a:pt x="63818" y="233363"/>
                    </a:cubicBezTo>
                    <a:cubicBezTo>
                      <a:pt x="63818" y="233363"/>
                      <a:pt x="64770" y="232410"/>
                      <a:pt x="64770" y="232410"/>
                    </a:cubicBezTo>
                    <a:cubicBezTo>
                      <a:pt x="64770" y="231458"/>
                      <a:pt x="67627" y="231458"/>
                      <a:pt x="67627" y="232410"/>
                    </a:cubicBezTo>
                    <a:moveTo>
                      <a:pt x="58102" y="228600"/>
                    </a:moveTo>
                    <a:cubicBezTo>
                      <a:pt x="58102" y="228600"/>
                      <a:pt x="58102" y="228600"/>
                      <a:pt x="58102" y="228600"/>
                    </a:cubicBezTo>
                    <a:cubicBezTo>
                      <a:pt x="56198" y="230505"/>
                      <a:pt x="54293" y="231458"/>
                      <a:pt x="52388" y="232410"/>
                    </a:cubicBezTo>
                    <a:cubicBezTo>
                      <a:pt x="50482" y="233363"/>
                      <a:pt x="47625" y="234315"/>
                      <a:pt x="45720" y="235267"/>
                    </a:cubicBezTo>
                    <a:cubicBezTo>
                      <a:pt x="45720" y="235267"/>
                      <a:pt x="45720" y="235267"/>
                      <a:pt x="45720" y="235267"/>
                    </a:cubicBezTo>
                    <a:cubicBezTo>
                      <a:pt x="45720" y="235267"/>
                      <a:pt x="44768" y="235267"/>
                      <a:pt x="44768" y="235267"/>
                    </a:cubicBezTo>
                    <a:cubicBezTo>
                      <a:pt x="42863" y="236220"/>
                      <a:pt x="40957" y="238125"/>
                      <a:pt x="40005" y="239078"/>
                    </a:cubicBezTo>
                    <a:cubicBezTo>
                      <a:pt x="40005" y="239078"/>
                      <a:pt x="40005" y="239078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7148" y="241935"/>
                      <a:pt x="37148" y="241935"/>
                    </a:cubicBezTo>
                    <a:cubicBezTo>
                      <a:pt x="37148" y="241935"/>
                      <a:pt x="37148" y="242888"/>
                      <a:pt x="36195" y="242888"/>
                    </a:cubicBezTo>
                    <a:cubicBezTo>
                      <a:pt x="36195" y="242888"/>
                      <a:pt x="35243" y="242888"/>
                      <a:pt x="35243" y="242888"/>
                    </a:cubicBezTo>
                    <a:cubicBezTo>
                      <a:pt x="35243" y="242888"/>
                      <a:pt x="35243" y="242888"/>
                      <a:pt x="35243" y="242888"/>
                    </a:cubicBezTo>
                    <a:cubicBezTo>
                      <a:pt x="35243" y="242888"/>
                      <a:pt x="34290" y="242888"/>
                      <a:pt x="34290" y="242888"/>
                    </a:cubicBezTo>
                    <a:cubicBezTo>
                      <a:pt x="34290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2385" y="243840"/>
                      <a:pt x="32385" y="243840"/>
                      <a:pt x="31432" y="244792"/>
                    </a:cubicBezTo>
                    <a:cubicBezTo>
                      <a:pt x="30480" y="245745"/>
                      <a:pt x="29527" y="246698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8603"/>
                    </a:cubicBezTo>
                    <a:lnTo>
                      <a:pt x="28575" y="248603"/>
                    </a:ln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7650"/>
                      <a:pt x="28575" y="247650"/>
                    </a:cubicBezTo>
                    <a:lnTo>
                      <a:pt x="28575" y="247650"/>
                    </a:ln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9527" y="246698"/>
                      <a:pt x="29527" y="246698"/>
                      <a:pt x="30480" y="245745"/>
                    </a:cubicBezTo>
                    <a:cubicBezTo>
                      <a:pt x="30480" y="245745"/>
                      <a:pt x="30480" y="245745"/>
                      <a:pt x="30480" y="245745"/>
                    </a:cubicBezTo>
                    <a:cubicBezTo>
                      <a:pt x="30480" y="245745"/>
                      <a:pt x="30480" y="245745"/>
                      <a:pt x="31432" y="244792"/>
                    </a:cubicBezTo>
                    <a:cubicBezTo>
                      <a:pt x="31432" y="244792"/>
                      <a:pt x="32385" y="243840"/>
                      <a:pt x="32385" y="243840"/>
                    </a:cubicBezTo>
                    <a:cubicBezTo>
                      <a:pt x="32385" y="243840"/>
                      <a:pt x="32385" y="243840"/>
                      <a:pt x="32385" y="243840"/>
                    </a:cubicBezTo>
                    <a:cubicBezTo>
                      <a:pt x="33338" y="242888"/>
                      <a:pt x="33338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5243" y="240983"/>
                      <a:pt x="35243" y="240983"/>
                    </a:cubicBezTo>
                    <a:cubicBezTo>
                      <a:pt x="35243" y="240983"/>
                      <a:pt x="35243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8125"/>
                    </a:cubicBezTo>
                    <a:cubicBezTo>
                      <a:pt x="37148" y="238125"/>
                      <a:pt x="37148" y="238125"/>
                      <a:pt x="37148" y="238125"/>
                    </a:cubicBezTo>
                    <a:cubicBezTo>
                      <a:pt x="37148" y="238125"/>
                      <a:pt x="37148" y="237173"/>
                      <a:pt x="37148" y="237173"/>
                    </a:cubicBezTo>
                    <a:cubicBezTo>
                      <a:pt x="37148" y="237173"/>
                      <a:pt x="37148" y="237173"/>
                      <a:pt x="37148" y="237173"/>
                    </a:cubicBezTo>
                    <a:cubicBezTo>
                      <a:pt x="38100" y="236220"/>
                      <a:pt x="38100" y="235267"/>
                      <a:pt x="39052" y="234315"/>
                    </a:cubicBezTo>
                    <a:cubicBezTo>
                      <a:pt x="39052" y="234315"/>
                      <a:pt x="39052" y="234315"/>
                      <a:pt x="39052" y="234315"/>
                    </a:cubicBezTo>
                    <a:cubicBezTo>
                      <a:pt x="38100" y="234315"/>
                      <a:pt x="38100" y="235267"/>
                      <a:pt x="37148" y="236220"/>
                    </a:cubicBezTo>
                    <a:cubicBezTo>
                      <a:pt x="36195" y="236220"/>
                      <a:pt x="35243" y="236220"/>
                      <a:pt x="36195" y="235267"/>
                    </a:cubicBezTo>
                    <a:cubicBezTo>
                      <a:pt x="36195" y="235267"/>
                      <a:pt x="37148" y="234315"/>
                      <a:pt x="37148" y="234315"/>
                    </a:cubicBezTo>
                    <a:cubicBezTo>
                      <a:pt x="37148" y="234315"/>
                      <a:pt x="37148" y="234315"/>
                      <a:pt x="37148" y="234315"/>
                    </a:cubicBezTo>
                    <a:cubicBezTo>
                      <a:pt x="38100" y="233363"/>
                      <a:pt x="39052" y="232410"/>
                      <a:pt x="40005" y="231458"/>
                    </a:cubicBezTo>
                    <a:cubicBezTo>
                      <a:pt x="40957" y="231458"/>
                      <a:pt x="40957" y="230505"/>
                      <a:pt x="41910" y="230505"/>
                    </a:cubicBezTo>
                    <a:cubicBezTo>
                      <a:pt x="41910" y="230505"/>
                      <a:pt x="41910" y="230505"/>
                      <a:pt x="41910" y="230505"/>
                    </a:cubicBezTo>
                    <a:cubicBezTo>
                      <a:pt x="41910" y="230505"/>
                      <a:pt x="42863" y="229553"/>
                      <a:pt x="42863" y="229553"/>
                    </a:cubicBezTo>
                    <a:cubicBezTo>
                      <a:pt x="42863" y="229553"/>
                      <a:pt x="42863" y="229553"/>
                      <a:pt x="42863" y="229553"/>
                    </a:cubicBezTo>
                    <a:cubicBezTo>
                      <a:pt x="47625" y="224790"/>
                      <a:pt x="56198" y="224790"/>
                      <a:pt x="62865" y="221933"/>
                    </a:cubicBezTo>
                    <a:cubicBezTo>
                      <a:pt x="65723" y="220980"/>
                      <a:pt x="68580" y="222885"/>
                      <a:pt x="71438" y="221933"/>
                    </a:cubicBezTo>
                    <a:cubicBezTo>
                      <a:pt x="73343" y="221933"/>
                      <a:pt x="74295" y="221933"/>
                      <a:pt x="76200" y="222885"/>
                    </a:cubicBezTo>
                    <a:cubicBezTo>
                      <a:pt x="66675" y="222885"/>
                      <a:pt x="62865" y="225742"/>
                      <a:pt x="58102" y="228600"/>
                    </a:cubicBezTo>
                    <a:moveTo>
                      <a:pt x="68580" y="193358"/>
                    </a:moveTo>
                    <a:cubicBezTo>
                      <a:pt x="67627" y="192405"/>
                      <a:pt x="70485" y="193358"/>
                      <a:pt x="70485" y="192405"/>
                    </a:cubicBezTo>
                    <a:lnTo>
                      <a:pt x="66675" y="192405"/>
                    </a:lnTo>
                    <a:cubicBezTo>
                      <a:pt x="65723" y="192405"/>
                      <a:pt x="65723" y="191453"/>
                      <a:pt x="65723" y="191453"/>
                    </a:cubicBezTo>
                    <a:cubicBezTo>
                      <a:pt x="62865" y="192405"/>
                      <a:pt x="60007" y="193358"/>
                      <a:pt x="57150" y="193358"/>
                    </a:cubicBezTo>
                    <a:cubicBezTo>
                      <a:pt x="53340" y="194310"/>
                      <a:pt x="50482" y="197167"/>
                      <a:pt x="46673" y="198120"/>
                    </a:cubicBezTo>
                    <a:cubicBezTo>
                      <a:pt x="40957" y="200025"/>
                      <a:pt x="36195" y="204788"/>
                      <a:pt x="30480" y="206692"/>
                    </a:cubicBezTo>
                    <a:cubicBezTo>
                      <a:pt x="29527" y="206692"/>
                      <a:pt x="29527" y="205740"/>
                      <a:pt x="29527" y="205740"/>
                    </a:cubicBezTo>
                    <a:cubicBezTo>
                      <a:pt x="30480" y="203835"/>
                      <a:pt x="32385" y="203835"/>
                      <a:pt x="33338" y="201930"/>
                    </a:cubicBezTo>
                    <a:cubicBezTo>
                      <a:pt x="33338" y="200978"/>
                      <a:pt x="33338" y="200978"/>
                      <a:pt x="32385" y="200978"/>
                    </a:cubicBezTo>
                    <a:cubicBezTo>
                      <a:pt x="36195" y="195263"/>
                      <a:pt x="41910" y="192405"/>
                      <a:pt x="47625" y="187642"/>
                    </a:cubicBezTo>
                    <a:lnTo>
                      <a:pt x="47625" y="185738"/>
                    </a:lnTo>
                    <a:cubicBezTo>
                      <a:pt x="49530" y="183833"/>
                      <a:pt x="51435" y="182880"/>
                      <a:pt x="52388" y="180023"/>
                    </a:cubicBezTo>
                    <a:cubicBezTo>
                      <a:pt x="53340" y="178117"/>
                      <a:pt x="55245" y="176213"/>
                      <a:pt x="57150" y="175260"/>
                    </a:cubicBezTo>
                    <a:cubicBezTo>
                      <a:pt x="56198" y="174308"/>
                      <a:pt x="55245" y="174308"/>
                      <a:pt x="55245" y="173355"/>
                    </a:cubicBezTo>
                    <a:cubicBezTo>
                      <a:pt x="53340" y="173355"/>
                      <a:pt x="51435" y="174308"/>
                      <a:pt x="49530" y="172403"/>
                    </a:cubicBezTo>
                    <a:cubicBezTo>
                      <a:pt x="50482" y="171450"/>
                      <a:pt x="51435" y="170498"/>
                      <a:pt x="52388" y="170498"/>
                    </a:cubicBezTo>
                    <a:cubicBezTo>
                      <a:pt x="52388" y="170498"/>
                      <a:pt x="51435" y="170498"/>
                      <a:pt x="51435" y="169545"/>
                    </a:cubicBezTo>
                    <a:cubicBezTo>
                      <a:pt x="50482" y="168592"/>
                      <a:pt x="52388" y="167640"/>
                      <a:pt x="54293" y="166688"/>
                    </a:cubicBezTo>
                    <a:cubicBezTo>
                      <a:pt x="56198" y="165735"/>
                      <a:pt x="59055" y="165735"/>
                      <a:pt x="60007" y="164783"/>
                    </a:cubicBezTo>
                    <a:cubicBezTo>
                      <a:pt x="56198" y="163830"/>
                      <a:pt x="52388" y="165735"/>
                      <a:pt x="48577" y="163830"/>
                    </a:cubicBezTo>
                    <a:cubicBezTo>
                      <a:pt x="51435" y="157163"/>
                      <a:pt x="55245" y="151448"/>
                      <a:pt x="60960" y="148590"/>
                    </a:cubicBezTo>
                    <a:cubicBezTo>
                      <a:pt x="61913" y="148590"/>
                      <a:pt x="62865" y="148590"/>
                      <a:pt x="62865" y="149542"/>
                    </a:cubicBezTo>
                    <a:cubicBezTo>
                      <a:pt x="62865" y="152400"/>
                      <a:pt x="60960" y="154305"/>
                      <a:pt x="59055" y="154305"/>
                    </a:cubicBezTo>
                    <a:cubicBezTo>
                      <a:pt x="62865" y="155258"/>
                      <a:pt x="67627" y="155258"/>
                      <a:pt x="71438" y="157163"/>
                    </a:cubicBezTo>
                    <a:cubicBezTo>
                      <a:pt x="70485" y="158115"/>
                      <a:pt x="69532" y="158115"/>
                      <a:pt x="69532" y="158115"/>
                    </a:cubicBezTo>
                    <a:cubicBezTo>
                      <a:pt x="72390" y="160020"/>
                      <a:pt x="75248" y="159067"/>
                      <a:pt x="78105" y="160973"/>
                    </a:cubicBezTo>
                    <a:cubicBezTo>
                      <a:pt x="76200" y="162878"/>
                      <a:pt x="75248" y="160973"/>
                      <a:pt x="73343" y="160973"/>
                    </a:cubicBezTo>
                    <a:cubicBezTo>
                      <a:pt x="89535" y="165735"/>
                      <a:pt x="105727" y="169545"/>
                      <a:pt x="119063" y="179070"/>
                    </a:cubicBezTo>
                    <a:cubicBezTo>
                      <a:pt x="107632" y="184785"/>
                      <a:pt x="96202" y="187642"/>
                      <a:pt x="83820" y="189548"/>
                    </a:cubicBezTo>
                    <a:cubicBezTo>
                      <a:pt x="81915" y="189548"/>
                      <a:pt x="80963" y="189548"/>
                      <a:pt x="80010" y="188595"/>
                    </a:cubicBezTo>
                    <a:cubicBezTo>
                      <a:pt x="80010" y="189548"/>
                      <a:pt x="80010" y="190500"/>
                      <a:pt x="79057" y="190500"/>
                    </a:cubicBezTo>
                    <a:cubicBezTo>
                      <a:pt x="77152" y="190500"/>
                      <a:pt x="75248" y="190500"/>
                      <a:pt x="74295" y="191453"/>
                    </a:cubicBezTo>
                    <a:cubicBezTo>
                      <a:pt x="73343" y="194310"/>
                      <a:pt x="70485" y="194310"/>
                      <a:pt x="68580" y="193358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2" name="Forme libre : forme 11">
                <a:extLst>
                  <a:ext uri="{FF2B5EF4-FFF2-40B4-BE49-F238E27FC236}">
                    <a16:creationId xmlns:a16="http://schemas.microsoft.com/office/drawing/2014/main" id="{D69EF2AC-5A12-4D27-B882-942F779DCB5B}"/>
                  </a:ext>
                </a:extLst>
              </p:cNvPr>
              <p:cNvSpPr/>
              <p:nvPr/>
            </p:nvSpPr>
            <p:spPr>
              <a:xfrm>
                <a:off x="270509" y="270509"/>
                <a:ext cx="349567" cy="269557"/>
              </a:xfrm>
              <a:custGeom>
                <a:avLst/>
                <a:gdLst>
                  <a:gd name="connsiteX0" fmla="*/ 306705 w 349567"/>
                  <a:gd name="connsiteY0" fmla="*/ 237173 h 269557"/>
                  <a:gd name="connsiteX1" fmla="*/ 315278 w 349567"/>
                  <a:gd name="connsiteY1" fmla="*/ 227648 h 269557"/>
                  <a:gd name="connsiteX2" fmla="*/ 315278 w 349567"/>
                  <a:gd name="connsiteY2" fmla="*/ 227648 h 269557"/>
                  <a:gd name="connsiteX3" fmla="*/ 332423 w 349567"/>
                  <a:gd name="connsiteY3" fmla="*/ 210503 h 269557"/>
                  <a:gd name="connsiteX4" fmla="*/ 338138 w 349567"/>
                  <a:gd name="connsiteY4" fmla="*/ 205740 h 269557"/>
                  <a:gd name="connsiteX5" fmla="*/ 339090 w 349567"/>
                  <a:gd name="connsiteY5" fmla="*/ 203835 h 269557"/>
                  <a:gd name="connsiteX6" fmla="*/ 332423 w 349567"/>
                  <a:gd name="connsiteY6" fmla="*/ 207645 h 269557"/>
                  <a:gd name="connsiteX7" fmla="*/ 331470 w 349567"/>
                  <a:gd name="connsiteY7" fmla="*/ 206692 h 269557"/>
                  <a:gd name="connsiteX8" fmla="*/ 337185 w 349567"/>
                  <a:gd name="connsiteY8" fmla="*/ 202883 h 269557"/>
                  <a:gd name="connsiteX9" fmla="*/ 337185 w 349567"/>
                  <a:gd name="connsiteY9" fmla="*/ 202883 h 269557"/>
                  <a:gd name="connsiteX10" fmla="*/ 336233 w 349567"/>
                  <a:gd name="connsiteY10" fmla="*/ 201930 h 269557"/>
                  <a:gd name="connsiteX11" fmla="*/ 320040 w 349567"/>
                  <a:gd name="connsiteY11" fmla="*/ 210503 h 269557"/>
                  <a:gd name="connsiteX12" fmla="*/ 317183 w 349567"/>
                  <a:gd name="connsiteY12" fmla="*/ 209550 h 269557"/>
                  <a:gd name="connsiteX13" fmla="*/ 296228 w 349567"/>
                  <a:gd name="connsiteY13" fmla="*/ 221933 h 269557"/>
                  <a:gd name="connsiteX14" fmla="*/ 296228 w 349567"/>
                  <a:gd name="connsiteY14" fmla="*/ 220980 h 269557"/>
                  <a:gd name="connsiteX15" fmla="*/ 286703 w 349567"/>
                  <a:gd name="connsiteY15" fmla="*/ 224790 h 269557"/>
                  <a:gd name="connsiteX16" fmla="*/ 274320 w 349567"/>
                  <a:gd name="connsiteY16" fmla="*/ 225742 h 269557"/>
                  <a:gd name="connsiteX17" fmla="*/ 256223 w 349567"/>
                  <a:gd name="connsiteY17" fmla="*/ 228600 h 269557"/>
                  <a:gd name="connsiteX18" fmla="*/ 255270 w 349567"/>
                  <a:gd name="connsiteY18" fmla="*/ 228600 h 269557"/>
                  <a:gd name="connsiteX19" fmla="*/ 245745 w 349567"/>
                  <a:gd name="connsiteY19" fmla="*/ 232410 h 269557"/>
                  <a:gd name="connsiteX20" fmla="*/ 245745 w 349567"/>
                  <a:gd name="connsiteY20" fmla="*/ 232410 h 269557"/>
                  <a:gd name="connsiteX21" fmla="*/ 244792 w 349567"/>
                  <a:gd name="connsiteY21" fmla="*/ 233363 h 269557"/>
                  <a:gd name="connsiteX22" fmla="*/ 240983 w 349567"/>
                  <a:gd name="connsiteY22" fmla="*/ 236220 h 269557"/>
                  <a:gd name="connsiteX23" fmla="*/ 232410 w 349567"/>
                  <a:gd name="connsiteY23" fmla="*/ 242888 h 269557"/>
                  <a:gd name="connsiteX24" fmla="*/ 231458 w 349567"/>
                  <a:gd name="connsiteY24" fmla="*/ 242888 h 269557"/>
                  <a:gd name="connsiteX25" fmla="*/ 222885 w 349567"/>
                  <a:gd name="connsiteY25" fmla="*/ 250508 h 269557"/>
                  <a:gd name="connsiteX26" fmla="*/ 220980 w 349567"/>
                  <a:gd name="connsiteY26" fmla="*/ 250508 h 269557"/>
                  <a:gd name="connsiteX27" fmla="*/ 220980 w 349567"/>
                  <a:gd name="connsiteY27" fmla="*/ 250508 h 269557"/>
                  <a:gd name="connsiteX28" fmla="*/ 220980 w 349567"/>
                  <a:gd name="connsiteY28" fmla="*/ 249555 h 269557"/>
                  <a:gd name="connsiteX29" fmla="*/ 221933 w 349567"/>
                  <a:gd name="connsiteY29" fmla="*/ 247650 h 269557"/>
                  <a:gd name="connsiteX30" fmla="*/ 223838 w 349567"/>
                  <a:gd name="connsiteY30" fmla="*/ 245745 h 269557"/>
                  <a:gd name="connsiteX31" fmla="*/ 225742 w 349567"/>
                  <a:gd name="connsiteY31" fmla="*/ 242888 h 269557"/>
                  <a:gd name="connsiteX32" fmla="*/ 225742 w 349567"/>
                  <a:gd name="connsiteY32" fmla="*/ 241935 h 269557"/>
                  <a:gd name="connsiteX33" fmla="*/ 224790 w 349567"/>
                  <a:gd name="connsiteY33" fmla="*/ 241935 h 269557"/>
                  <a:gd name="connsiteX34" fmla="*/ 233363 w 349567"/>
                  <a:gd name="connsiteY34" fmla="*/ 235267 h 269557"/>
                  <a:gd name="connsiteX35" fmla="*/ 233363 w 349567"/>
                  <a:gd name="connsiteY35" fmla="*/ 235267 h 269557"/>
                  <a:gd name="connsiteX36" fmla="*/ 232410 w 349567"/>
                  <a:gd name="connsiteY36" fmla="*/ 234315 h 269557"/>
                  <a:gd name="connsiteX37" fmla="*/ 233363 w 349567"/>
                  <a:gd name="connsiteY37" fmla="*/ 233363 h 269557"/>
                  <a:gd name="connsiteX38" fmla="*/ 233363 w 349567"/>
                  <a:gd name="connsiteY38" fmla="*/ 233363 h 269557"/>
                  <a:gd name="connsiteX39" fmla="*/ 233363 w 349567"/>
                  <a:gd name="connsiteY39" fmla="*/ 233363 h 269557"/>
                  <a:gd name="connsiteX40" fmla="*/ 233363 w 349567"/>
                  <a:gd name="connsiteY40" fmla="*/ 234315 h 269557"/>
                  <a:gd name="connsiteX41" fmla="*/ 229553 w 349567"/>
                  <a:gd name="connsiteY41" fmla="*/ 237173 h 269557"/>
                  <a:gd name="connsiteX42" fmla="*/ 228600 w 349567"/>
                  <a:gd name="connsiteY42" fmla="*/ 237173 h 269557"/>
                  <a:gd name="connsiteX43" fmla="*/ 227648 w 349567"/>
                  <a:gd name="connsiteY43" fmla="*/ 237173 h 269557"/>
                  <a:gd name="connsiteX44" fmla="*/ 227648 w 349567"/>
                  <a:gd name="connsiteY44" fmla="*/ 237173 h 269557"/>
                  <a:gd name="connsiteX45" fmla="*/ 227648 w 349567"/>
                  <a:gd name="connsiteY45" fmla="*/ 237173 h 269557"/>
                  <a:gd name="connsiteX46" fmla="*/ 227648 w 349567"/>
                  <a:gd name="connsiteY46" fmla="*/ 237173 h 269557"/>
                  <a:gd name="connsiteX47" fmla="*/ 227648 w 349567"/>
                  <a:gd name="connsiteY47" fmla="*/ 237173 h 269557"/>
                  <a:gd name="connsiteX48" fmla="*/ 227648 w 349567"/>
                  <a:gd name="connsiteY48" fmla="*/ 237173 h 269557"/>
                  <a:gd name="connsiteX49" fmla="*/ 227648 w 349567"/>
                  <a:gd name="connsiteY49" fmla="*/ 237173 h 269557"/>
                  <a:gd name="connsiteX50" fmla="*/ 227648 w 349567"/>
                  <a:gd name="connsiteY50" fmla="*/ 236220 h 269557"/>
                  <a:gd name="connsiteX51" fmla="*/ 227648 w 349567"/>
                  <a:gd name="connsiteY51" fmla="*/ 236220 h 269557"/>
                  <a:gd name="connsiteX52" fmla="*/ 228600 w 349567"/>
                  <a:gd name="connsiteY52" fmla="*/ 235267 h 269557"/>
                  <a:gd name="connsiteX53" fmla="*/ 228600 w 349567"/>
                  <a:gd name="connsiteY53" fmla="*/ 234315 h 269557"/>
                  <a:gd name="connsiteX54" fmla="*/ 229553 w 349567"/>
                  <a:gd name="connsiteY54" fmla="*/ 233363 h 269557"/>
                  <a:gd name="connsiteX55" fmla="*/ 229553 w 349567"/>
                  <a:gd name="connsiteY55" fmla="*/ 232410 h 269557"/>
                  <a:gd name="connsiteX56" fmla="*/ 233363 w 349567"/>
                  <a:gd name="connsiteY56" fmla="*/ 229553 h 269557"/>
                  <a:gd name="connsiteX57" fmla="*/ 233363 w 349567"/>
                  <a:gd name="connsiteY57" fmla="*/ 229553 h 269557"/>
                  <a:gd name="connsiteX58" fmla="*/ 239078 w 349567"/>
                  <a:gd name="connsiteY58" fmla="*/ 226695 h 269557"/>
                  <a:gd name="connsiteX59" fmla="*/ 240030 w 349567"/>
                  <a:gd name="connsiteY59" fmla="*/ 225742 h 269557"/>
                  <a:gd name="connsiteX60" fmla="*/ 231458 w 349567"/>
                  <a:gd name="connsiteY60" fmla="*/ 229553 h 269557"/>
                  <a:gd name="connsiteX61" fmla="*/ 230505 w 349567"/>
                  <a:gd name="connsiteY61" fmla="*/ 229553 h 269557"/>
                  <a:gd name="connsiteX62" fmla="*/ 229553 w 349567"/>
                  <a:gd name="connsiteY62" fmla="*/ 229553 h 269557"/>
                  <a:gd name="connsiteX63" fmla="*/ 229553 w 349567"/>
                  <a:gd name="connsiteY63" fmla="*/ 229553 h 269557"/>
                  <a:gd name="connsiteX64" fmla="*/ 232410 w 349567"/>
                  <a:gd name="connsiteY64" fmla="*/ 226695 h 269557"/>
                  <a:gd name="connsiteX65" fmla="*/ 233363 w 349567"/>
                  <a:gd name="connsiteY65" fmla="*/ 227648 h 269557"/>
                  <a:gd name="connsiteX66" fmla="*/ 291465 w 349567"/>
                  <a:gd name="connsiteY66" fmla="*/ 211455 h 269557"/>
                  <a:gd name="connsiteX67" fmla="*/ 296228 w 349567"/>
                  <a:gd name="connsiteY67" fmla="*/ 208598 h 269557"/>
                  <a:gd name="connsiteX68" fmla="*/ 303848 w 349567"/>
                  <a:gd name="connsiteY68" fmla="*/ 203835 h 269557"/>
                  <a:gd name="connsiteX69" fmla="*/ 312420 w 349567"/>
                  <a:gd name="connsiteY69" fmla="*/ 192405 h 269557"/>
                  <a:gd name="connsiteX70" fmla="*/ 311468 w 349567"/>
                  <a:gd name="connsiteY70" fmla="*/ 191453 h 269557"/>
                  <a:gd name="connsiteX71" fmla="*/ 288608 w 349567"/>
                  <a:gd name="connsiteY71" fmla="*/ 208598 h 269557"/>
                  <a:gd name="connsiteX72" fmla="*/ 255270 w 349567"/>
                  <a:gd name="connsiteY72" fmla="*/ 214313 h 269557"/>
                  <a:gd name="connsiteX73" fmla="*/ 258128 w 349567"/>
                  <a:gd name="connsiteY73" fmla="*/ 213360 h 269557"/>
                  <a:gd name="connsiteX74" fmla="*/ 260033 w 349567"/>
                  <a:gd name="connsiteY74" fmla="*/ 210503 h 269557"/>
                  <a:gd name="connsiteX75" fmla="*/ 261938 w 349567"/>
                  <a:gd name="connsiteY75" fmla="*/ 210503 h 269557"/>
                  <a:gd name="connsiteX76" fmla="*/ 262890 w 349567"/>
                  <a:gd name="connsiteY76" fmla="*/ 209550 h 269557"/>
                  <a:gd name="connsiteX77" fmla="*/ 264795 w 349567"/>
                  <a:gd name="connsiteY77" fmla="*/ 208598 h 269557"/>
                  <a:gd name="connsiteX78" fmla="*/ 257175 w 349567"/>
                  <a:gd name="connsiteY78" fmla="*/ 208598 h 269557"/>
                  <a:gd name="connsiteX79" fmla="*/ 259080 w 349567"/>
                  <a:gd name="connsiteY79" fmla="*/ 205740 h 269557"/>
                  <a:gd name="connsiteX80" fmla="*/ 260985 w 349567"/>
                  <a:gd name="connsiteY80" fmla="*/ 205740 h 269557"/>
                  <a:gd name="connsiteX81" fmla="*/ 261938 w 349567"/>
                  <a:gd name="connsiteY81" fmla="*/ 203835 h 269557"/>
                  <a:gd name="connsiteX82" fmla="*/ 283845 w 349567"/>
                  <a:gd name="connsiteY82" fmla="*/ 191453 h 269557"/>
                  <a:gd name="connsiteX83" fmla="*/ 280035 w 349567"/>
                  <a:gd name="connsiteY83" fmla="*/ 192405 h 269557"/>
                  <a:gd name="connsiteX84" fmla="*/ 280988 w 349567"/>
                  <a:gd name="connsiteY84" fmla="*/ 190500 h 269557"/>
                  <a:gd name="connsiteX85" fmla="*/ 297180 w 349567"/>
                  <a:gd name="connsiteY85" fmla="*/ 183833 h 269557"/>
                  <a:gd name="connsiteX86" fmla="*/ 291465 w 349567"/>
                  <a:gd name="connsiteY86" fmla="*/ 183833 h 269557"/>
                  <a:gd name="connsiteX87" fmla="*/ 294323 w 349567"/>
                  <a:gd name="connsiteY87" fmla="*/ 181928 h 269557"/>
                  <a:gd name="connsiteX88" fmla="*/ 294323 w 349567"/>
                  <a:gd name="connsiteY88" fmla="*/ 180023 h 269557"/>
                  <a:gd name="connsiteX89" fmla="*/ 295275 w 349567"/>
                  <a:gd name="connsiteY89" fmla="*/ 179070 h 269557"/>
                  <a:gd name="connsiteX90" fmla="*/ 294323 w 349567"/>
                  <a:gd name="connsiteY90" fmla="*/ 178117 h 269557"/>
                  <a:gd name="connsiteX91" fmla="*/ 297180 w 349567"/>
                  <a:gd name="connsiteY91" fmla="*/ 176213 h 269557"/>
                  <a:gd name="connsiteX92" fmla="*/ 295275 w 349567"/>
                  <a:gd name="connsiteY92" fmla="*/ 175260 h 269557"/>
                  <a:gd name="connsiteX93" fmla="*/ 301943 w 349567"/>
                  <a:gd name="connsiteY93" fmla="*/ 172403 h 269557"/>
                  <a:gd name="connsiteX94" fmla="*/ 300038 w 349567"/>
                  <a:gd name="connsiteY94" fmla="*/ 171450 h 269557"/>
                  <a:gd name="connsiteX95" fmla="*/ 300990 w 349567"/>
                  <a:gd name="connsiteY95" fmla="*/ 170498 h 269557"/>
                  <a:gd name="connsiteX96" fmla="*/ 300990 w 349567"/>
                  <a:gd name="connsiteY96" fmla="*/ 170498 h 269557"/>
                  <a:gd name="connsiteX97" fmla="*/ 300038 w 349567"/>
                  <a:gd name="connsiteY97" fmla="*/ 168592 h 269557"/>
                  <a:gd name="connsiteX98" fmla="*/ 304800 w 349567"/>
                  <a:gd name="connsiteY98" fmla="*/ 156210 h 269557"/>
                  <a:gd name="connsiteX99" fmla="*/ 303848 w 349567"/>
                  <a:gd name="connsiteY99" fmla="*/ 155258 h 269557"/>
                  <a:gd name="connsiteX100" fmla="*/ 282893 w 349567"/>
                  <a:gd name="connsiteY100" fmla="*/ 164783 h 269557"/>
                  <a:gd name="connsiteX101" fmla="*/ 280035 w 349567"/>
                  <a:gd name="connsiteY101" fmla="*/ 164783 h 269557"/>
                  <a:gd name="connsiteX102" fmla="*/ 271463 w 349567"/>
                  <a:gd name="connsiteY102" fmla="*/ 163830 h 269557"/>
                  <a:gd name="connsiteX103" fmla="*/ 266700 w 349567"/>
                  <a:gd name="connsiteY103" fmla="*/ 160020 h 269557"/>
                  <a:gd name="connsiteX104" fmla="*/ 254317 w 349567"/>
                  <a:gd name="connsiteY104" fmla="*/ 154305 h 269557"/>
                  <a:gd name="connsiteX105" fmla="*/ 215265 w 349567"/>
                  <a:gd name="connsiteY105" fmla="*/ 148590 h 269557"/>
                  <a:gd name="connsiteX106" fmla="*/ 233363 w 349567"/>
                  <a:gd name="connsiteY106" fmla="*/ 143828 h 269557"/>
                  <a:gd name="connsiteX107" fmla="*/ 259080 w 349567"/>
                  <a:gd name="connsiteY107" fmla="*/ 139065 h 269557"/>
                  <a:gd name="connsiteX108" fmla="*/ 254317 w 349567"/>
                  <a:gd name="connsiteY108" fmla="*/ 139065 h 269557"/>
                  <a:gd name="connsiteX109" fmla="*/ 232410 w 349567"/>
                  <a:gd name="connsiteY109" fmla="*/ 141923 h 269557"/>
                  <a:gd name="connsiteX110" fmla="*/ 217170 w 349567"/>
                  <a:gd name="connsiteY110" fmla="*/ 145733 h 269557"/>
                  <a:gd name="connsiteX111" fmla="*/ 208598 w 349567"/>
                  <a:gd name="connsiteY111" fmla="*/ 149542 h 269557"/>
                  <a:gd name="connsiteX112" fmla="*/ 208598 w 349567"/>
                  <a:gd name="connsiteY112" fmla="*/ 147638 h 269557"/>
                  <a:gd name="connsiteX113" fmla="*/ 227648 w 349567"/>
                  <a:gd name="connsiteY113" fmla="*/ 135255 h 269557"/>
                  <a:gd name="connsiteX114" fmla="*/ 254317 w 349567"/>
                  <a:gd name="connsiteY114" fmla="*/ 136208 h 269557"/>
                  <a:gd name="connsiteX115" fmla="*/ 273368 w 349567"/>
                  <a:gd name="connsiteY115" fmla="*/ 140017 h 269557"/>
                  <a:gd name="connsiteX116" fmla="*/ 278130 w 349567"/>
                  <a:gd name="connsiteY116" fmla="*/ 144780 h 269557"/>
                  <a:gd name="connsiteX117" fmla="*/ 287655 w 349567"/>
                  <a:gd name="connsiteY117" fmla="*/ 146685 h 269557"/>
                  <a:gd name="connsiteX118" fmla="*/ 287655 w 349567"/>
                  <a:gd name="connsiteY118" fmla="*/ 143828 h 269557"/>
                  <a:gd name="connsiteX119" fmla="*/ 294323 w 349567"/>
                  <a:gd name="connsiteY119" fmla="*/ 142875 h 269557"/>
                  <a:gd name="connsiteX120" fmla="*/ 288608 w 349567"/>
                  <a:gd name="connsiteY120" fmla="*/ 132398 h 269557"/>
                  <a:gd name="connsiteX121" fmla="*/ 289560 w 349567"/>
                  <a:gd name="connsiteY121" fmla="*/ 131445 h 269557"/>
                  <a:gd name="connsiteX122" fmla="*/ 301943 w 349567"/>
                  <a:gd name="connsiteY122" fmla="*/ 141923 h 269557"/>
                  <a:gd name="connsiteX123" fmla="*/ 309563 w 349567"/>
                  <a:gd name="connsiteY123" fmla="*/ 140970 h 269557"/>
                  <a:gd name="connsiteX124" fmla="*/ 298133 w 349567"/>
                  <a:gd name="connsiteY124" fmla="*/ 125730 h 269557"/>
                  <a:gd name="connsiteX125" fmla="*/ 298133 w 349567"/>
                  <a:gd name="connsiteY125" fmla="*/ 123825 h 269557"/>
                  <a:gd name="connsiteX126" fmla="*/ 296228 w 349567"/>
                  <a:gd name="connsiteY126" fmla="*/ 122873 h 269557"/>
                  <a:gd name="connsiteX127" fmla="*/ 296228 w 349567"/>
                  <a:gd name="connsiteY127" fmla="*/ 120015 h 269557"/>
                  <a:gd name="connsiteX128" fmla="*/ 293370 w 349567"/>
                  <a:gd name="connsiteY128" fmla="*/ 115253 h 269557"/>
                  <a:gd name="connsiteX129" fmla="*/ 291465 w 349567"/>
                  <a:gd name="connsiteY129" fmla="*/ 105728 h 269557"/>
                  <a:gd name="connsiteX130" fmla="*/ 290513 w 349567"/>
                  <a:gd name="connsiteY130" fmla="*/ 98108 h 269557"/>
                  <a:gd name="connsiteX131" fmla="*/ 285750 w 349567"/>
                  <a:gd name="connsiteY131" fmla="*/ 73342 h 269557"/>
                  <a:gd name="connsiteX132" fmla="*/ 296228 w 349567"/>
                  <a:gd name="connsiteY132" fmla="*/ 47625 h 269557"/>
                  <a:gd name="connsiteX133" fmla="*/ 310515 w 349567"/>
                  <a:gd name="connsiteY133" fmla="*/ 31433 h 269557"/>
                  <a:gd name="connsiteX134" fmla="*/ 320040 w 349567"/>
                  <a:gd name="connsiteY134" fmla="*/ 15240 h 269557"/>
                  <a:gd name="connsiteX135" fmla="*/ 336233 w 349567"/>
                  <a:gd name="connsiteY135" fmla="*/ 4763 h 269557"/>
                  <a:gd name="connsiteX136" fmla="*/ 349568 w 349567"/>
                  <a:gd name="connsiteY136" fmla="*/ 0 h 269557"/>
                  <a:gd name="connsiteX137" fmla="*/ 0 w 349567"/>
                  <a:gd name="connsiteY137" fmla="*/ 0 h 269557"/>
                  <a:gd name="connsiteX138" fmla="*/ 0 w 349567"/>
                  <a:gd name="connsiteY138" fmla="*/ 269558 h 269557"/>
                  <a:gd name="connsiteX139" fmla="*/ 247650 w 349567"/>
                  <a:gd name="connsiteY139" fmla="*/ 269558 h 269557"/>
                  <a:gd name="connsiteX140" fmla="*/ 280988 w 349567"/>
                  <a:gd name="connsiteY140" fmla="*/ 252413 h 269557"/>
                  <a:gd name="connsiteX141" fmla="*/ 306705 w 349567"/>
                  <a:gd name="connsiteY141" fmla="*/ 237173 h 269557"/>
                  <a:gd name="connsiteX142" fmla="*/ 227648 w 349567"/>
                  <a:gd name="connsiteY142" fmla="*/ 200978 h 269557"/>
                  <a:gd name="connsiteX143" fmla="*/ 224790 w 349567"/>
                  <a:gd name="connsiteY143" fmla="*/ 200025 h 269557"/>
                  <a:gd name="connsiteX144" fmla="*/ 230505 w 349567"/>
                  <a:gd name="connsiteY144" fmla="*/ 196215 h 269557"/>
                  <a:gd name="connsiteX145" fmla="*/ 234315 w 349567"/>
                  <a:gd name="connsiteY145" fmla="*/ 195263 h 269557"/>
                  <a:gd name="connsiteX146" fmla="*/ 238125 w 349567"/>
                  <a:gd name="connsiteY146" fmla="*/ 197167 h 269557"/>
                  <a:gd name="connsiteX147" fmla="*/ 227648 w 349567"/>
                  <a:gd name="connsiteY147" fmla="*/ 200978 h 269557"/>
                  <a:gd name="connsiteX148" fmla="*/ 149542 w 349567"/>
                  <a:gd name="connsiteY148" fmla="*/ 189548 h 269557"/>
                  <a:gd name="connsiteX149" fmla="*/ 148590 w 349567"/>
                  <a:gd name="connsiteY149" fmla="*/ 188595 h 269557"/>
                  <a:gd name="connsiteX150" fmla="*/ 164783 w 349567"/>
                  <a:gd name="connsiteY150" fmla="*/ 162878 h 269557"/>
                  <a:gd name="connsiteX151" fmla="*/ 181928 w 349567"/>
                  <a:gd name="connsiteY151" fmla="*/ 148590 h 269557"/>
                  <a:gd name="connsiteX152" fmla="*/ 210503 w 349567"/>
                  <a:gd name="connsiteY152" fmla="*/ 125730 h 269557"/>
                  <a:gd name="connsiteX153" fmla="*/ 223838 w 349567"/>
                  <a:gd name="connsiteY153" fmla="*/ 126683 h 269557"/>
                  <a:gd name="connsiteX154" fmla="*/ 218123 w 349567"/>
                  <a:gd name="connsiteY154" fmla="*/ 129540 h 269557"/>
                  <a:gd name="connsiteX155" fmla="*/ 216217 w 349567"/>
                  <a:gd name="connsiteY155" fmla="*/ 128588 h 269557"/>
                  <a:gd name="connsiteX156" fmla="*/ 217170 w 349567"/>
                  <a:gd name="connsiteY156" fmla="*/ 126683 h 269557"/>
                  <a:gd name="connsiteX157" fmla="*/ 200978 w 349567"/>
                  <a:gd name="connsiteY157" fmla="*/ 141923 h 269557"/>
                  <a:gd name="connsiteX158" fmla="*/ 189548 w 349567"/>
                  <a:gd name="connsiteY158" fmla="*/ 155258 h 269557"/>
                  <a:gd name="connsiteX159" fmla="*/ 188595 w 349567"/>
                  <a:gd name="connsiteY159" fmla="*/ 154305 h 269557"/>
                  <a:gd name="connsiteX160" fmla="*/ 149542 w 349567"/>
                  <a:gd name="connsiteY160" fmla="*/ 189548 h 269557"/>
                  <a:gd name="connsiteX161" fmla="*/ 192405 w 349567"/>
                  <a:gd name="connsiteY161" fmla="*/ 156210 h 269557"/>
                  <a:gd name="connsiteX162" fmla="*/ 190500 w 349567"/>
                  <a:gd name="connsiteY162" fmla="*/ 158115 h 269557"/>
                  <a:gd name="connsiteX163" fmla="*/ 188595 w 349567"/>
                  <a:gd name="connsiteY163" fmla="*/ 160020 h 269557"/>
                  <a:gd name="connsiteX164" fmla="*/ 187642 w 349567"/>
                  <a:gd name="connsiteY164" fmla="*/ 159067 h 269557"/>
                  <a:gd name="connsiteX165" fmla="*/ 191453 w 349567"/>
                  <a:gd name="connsiteY165" fmla="*/ 154305 h 269557"/>
                  <a:gd name="connsiteX166" fmla="*/ 192405 w 349567"/>
                  <a:gd name="connsiteY166" fmla="*/ 156210 h 269557"/>
                  <a:gd name="connsiteX167" fmla="*/ 216217 w 349567"/>
                  <a:gd name="connsiteY167" fmla="*/ 232410 h 269557"/>
                  <a:gd name="connsiteX168" fmla="*/ 215265 w 349567"/>
                  <a:gd name="connsiteY168" fmla="*/ 234315 h 269557"/>
                  <a:gd name="connsiteX169" fmla="*/ 216217 w 349567"/>
                  <a:gd name="connsiteY169" fmla="*/ 235267 h 269557"/>
                  <a:gd name="connsiteX170" fmla="*/ 212408 w 349567"/>
                  <a:gd name="connsiteY170" fmla="*/ 238125 h 269557"/>
                  <a:gd name="connsiteX171" fmla="*/ 211455 w 349567"/>
                  <a:gd name="connsiteY171" fmla="*/ 238125 h 269557"/>
                  <a:gd name="connsiteX172" fmla="*/ 209550 w 349567"/>
                  <a:gd name="connsiteY172" fmla="*/ 240030 h 269557"/>
                  <a:gd name="connsiteX173" fmla="*/ 206692 w 349567"/>
                  <a:gd name="connsiteY173" fmla="*/ 239078 h 269557"/>
                  <a:gd name="connsiteX174" fmla="*/ 210503 w 349567"/>
                  <a:gd name="connsiteY174" fmla="*/ 235267 h 269557"/>
                  <a:gd name="connsiteX175" fmla="*/ 212408 w 349567"/>
                  <a:gd name="connsiteY175" fmla="*/ 233363 h 269557"/>
                  <a:gd name="connsiteX176" fmla="*/ 213360 w 349567"/>
                  <a:gd name="connsiteY176" fmla="*/ 232410 h 269557"/>
                  <a:gd name="connsiteX177" fmla="*/ 216217 w 349567"/>
                  <a:gd name="connsiteY177" fmla="*/ 232410 h 269557"/>
                  <a:gd name="connsiteX178" fmla="*/ 206692 w 349567"/>
                  <a:gd name="connsiteY178" fmla="*/ 228600 h 269557"/>
                  <a:gd name="connsiteX179" fmla="*/ 206692 w 349567"/>
                  <a:gd name="connsiteY179" fmla="*/ 228600 h 269557"/>
                  <a:gd name="connsiteX180" fmla="*/ 200978 w 349567"/>
                  <a:gd name="connsiteY180" fmla="*/ 232410 h 269557"/>
                  <a:gd name="connsiteX181" fmla="*/ 194310 w 349567"/>
                  <a:gd name="connsiteY181" fmla="*/ 235267 h 269557"/>
                  <a:gd name="connsiteX182" fmla="*/ 194310 w 349567"/>
                  <a:gd name="connsiteY182" fmla="*/ 235267 h 269557"/>
                  <a:gd name="connsiteX183" fmla="*/ 193358 w 349567"/>
                  <a:gd name="connsiteY183" fmla="*/ 235267 h 269557"/>
                  <a:gd name="connsiteX184" fmla="*/ 188595 w 349567"/>
                  <a:gd name="connsiteY184" fmla="*/ 239078 h 269557"/>
                  <a:gd name="connsiteX185" fmla="*/ 187642 w 349567"/>
                  <a:gd name="connsiteY185" fmla="*/ 240030 h 269557"/>
                  <a:gd name="connsiteX186" fmla="*/ 187642 w 349567"/>
                  <a:gd name="connsiteY186" fmla="*/ 240030 h 269557"/>
                  <a:gd name="connsiteX187" fmla="*/ 187642 w 349567"/>
                  <a:gd name="connsiteY187" fmla="*/ 240030 h 269557"/>
                  <a:gd name="connsiteX188" fmla="*/ 186690 w 349567"/>
                  <a:gd name="connsiteY188" fmla="*/ 240983 h 269557"/>
                  <a:gd name="connsiteX189" fmla="*/ 186690 w 349567"/>
                  <a:gd name="connsiteY189" fmla="*/ 240983 h 269557"/>
                  <a:gd name="connsiteX190" fmla="*/ 186690 w 349567"/>
                  <a:gd name="connsiteY190" fmla="*/ 240983 h 269557"/>
                  <a:gd name="connsiteX191" fmla="*/ 185738 w 349567"/>
                  <a:gd name="connsiteY191" fmla="*/ 241935 h 269557"/>
                  <a:gd name="connsiteX192" fmla="*/ 184785 w 349567"/>
                  <a:gd name="connsiteY192" fmla="*/ 242888 h 269557"/>
                  <a:gd name="connsiteX193" fmla="*/ 183833 w 349567"/>
                  <a:gd name="connsiteY193" fmla="*/ 242888 h 269557"/>
                  <a:gd name="connsiteX194" fmla="*/ 183833 w 349567"/>
                  <a:gd name="connsiteY194" fmla="*/ 242888 h 269557"/>
                  <a:gd name="connsiteX195" fmla="*/ 182880 w 349567"/>
                  <a:gd name="connsiteY195" fmla="*/ 242888 h 269557"/>
                  <a:gd name="connsiteX196" fmla="*/ 181928 w 349567"/>
                  <a:gd name="connsiteY196" fmla="*/ 242888 h 269557"/>
                  <a:gd name="connsiteX197" fmla="*/ 181928 w 349567"/>
                  <a:gd name="connsiteY197" fmla="*/ 242888 h 269557"/>
                  <a:gd name="connsiteX198" fmla="*/ 181928 w 349567"/>
                  <a:gd name="connsiteY198" fmla="*/ 242888 h 269557"/>
                  <a:gd name="connsiteX199" fmla="*/ 180023 w 349567"/>
                  <a:gd name="connsiteY199" fmla="*/ 244792 h 269557"/>
                  <a:gd name="connsiteX200" fmla="*/ 177165 w 349567"/>
                  <a:gd name="connsiteY200" fmla="*/ 247650 h 269557"/>
                  <a:gd name="connsiteX201" fmla="*/ 177165 w 349567"/>
                  <a:gd name="connsiteY201" fmla="*/ 247650 h 269557"/>
                  <a:gd name="connsiteX202" fmla="*/ 177165 w 349567"/>
                  <a:gd name="connsiteY202" fmla="*/ 247650 h 269557"/>
                  <a:gd name="connsiteX203" fmla="*/ 177165 w 349567"/>
                  <a:gd name="connsiteY203" fmla="*/ 247650 h 269557"/>
                  <a:gd name="connsiteX204" fmla="*/ 177165 w 349567"/>
                  <a:gd name="connsiteY204" fmla="*/ 247650 h 269557"/>
                  <a:gd name="connsiteX205" fmla="*/ 177165 w 349567"/>
                  <a:gd name="connsiteY205" fmla="*/ 247650 h 269557"/>
                  <a:gd name="connsiteX206" fmla="*/ 177165 w 349567"/>
                  <a:gd name="connsiteY206" fmla="*/ 248603 h 269557"/>
                  <a:gd name="connsiteX207" fmla="*/ 177165 w 349567"/>
                  <a:gd name="connsiteY207" fmla="*/ 248603 h 269557"/>
                  <a:gd name="connsiteX208" fmla="*/ 177165 w 349567"/>
                  <a:gd name="connsiteY208" fmla="*/ 248603 h 269557"/>
                  <a:gd name="connsiteX209" fmla="*/ 177165 w 349567"/>
                  <a:gd name="connsiteY209" fmla="*/ 248603 h 269557"/>
                  <a:gd name="connsiteX210" fmla="*/ 177165 w 349567"/>
                  <a:gd name="connsiteY210" fmla="*/ 248603 h 269557"/>
                  <a:gd name="connsiteX211" fmla="*/ 177165 w 349567"/>
                  <a:gd name="connsiteY211" fmla="*/ 247650 h 269557"/>
                  <a:gd name="connsiteX212" fmla="*/ 177165 w 349567"/>
                  <a:gd name="connsiteY212" fmla="*/ 247650 h 269557"/>
                  <a:gd name="connsiteX213" fmla="*/ 177165 w 349567"/>
                  <a:gd name="connsiteY213" fmla="*/ 247650 h 269557"/>
                  <a:gd name="connsiteX214" fmla="*/ 179070 w 349567"/>
                  <a:gd name="connsiteY214" fmla="*/ 245745 h 269557"/>
                  <a:gd name="connsiteX215" fmla="*/ 179070 w 349567"/>
                  <a:gd name="connsiteY215" fmla="*/ 245745 h 269557"/>
                  <a:gd name="connsiteX216" fmla="*/ 180023 w 349567"/>
                  <a:gd name="connsiteY216" fmla="*/ 244792 h 269557"/>
                  <a:gd name="connsiteX217" fmla="*/ 180975 w 349567"/>
                  <a:gd name="connsiteY217" fmla="*/ 243840 h 269557"/>
                  <a:gd name="connsiteX218" fmla="*/ 180975 w 349567"/>
                  <a:gd name="connsiteY218" fmla="*/ 243840 h 269557"/>
                  <a:gd name="connsiteX219" fmla="*/ 182880 w 349567"/>
                  <a:gd name="connsiteY219" fmla="*/ 241935 h 269557"/>
                  <a:gd name="connsiteX220" fmla="*/ 182880 w 349567"/>
                  <a:gd name="connsiteY220" fmla="*/ 241935 h 269557"/>
                  <a:gd name="connsiteX221" fmla="*/ 182880 w 349567"/>
                  <a:gd name="connsiteY221" fmla="*/ 241935 h 269557"/>
                  <a:gd name="connsiteX222" fmla="*/ 183833 w 349567"/>
                  <a:gd name="connsiteY222" fmla="*/ 240983 h 269557"/>
                  <a:gd name="connsiteX223" fmla="*/ 184785 w 349567"/>
                  <a:gd name="connsiteY223" fmla="*/ 240030 h 269557"/>
                  <a:gd name="connsiteX224" fmla="*/ 184785 w 349567"/>
                  <a:gd name="connsiteY224" fmla="*/ 240030 h 269557"/>
                  <a:gd name="connsiteX225" fmla="*/ 184785 w 349567"/>
                  <a:gd name="connsiteY225" fmla="*/ 240030 h 269557"/>
                  <a:gd name="connsiteX226" fmla="*/ 184785 w 349567"/>
                  <a:gd name="connsiteY226" fmla="*/ 240030 h 269557"/>
                  <a:gd name="connsiteX227" fmla="*/ 185738 w 349567"/>
                  <a:gd name="connsiteY227" fmla="*/ 239078 h 269557"/>
                  <a:gd name="connsiteX228" fmla="*/ 185738 w 349567"/>
                  <a:gd name="connsiteY228" fmla="*/ 239078 h 269557"/>
                  <a:gd name="connsiteX229" fmla="*/ 185738 w 349567"/>
                  <a:gd name="connsiteY229" fmla="*/ 239078 h 269557"/>
                  <a:gd name="connsiteX230" fmla="*/ 185738 w 349567"/>
                  <a:gd name="connsiteY230" fmla="*/ 238125 h 269557"/>
                  <a:gd name="connsiteX231" fmla="*/ 185738 w 349567"/>
                  <a:gd name="connsiteY231" fmla="*/ 238125 h 269557"/>
                  <a:gd name="connsiteX232" fmla="*/ 185738 w 349567"/>
                  <a:gd name="connsiteY232" fmla="*/ 237173 h 269557"/>
                  <a:gd name="connsiteX233" fmla="*/ 185738 w 349567"/>
                  <a:gd name="connsiteY233" fmla="*/ 237173 h 269557"/>
                  <a:gd name="connsiteX234" fmla="*/ 187642 w 349567"/>
                  <a:gd name="connsiteY234" fmla="*/ 234315 h 269557"/>
                  <a:gd name="connsiteX235" fmla="*/ 187642 w 349567"/>
                  <a:gd name="connsiteY235" fmla="*/ 234315 h 269557"/>
                  <a:gd name="connsiteX236" fmla="*/ 185738 w 349567"/>
                  <a:gd name="connsiteY236" fmla="*/ 236220 h 269557"/>
                  <a:gd name="connsiteX237" fmla="*/ 184785 w 349567"/>
                  <a:gd name="connsiteY237" fmla="*/ 235267 h 269557"/>
                  <a:gd name="connsiteX238" fmla="*/ 185738 w 349567"/>
                  <a:gd name="connsiteY238" fmla="*/ 234315 h 269557"/>
                  <a:gd name="connsiteX239" fmla="*/ 185738 w 349567"/>
                  <a:gd name="connsiteY239" fmla="*/ 234315 h 269557"/>
                  <a:gd name="connsiteX240" fmla="*/ 188595 w 349567"/>
                  <a:gd name="connsiteY240" fmla="*/ 231458 h 269557"/>
                  <a:gd name="connsiteX241" fmla="*/ 190500 w 349567"/>
                  <a:gd name="connsiteY241" fmla="*/ 230505 h 269557"/>
                  <a:gd name="connsiteX242" fmla="*/ 190500 w 349567"/>
                  <a:gd name="connsiteY242" fmla="*/ 230505 h 269557"/>
                  <a:gd name="connsiteX243" fmla="*/ 191453 w 349567"/>
                  <a:gd name="connsiteY243" fmla="*/ 229553 h 269557"/>
                  <a:gd name="connsiteX244" fmla="*/ 191453 w 349567"/>
                  <a:gd name="connsiteY244" fmla="*/ 229553 h 269557"/>
                  <a:gd name="connsiteX245" fmla="*/ 211455 w 349567"/>
                  <a:gd name="connsiteY245" fmla="*/ 221933 h 269557"/>
                  <a:gd name="connsiteX246" fmla="*/ 220028 w 349567"/>
                  <a:gd name="connsiteY246" fmla="*/ 221933 h 269557"/>
                  <a:gd name="connsiteX247" fmla="*/ 224790 w 349567"/>
                  <a:gd name="connsiteY247" fmla="*/ 222885 h 269557"/>
                  <a:gd name="connsiteX248" fmla="*/ 206692 w 349567"/>
                  <a:gd name="connsiteY248" fmla="*/ 228600 h 269557"/>
                  <a:gd name="connsiteX249" fmla="*/ 217170 w 349567"/>
                  <a:gd name="connsiteY249" fmla="*/ 193358 h 269557"/>
                  <a:gd name="connsiteX250" fmla="*/ 219075 w 349567"/>
                  <a:gd name="connsiteY250" fmla="*/ 192405 h 269557"/>
                  <a:gd name="connsiteX251" fmla="*/ 215265 w 349567"/>
                  <a:gd name="connsiteY251" fmla="*/ 192405 h 269557"/>
                  <a:gd name="connsiteX252" fmla="*/ 214313 w 349567"/>
                  <a:gd name="connsiteY252" fmla="*/ 191453 h 269557"/>
                  <a:gd name="connsiteX253" fmla="*/ 205740 w 349567"/>
                  <a:gd name="connsiteY253" fmla="*/ 193358 h 269557"/>
                  <a:gd name="connsiteX254" fmla="*/ 195263 w 349567"/>
                  <a:gd name="connsiteY254" fmla="*/ 198120 h 269557"/>
                  <a:gd name="connsiteX255" fmla="*/ 179070 w 349567"/>
                  <a:gd name="connsiteY255" fmla="*/ 206692 h 269557"/>
                  <a:gd name="connsiteX256" fmla="*/ 178117 w 349567"/>
                  <a:gd name="connsiteY256" fmla="*/ 205740 h 269557"/>
                  <a:gd name="connsiteX257" fmla="*/ 181928 w 349567"/>
                  <a:gd name="connsiteY257" fmla="*/ 201930 h 269557"/>
                  <a:gd name="connsiteX258" fmla="*/ 180975 w 349567"/>
                  <a:gd name="connsiteY258" fmla="*/ 200978 h 269557"/>
                  <a:gd name="connsiteX259" fmla="*/ 196215 w 349567"/>
                  <a:gd name="connsiteY259" fmla="*/ 187642 h 269557"/>
                  <a:gd name="connsiteX260" fmla="*/ 196215 w 349567"/>
                  <a:gd name="connsiteY260" fmla="*/ 185738 h 269557"/>
                  <a:gd name="connsiteX261" fmla="*/ 200978 w 349567"/>
                  <a:gd name="connsiteY261" fmla="*/ 180023 h 269557"/>
                  <a:gd name="connsiteX262" fmla="*/ 205740 w 349567"/>
                  <a:gd name="connsiteY262" fmla="*/ 175260 h 269557"/>
                  <a:gd name="connsiteX263" fmla="*/ 203835 w 349567"/>
                  <a:gd name="connsiteY263" fmla="*/ 173355 h 269557"/>
                  <a:gd name="connsiteX264" fmla="*/ 198120 w 349567"/>
                  <a:gd name="connsiteY264" fmla="*/ 172403 h 269557"/>
                  <a:gd name="connsiteX265" fmla="*/ 200978 w 349567"/>
                  <a:gd name="connsiteY265" fmla="*/ 170498 h 269557"/>
                  <a:gd name="connsiteX266" fmla="*/ 200025 w 349567"/>
                  <a:gd name="connsiteY266" fmla="*/ 169545 h 269557"/>
                  <a:gd name="connsiteX267" fmla="*/ 202883 w 349567"/>
                  <a:gd name="connsiteY267" fmla="*/ 166688 h 269557"/>
                  <a:gd name="connsiteX268" fmla="*/ 208598 w 349567"/>
                  <a:gd name="connsiteY268" fmla="*/ 164783 h 269557"/>
                  <a:gd name="connsiteX269" fmla="*/ 197167 w 349567"/>
                  <a:gd name="connsiteY269" fmla="*/ 163830 h 269557"/>
                  <a:gd name="connsiteX270" fmla="*/ 209550 w 349567"/>
                  <a:gd name="connsiteY270" fmla="*/ 148590 h 269557"/>
                  <a:gd name="connsiteX271" fmla="*/ 211455 w 349567"/>
                  <a:gd name="connsiteY271" fmla="*/ 149542 h 269557"/>
                  <a:gd name="connsiteX272" fmla="*/ 207645 w 349567"/>
                  <a:gd name="connsiteY272" fmla="*/ 154305 h 269557"/>
                  <a:gd name="connsiteX273" fmla="*/ 220028 w 349567"/>
                  <a:gd name="connsiteY273" fmla="*/ 157163 h 269557"/>
                  <a:gd name="connsiteX274" fmla="*/ 218123 w 349567"/>
                  <a:gd name="connsiteY274" fmla="*/ 158115 h 269557"/>
                  <a:gd name="connsiteX275" fmla="*/ 226695 w 349567"/>
                  <a:gd name="connsiteY275" fmla="*/ 160973 h 269557"/>
                  <a:gd name="connsiteX276" fmla="*/ 221933 w 349567"/>
                  <a:gd name="connsiteY276" fmla="*/ 160973 h 269557"/>
                  <a:gd name="connsiteX277" fmla="*/ 267653 w 349567"/>
                  <a:gd name="connsiteY277" fmla="*/ 179070 h 269557"/>
                  <a:gd name="connsiteX278" fmla="*/ 232410 w 349567"/>
                  <a:gd name="connsiteY278" fmla="*/ 189548 h 269557"/>
                  <a:gd name="connsiteX279" fmla="*/ 228600 w 349567"/>
                  <a:gd name="connsiteY279" fmla="*/ 188595 h 269557"/>
                  <a:gd name="connsiteX280" fmla="*/ 227648 w 349567"/>
                  <a:gd name="connsiteY280" fmla="*/ 190500 h 269557"/>
                  <a:gd name="connsiteX281" fmla="*/ 222885 w 349567"/>
                  <a:gd name="connsiteY281" fmla="*/ 191453 h 269557"/>
                  <a:gd name="connsiteX282" fmla="*/ 217170 w 349567"/>
                  <a:gd name="connsiteY282" fmla="*/ 193358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</a:cxnLst>
                <a:rect l="l" t="t" r="r" b="b"/>
                <a:pathLst>
                  <a:path w="349567" h="269557">
                    <a:moveTo>
                      <a:pt x="306705" y="237173"/>
                    </a:moveTo>
                    <a:cubicBezTo>
                      <a:pt x="309563" y="234315"/>
                      <a:pt x="312420" y="231458"/>
                      <a:pt x="315278" y="227648"/>
                    </a:cubicBezTo>
                    <a:lnTo>
                      <a:pt x="315278" y="227648"/>
                    </a:lnTo>
                    <a:cubicBezTo>
                      <a:pt x="320993" y="221933"/>
                      <a:pt x="325755" y="215265"/>
                      <a:pt x="332423" y="210503"/>
                    </a:cubicBezTo>
                    <a:cubicBezTo>
                      <a:pt x="334328" y="208598"/>
                      <a:pt x="336233" y="207645"/>
                      <a:pt x="338138" y="205740"/>
                    </a:cubicBezTo>
                    <a:cubicBezTo>
                      <a:pt x="339090" y="204788"/>
                      <a:pt x="339090" y="203835"/>
                      <a:pt x="339090" y="203835"/>
                    </a:cubicBezTo>
                    <a:cubicBezTo>
                      <a:pt x="336233" y="204788"/>
                      <a:pt x="335280" y="206692"/>
                      <a:pt x="332423" y="207645"/>
                    </a:cubicBezTo>
                    <a:cubicBezTo>
                      <a:pt x="331470" y="207645"/>
                      <a:pt x="331470" y="206692"/>
                      <a:pt x="331470" y="206692"/>
                    </a:cubicBezTo>
                    <a:cubicBezTo>
                      <a:pt x="333375" y="205740"/>
                      <a:pt x="335280" y="203835"/>
                      <a:pt x="337185" y="202883"/>
                    </a:cubicBezTo>
                    <a:cubicBezTo>
                      <a:pt x="337185" y="202883"/>
                      <a:pt x="337185" y="202883"/>
                      <a:pt x="337185" y="202883"/>
                    </a:cubicBezTo>
                    <a:cubicBezTo>
                      <a:pt x="336233" y="202883"/>
                      <a:pt x="336233" y="201930"/>
                      <a:pt x="336233" y="201930"/>
                    </a:cubicBezTo>
                    <a:cubicBezTo>
                      <a:pt x="329565" y="201930"/>
                      <a:pt x="324803" y="205740"/>
                      <a:pt x="320040" y="210503"/>
                    </a:cubicBezTo>
                    <a:cubicBezTo>
                      <a:pt x="319088" y="211455"/>
                      <a:pt x="318135" y="209550"/>
                      <a:pt x="317183" y="209550"/>
                    </a:cubicBezTo>
                    <a:cubicBezTo>
                      <a:pt x="309563" y="212408"/>
                      <a:pt x="303848" y="219075"/>
                      <a:pt x="296228" y="221933"/>
                    </a:cubicBezTo>
                    <a:lnTo>
                      <a:pt x="296228" y="220980"/>
                    </a:lnTo>
                    <a:cubicBezTo>
                      <a:pt x="293370" y="221933"/>
                      <a:pt x="290513" y="223838"/>
                      <a:pt x="286703" y="224790"/>
                    </a:cubicBezTo>
                    <a:cubicBezTo>
                      <a:pt x="281940" y="225742"/>
                      <a:pt x="278130" y="225742"/>
                      <a:pt x="274320" y="225742"/>
                    </a:cubicBezTo>
                    <a:cubicBezTo>
                      <a:pt x="268605" y="226695"/>
                      <a:pt x="261938" y="227648"/>
                      <a:pt x="256223" y="228600"/>
                    </a:cubicBezTo>
                    <a:cubicBezTo>
                      <a:pt x="256223" y="228600"/>
                      <a:pt x="256223" y="228600"/>
                      <a:pt x="255270" y="228600"/>
                    </a:cubicBezTo>
                    <a:cubicBezTo>
                      <a:pt x="252413" y="229553"/>
                      <a:pt x="248603" y="230505"/>
                      <a:pt x="245745" y="232410"/>
                    </a:cubicBezTo>
                    <a:cubicBezTo>
                      <a:pt x="245745" y="232410"/>
                      <a:pt x="245745" y="232410"/>
                      <a:pt x="245745" y="232410"/>
                    </a:cubicBezTo>
                    <a:cubicBezTo>
                      <a:pt x="245745" y="232410"/>
                      <a:pt x="244792" y="233363"/>
                      <a:pt x="244792" y="233363"/>
                    </a:cubicBezTo>
                    <a:cubicBezTo>
                      <a:pt x="243840" y="234315"/>
                      <a:pt x="242888" y="235267"/>
                      <a:pt x="240983" y="236220"/>
                    </a:cubicBezTo>
                    <a:cubicBezTo>
                      <a:pt x="238125" y="238125"/>
                      <a:pt x="235267" y="240983"/>
                      <a:pt x="232410" y="242888"/>
                    </a:cubicBezTo>
                    <a:cubicBezTo>
                      <a:pt x="232410" y="242888"/>
                      <a:pt x="231458" y="242888"/>
                      <a:pt x="231458" y="242888"/>
                    </a:cubicBezTo>
                    <a:cubicBezTo>
                      <a:pt x="228600" y="245745"/>
                      <a:pt x="225742" y="248603"/>
                      <a:pt x="222885" y="250508"/>
                    </a:cubicBezTo>
                    <a:cubicBezTo>
                      <a:pt x="222885" y="250508"/>
                      <a:pt x="221933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49555"/>
                    </a:cubicBezTo>
                    <a:cubicBezTo>
                      <a:pt x="220980" y="248603"/>
                      <a:pt x="221933" y="247650"/>
                      <a:pt x="221933" y="247650"/>
                    </a:cubicBezTo>
                    <a:cubicBezTo>
                      <a:pt x="222885" y="246698"/>
                      <a:pt x="222885" y="245745"/>
                      <a:pt x="223838" y="245745"/>
                    </a:cubicBezTo>
                    <a:cubicBezTo>
                      <a:pt x="224790" y="244792"/>
                      <a:pt x="224790" y="243840"/>
                      <a:pt x="225742" y="242888"/>
                    </a:cubicBezTo>
                    <a:cubicBezTo>
                      <a:pt x="225742" y="242888"/>
                      <a:pt x="225742" y="241935"/>
                      <a:pt x="225742" y="241935"/>
                    </a:cubicBezTo>
                    <a:cubicBezTo>
                      <a:pt x="225742" y="241935"/>
                      <a:pt x="225742" y="241935"/>
                      <a:pt x="224790" y="241935"/>
                    </a:cubicBezTo>
                    <a:cubicBezTo>
                      <a:pt x="227648" y="239078"/>
                      <a:pt x="230505" y="237173"/>
                      <a:pt x="233363" y="235267"/>
                    </a:cubicBezTo>
                    <a:lnTo>
                      <a:pt x="233363" y="235267"/>
                    </a:lnTo>
                    <a:cubicBezTo>
                      <a:pt x="233363" y="235267"/>
                      <a:pt x="232410" y="235267"/>
                      <a:pt x="232410" y="234315"/>
                    </a:cubicBezTo>
                    <a:cubicBezTo>
                      <a:pt x="232410" y="234315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4315" y="233363"/>
                      <a:pt x="233363" y="234315"/>
                      <a:pt x="233363" y="234315"/>
                    </a:cubicBezTo>
                    <a:cubicBezTo>
                      <a:pt x="232410" y="235267"/>
                      <a:pt x="231458" y="238125"/>
                      <a:pt x="229553" y="237173"/>
                    </a:cubicBezTo>
                    <a:cubicBezTo>
                      <a:pt x="229553" y="237173"/>
                      <a:pt x="228600" y="237173"/>
                      <a:pt x="228600" y="237173"/>
                    </a:cubicBezTo>
                    <a:cubicBezTo>
                      <a:pt x="228600" y="237173"/>
                      <a:pt x="228600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6220"/>
                    </a:cubicBezTo>
                    <a:cubicBezTo>
                      <a:pt x="227648" y="236220"/>
                      <a:pt x="227648" y="236220"/>
                      <a:pt x="227648" y="236220"/>
                    </a:cubicBezTo>
                    <a:cubicBezTo>
                      <a:pt x="227648" y="236220"/>
                      <a:pt x="227648" y="235267"/>
                      <a:pt x="228600" y="235267"/>
                    </a:cubicBezTo>
                    <a:cubicBezTo>
                      <a:pt x="228600" y="235267"/>
                      <a:pt x="228600" y="235267"/>
                      <a:pt x="228600" y="234315"/>
                    </a:cubicBezTo>
                    <a:cubicBezTo>
                      <a:pt x="228600" y="234315"/>
                      <a:pt x="228600" y="233363"/>
                      <a:pt x="229553" y="233363"/>
                    </a:cubicBezTo>
                    <a:cubicBezTo>
                      <a:pt x="229553" y="233363"/>
                      <a:pt x="229553" y="232410"/>
                      <a:pt x="229553" y="232410"/>
                    </a:cubicBezTo>
                    <a:cubicBezTo>
                      <a:pt x="230505" y="231458"/>
                      <a:pt x="231458" y="230505"/>
                      <a:pt x="233363" y="229553"/>
                    </a:cubicBezTo>
                    <a:lnTo>
                      <a:pt x="233363" y="229553"/>
                    </a:lnTo>
                    <a:cubicBezTo>
                      <a:pt x="235267" y="228600"/>
                      <a:pt x="237173" y="227648"/>
                      <a:pt x="239078" y="226695"/>
                    </a:cubicBezTo>
                    <a:cubicBezTo>
                      <a:pt x="239078" y="226695"/>
                      <a:pt x="240030" y="225742"/>
                      <a:pt x="240030" y="225742"/>
                    </a:cubicBezTo>
                    <a:cubicBezTo>
                      <a:pt x="237173" y="226695"/>
                      <a:pt x="234315" y="227648"/>
                      <a:pt x="231458" y="229553"/>
                    </a:cubicBezTo>
                    <a:cubicBezTo>
                      <a:pt x="231458" y="229553"/>
                      <a:pt x="230505" y="229553"/>
                      <a:pt x="230505" y="229553"/>
                    </a:cubicBezTo>
                    <a:cubicBezTo>
                      <a:pt x="230505" y="229553"/>
                      <a:pt x="229553" y="229553"/>
                      <a:pt x="229553" y="229553"/>
                    </a:cubicBezTo>
                    <a:cubicBezTo>
                      <a:pt x="229553" y="229553"/>
                      <a:pt x="229553" y="229553"/>
                      <a:pt x="229553" y="229553"/>
                    </a:cubicBezTo>
                    <a:cubicBezTo>
                      <a:pt x="230505" y="228600"/>
                      <a:pt x="231458" y="227648"/>
                      <a:pt x="232410" y="226695"/>
                    </a:cubicBezTo>
                    <a:cubicBezTo>
                      <a:pt x="233363" y="226695"/>
                      <a:pt x="233363" y="226695"/>
                      <a:pt x="233363" y="227648"/>
                    </a:cubicBezTo>
                    <a:cubicBezTo>
                      <a:pt x="249555" y="215265"/>
                      <a:pt x="272415" y="218123"/>
                      <a:pt x="291465" y="211455"/>
                    </a:cubicBezTo>
                    <a:cubicBezTo>
                      <a:pt x="293370" y="210503"/>
                      <a:pt x="294323" y="209550"/>
                      <a:pt x="296228" y="208598"/>
                    </a:cubicBezTo>
                    <a:cubicBezTo>
                      <a:pt x="299085" y="207645"/>
                      <a:pt x="300990" y="204788"/>
                      <a:pt x="303848" y="203835"/>
                    </a:cubicBezTo>
                    <a:cubicBezTo>
                      <a:pt x="307658" y="200978"/>
                      <a:pt x="310515" y="197167"/>
                      <a:pt x="312420" y="192405"/>
                    </a:cubicBezTo>
                    <a:cubicBezTo>
                      <a:pt x="312420" y="191453"/>
                      <a:pt x="311468" y="191453"/>
                      <a:pt x="311468" y="191453"/>
                    </a:cubicBezTo>
                    <a:cubicBezTo>
                      <a:pt x="304800" y="199073"/>
                      <a:pt x="297180" y="203835"/>
                      <a:pt x="288608" y="208598"/>
                    </a:cubicBezTo>
                    <a:cubicBezTo>
                      <a:pt x="278130" y="214313"/>
                      <a:pt x="265748" y="213360"/>
                      <a:pt x="255270" y="214313"/>
                    </a:cubicBezTo>
                    <a:cubicBezTo>
                      <a:pt x="256223" y="213360"/>
                      <a:pt x="257175" y="213360"/>
                      <a:pt x="258128" y="213360"/>
                    </a:cubicBezTo>
                    <a:cubicBezTo>
                      <a:pt x="258128" y="211455"/>
                      <a:pt x="259080" y="211455"/>
                      <a:pt x="260033" y="210503"/>
                    </a:cubicBezTo>
                    <a:lnTo>
                      <a:pt x="261938" y="210503"/>
                    </a:lnTo>
                    <a:cubicBezTo>
                      <a:pt x="262890" y="210503"/>
                      <a:pt x="262890" y="209550"/>
                      <a:pt x="262890" y="209550"/>
                    </a:cubicBezTo>
                    <a:cubicBezTo>
                      <a:pt x="263843" y="209550"/>
                      <a:pt x="265748" y="208598"/>
                      <a:pt x="264795" y="208598"/>
                    </a:cubicBezTo>
                    <a:cubicBezTo>
                      <a:pt x="262890" y="206692"/>
                      <a:pt x="260033" y="210503"/>
                      <a:pt x="257175" y="208598"/>
                    </a:cubicBezTo>
                    <a:cubicBezTo>
                      <a:pt x="258128" y="207645"/>
                      <a:pt x="258128" y="205740"/>
                      <a:pt x="259080" y="205740"/>
                    </a:cubicBezTo>
                    <a:lnTo>
                      <a:pt x="260985" y="205740"/>
                    </a:lnTo>
                    <a:cubicBezTo>
                      <a:pt x="260985" y="204788"/>
                      <a:pt x="261938" y="203835"/>
                      <a:pt x="261938" y="203835"/>
                    </a:cubicBezTo>
                    <a:cubicBezTo>
                      <a:pt x="269558" y="199073"/>
                      <a:pt x="277178" y="195263"/>
                      <a:pt x="283845" y="191453"/>
                    </a:cubicBezTo>
                    <a:cubicBezTo>
                      <a:pt x="281940" y="191453"/>
                      <a:pt x="280988" y="193358"/>
                      <a:pt x="280035" y="192405"/>
                    </a:cubicBezTo>
                    <a:cubicBezTo>
                      <a:pt x="280988" y="192405"/>
                      <a:pt x="280035" y="190500"/>
                      <a:pt x="280988" y="190500"/>
                    </a:cubicBezTo>
                    <a:cubicBezTo>
                      <a:pt x="286703" y="188595"/>
                      <a:pt x="291465" y="185738"/>
                      <a:pt x="297180" y="183833"/>
                    </a:cubicBezTo>
                    <a:cubicBezTo>
                      <a:pt x="295275" y="183833"/>
                      <a:pt x="293370" y="185738"/>
                      <a:pt x="291465" y="183833"/>
                    </a:cubicBezTo>
                    <a:cubicBezTo>
                      <a:pt x="292418" y="182880"/>
                      <a:pt x="293370" y="181928"/>
                      <a:pt x="294323" y="181928"/>
                    </a:cubicBezTo>
                    <a:lnTo>
                      <a:pt x="294323" y="180023"/>
                    </a:lnTo>
                    <a:cubicBezTo>
                      <a:pt x="294323" y="179070"/>
                      <a:pt x="295275" y="179070"/>
                      <a:pt x="295275" y="179070"/>
                    </a:cubicBezTo>
                    <a:cubicBezTo>
                      <a:pt x="294323" y="179070"/>
                      <a:pt x="294323" y="178117"/>
                      <a:pt x="294323" y="178117"/>
                    </a:cubicBezTo>
                    <a:cubicBezTo>
                      <a:pt x="295275" y="177165"/>
                      <a:pt x="296228" y="177165"/>
                      <a:pt x="297180" y="176213"/>
                    </a:cubicBezTo>
                    <a:cubicBezTo>
                      <a:pt x="296228" y="176213"/>
                      <a:pt x="295275" y="176213"/>
                      <a:pt x="295275" y="175260"/>
                    </a:cubicBezTo>
                    <a:cubicBezTo>
                      <a:pt x="297180" y="173355"/>
                      <a:pt x="299085" y="172403"/>
                      <a:pt x="301943" y="172403"/>
                    </a:cubicBezTo>
                    <a:cubicBezTo>
                      <a:pt x="300990" y="171450"/>
                      <a:pt x="300038" y="172403"/>
                      <a:pt x="300038" y="171450"/>
                    </a:cubicBezTo>
                    <a:cubicBezTo>
                      <a:pt x="300038" y="170498"/>
                      <a:pt x="300990" y="170498"/>
                      <a:pt x="300990" y="170498"/>
                    </a:cubicBezTo>
                    <a:lnTo>
                      <a:pt x="300990" y="170498"/>
                    </a:lnTo>
                    <a:cubicBezTo>
                      <a:pt x="300038" y="169545"/>
                      <a:pt x="300038" y="168592"/>
                      <a:pt x="300038" y="168592"/>
                    </a:cubicBezTo>
                    <a:cubicBezTo>
                      <a:pt x="302895" y="164783"/>
                      <a:pt x="302895" y="160020"/>
                      <a:pt x="304800" y="156210"/>
                    </a:cubicBezTo>
                    <a:cubicBezTo>
                      <a:pt x="303848" y="156210"/>
                      <a:pt x="303848" y="156210"/>
                      <a:pt x="303848" y="155258"/>
                    </a:cubicBezTo>
                    <a:cubicBezTo>
                      <a:pt x="299085" y="160973"/>
                      <a:pt x="290513" y="162878"/>
                      <a:pt x="282893" y="164783"/>
                    </a:cubicBezTo>
                    <a:lnTo>
                      <a:pt x="280035" y="164783"/>
                    </a:lnTo>
                    <a:cubicBezTo>
                      <a:pt x="277178" y="165735"/>
                      <a:pt x="274320" y="165735"/>
                      <a:pt x="271463" y="163830"/>
                    </a:cubicBezTo>
                    <a:cubicBezTo>
                      <a:pt x="269558" y="162878"/>
                      <a:pt x="268605" y="160973"/>
                      <a:pt x="266700" y="160020"/>
                    </a:cubicBezTo>
                    <a:cubicBezTo>
                      <a:pt x="262890" y="157163"/>
                      <a:pt x="258128" y="155258"/>
                      <a:pt x="254317" y="154305"/>
                    </a:cubicBezTo>
                    <a:cubicBezTo>
                      <a:pt x="240983" y="150495"/>
                      <a:pt x="227648" y="148590"/>
                      <a:pt x="215265" y="148590"/>
                    </a:cubicBezTo>
                    <a:cubicBezTo>
                      <a:pt x="220980" y="145733"/>
                      <a:pt x="226695" y="145733"/>
                      <a:pt x="233363" y="143828"/>
                    </a:cubicBezTo>
                    <a:cubicBezTo>
                      <a:pt x="241935" y="140970"/>
                      <a:pt x="250508" y="138113"/>
                      <a:pt x="259080" y="139065"/>
                    </a:cubicBezTo>
                    <a:cubicBezTo>
                      <a:pt x="257175" y="138113"/>
                      <a:pt x="255270" y="139065"/>
                      <a:pt x="254317" y="139065"/>
                    </a:cubicBezTo>
                    <a:cubicBezTo>
                      <a:pt x="246698" y="138113"/>
                      <a:pt x="240030" y="140970"/>
                      <a:pt x="232410" y="141923"/>
                    </a:cubicBezTo>
                    <a:cubicBezTo>
                      <a:pt x="227648" y="142875"/>
                      <a:pt x="222885" y="144780"/>
                      <a:pt x="217170" y="145733"/>
                    </a:cubicBezTo>
                    <a:cubicBezTo>
                      <a:pt x="214313" y="146685"/>
                      <a:pt x="212408" y="149542"/>
                      <a:pt x="208598" y="149542"/>
                    </a:cubicBezTo>
                    <a:lnTo>
                      <a:pt x="208598" y="147638"/>
                    </a:lnTo>
                    <a:cubicBezTo>
                      <a:pt x="213360" y="141923"/>
                      <a:pt x="220028" y="135255"/>
                      <a:pt x="227648" y="135255"/>
                    </a:cubicBezTo>
                    <a:cubicBezTo>
                      <a:pt x="237173" y="133350"/>
                      <a:pt x="245745" y="135255"/>
                      <a:pt x="254317" y="136208"/>
                    </a:cubicBezTo>
                    <a:cubicBezTo>
                      <a:pt x="260985" y="137160"/>
                      <a:pt x="266700" y="138113"/>
                      <a:pt x="273368" y="140017"/>
                    </a:cubicBezTo>
                    <a:cubicBezTo>
                      <a:pt x="276225" y="140017"/>
                      <a:pt x="276225" y="143828"/>
                      <a:pt x="278130" y="144780"/>
                    </a:cubicBezTo>
                    <a:cubicBezTo>
                      <a:pt x="280988" y="145733"/>
                      <a:pt x="283845" y="144780"/>
                      <a:pt x="287655" y="146685"/>
                    </a:cubicBezTo>
                    <a:cubicBezTo>
                      <a:pt x="287655" y="145733"/>
                      <a:pt x="286703" y="144780"/>
                      <a:pt x="287655" y="143828"/>
                    </a:cubicBezTo>
                    <a:cubicBezTo>
                      <a:pt x="289560" y="141923"/>
                      <a:pt x="292418" y="144780"/>
                      <a:pt x="294323" y="142875"/>
                    </a:cubicBezTo>
                    <a:cubicBezTo>
                      <a:pt x="298133" y="140017"/>
                      <a:pt x="290513" y="136208"/>
                      <a:pt x="288608" y="132398"/>
                    </a:cubicBezTo>
                    <a:cubicBezTo>
                      <a:pt x="288608" y="131445"/>
                      <a:pt x="289560" y="131445"/>
                      <a:pt x="289560" y="131445"/>
                    </a:cubicBezTo>
                    <a:cubicBezTo>
                      <a:pt x="293370" y="135255"/>
                      <a:pt x="296228" y="139065"/>
                      <a:pt x="301943" y="141923"/>
                    </a:cubicBezTo>
                    <a:cubicBezTo>
                      <a:pt x="304800" y="142875"/>
                      <a:pt x="310515" y="144780"/>
                      <a:pt x="309563" y="140970"/>
                    </a:cubicBezTo>
                    <a:cubicBezTo>
                      <a:pt x="306705" y="135255"/>
                      <a:pt x="301943" y="130492"/>
                      <a:pt x="298133" y="125730"/>
                    </a:cubicBezTo>
                    <a:lnTo>
                      <a:pt x="298133" y="123825"/>
                    </a:lnTo>
                    <a:cubicBezTo>
                      <a:pt x="297180" y="123825"/>
                      <a:pt x="297180" y="122873"/>
                      <a:pt x="296228" y="122873"/>
                    </a:cubicBezTo>
                    <a:lnTo>
                      <a:pt x="296228" y="120015"/>
                    </a:lnTo>
                    <a:cubicBezTo>
                      <a:pt x="294323" y="119063"/>
                      <a:pt x="294323" y="117158"/>
                      <a:pt x="293370" y="115253"/>
                    </a:cubicBezTo>
                    <a:cubicBezTo>
                      <a:pt x="291465" y="112395"/>
                      <a:pt x="292418" y="109538"/>
                      <a:pt x="291465" y="105728"/>
                    </a:cubicBezTo>
                    <a:cubicBezTo>
                      <a:pt x="291465" y="103823"/>
                      <a:pt x="291465" y="100965"/>
                      <a:pt x="290513" y="98108"/>
                    </a:cubicBezTo>
                    <a:cubicBezTo>
                      <a:pt x="288608" y="89535"/>
                      <a:pt x="286703" y="81915"/>
                      <a:pt x="285750" y="73342"/>
                    </a:cubicBezTo>
                    <a:cubicBezTo>
                      <a:pt x="284798" y="63817"/>
                      <a:pt x="291465" y="56197"/>
                      <a:pt x="296228" y="47625"/>
                    </a:cubicBezTo>
                    <a:cubicBezTo>
                      <a:pt x="300038" y="41910"/>
                      <a:pt x="303848" y="35242"/>
                      <a:pt x="310515" y="31433"/>
                    </a:cubicBezTo>
                    <a:cubicBezTo>
                      <a:pt x="312420" y="25718"/>
                      <a:pt x="316230" y="20003"/>
                      <a:pt x="320040" y="15240"/>
                    </a:cubicBezTo>
                    <a:cubicBezTo>
                      <a:pt x="323850" y="10478"/>
                      <a:pt x="330518" y="7620"/>
                      <a:pt x="336233" y="4763"/>
                    </a:cubicBezTo>
                    <a:cubicBezTo>
                      <a:pt x="342900" y="1905"/>
                      <a:pt x="349568" y="0"/>
                      <a:pt x="349568" y="0"/>
                    </a:cubicBezTo>
                    <a:lnTo>
                      <a:pt x="0" y="0"/>
                    </a:lnTo>
                    <a:lnTo>
                      <a:pt x="0" y="269558"/>
                    </a:lnTo>
                    <a:lnTo>
                      <a:pt x="247650" y="269558"/>
                    </a:lnTo>
                    <a:cubicBezTo>
                      <a:pt x="257175" y="262890"/>
                      <a:pt x="266700" y="259080"/>
                      <a:pt x="280988" y="252413"/>
                    </a:cubicBezTo>
                    <a:cubicBezTo>
                      <a:pt x="286703" y="249555"/>
                      <a:pt x="301943" y="242888"/>
                      <a:pt x="306705" y="237173"/>
                    </a:cubicBezTo>
                    <a:moveTo>
                      <a:pt x="227648" y="200978"/>
                    </a:moveTo>
                    <a:cubicBezTo>
                      <a:pt x="226695" y="200978"/>
                      <a:pt x="224790" y="201930"/>
                      <a:pt x="224790" y="200025"/>
                    </a:cubicBezTo>
                    <a:cubicBezTo>
                      <a:pt x="225742" y="197167"/>
                      <a:pt x="228600" y="197167"/>
                      <a:pt x="230505" y="196215"/>
                    </a:cubicBezTo>
                    <a:cubicBezTo>
                      <a:pt x="231458" y="195263"/>
                      <a:pt x="233363" y="194310"/>
                      <a:pt x="234315" y="195263"/>
                    </a:cubicBezTo>
                    <a:cubicBezTo>
                      <a:pt x="235267" y="197167"/>
                      <a:pt x="237173" y="196215"/>
                      <a:pt x="238125" y="197167"/>
                    </a:cubicBezTo>
                    <a:cubicBezTo>
                      <a:pt x="235267" y="200978"/>
                      <a:pt x="231458" y="200025"/>
                      <a:pt x="227648" y="200978"/>
                    </a:cubicBezTo>
                    <a:moveTo>
                      <a:pt x="149542" y="189548"/>
                    </a:moveTo>
                    <a:cubicBezTo>
                      <a:pt x="149542" y="189548"/>
                      <a:pt x="148590" y="188595"/>
                      <a:pt x="148590" y="188595"/>
                    </a:cubicBezTo>
                    <a:cubicBezTo>
                      <a:pt x="155258" y="180023"/>
                      <a:pt x="160020" y="171450"/>
                      <a:pt x="164783" y="162878"/>
                    </a:cubicBezTo>
                    <a:cubicBezTo>
                      <a:pt x="171450" y="159067"/>
                      <a:pt x="177165" y="154305"/>
                      <a:pt x="181928" y="148590"/>
                    </a:cubicBezTo>
                    <a:cubicBezTo>
                      <a:pt x="190500" y="139065"/>
                      <a:pt x="200025" y="131445"/>
                      <a:pt x="210503" y="125730"/>
                    </a:cubicBezTo>
                    <a:cubicBezTo>
                      <a:pt x="214313" y="123825"/>
                      <a:pt x="220028" y="124778"/>
                      <a:pt x="223838" y="126683"/>
                    </a:cubicBezTo>
                    <a:cubicBezTo>
                      <a:pt x="221933" y="128588"/>
                      <a:pt x="220028" y="128588"/>
                      <a:pt x="218123" y="129540"/>
                    </a:cubicBezTo>
                    <a:cubicBezTo>
                      <a:pt x="217170" y="129540"/>
                      <a:pt x="217170" y="129540"/>
                      <a:pt x="216217" y="128588"/>
                    </a:cubicBezTo>
                    <a:cubicBezTo>
                      <a:pt x="217170" y="127635"/>
                      <a:pt x="217170" y="127635"/>
                      <a:pt x="217170" y="126683"/>
                    </a:cubicBezTo>
                    <a:cubicBezTo>
                      <a:pt x="212408" y="132398"/>
                      <a:pt x="204788" y="135255"/>
                      <a:pt x="200978" y="141923"/>
                    </a:cubicBezTo>
                    <a:cubicBezTo>
                      <a:pt x="198120" y="146685"/>
                      <a:pt x="196215" y="153353"/>
                      <a:pt x="189548" y="155258"/>
                    </a:cubicBezTo>
                    <a:cubicBezTo>
                      <a:pt x="187642" y="156210"/>
                      <a:pt x="190500" y="153353"/>
                      <a:pt x="188595" y="154305"/>
                    </a:cubicBezTo>
                    <a:cubicBezTo>
                      <a:pt x="173355" y="164783"/>
                      <a:pt x="161925" y="176213"/>
                      <a:pt x="149542" y="189548"/>
                    </a:cubicBezTo>
                    <a:moveTo>
                      <a:pt x="192405" y="156210"/>
                    </a:moveTo>
                    <a:cubicBezTo>
                      <a:pt x="191453" y="157163"/>
                      <a:pt x="191453" y="157163"/>
                      <a:pt x="190500" y="158115"/>
                    </a:cubicBezTo>
                    <a:cubicBezTo>
                      <a:pt x="189548" y="159067"/>
                      <a:pt x="189548" y="160020"/>
                      <a:pt x="188595" y="160020"/>
                    </a:cubicBezTo>
                    <a:cubicBezTo>
                      <a:pt x="187642" y="160020"/>
                      <a:pt x="187642" y="160020"/>
                      <a:pt x="187642" y="159067"/>
                    </a:cubicBezTo>
                    <a:cubicBezTo>
                      <a:pt x="188595" y="157163"/>
                      <a:pt x="189548" y="155258"/>
                      <a:pt x="191453" y="154305"/>
                    </a:cubicBezTo>
                    <a:cubicBezTo>
                      <a:pt x="192405" y="155258"/>
                      <a:pt x="192405" y="155258"/>
                      <a:pt x="192405" y="156210"/>
                    </a:cubicBezTo>
                    <a:moveTo>
                      <a:pt x="216217" y="232410"/>
                    </a:moveTo>
                    <a:cubicBezTo>
                      <a:pt x="216217" y="233363"/>
                      <a:pt x="215265" y="233363"/>
                      <a:pt x="215265" y="234315"/>
                    </a:cubicBezTo>
                    <a:cubicBezTo>
                      <a:pt x="216217" y="234315"/>
                      <a:pt x="216217" y="234315"/>
                      <a:pt x="216217" y="235267"/>
                    </a:cubicBezTo>
                    <a:cubicBezTo>
                      <a:pt x="215265" y="236220"/>
                      <a:pt x="214313" y="237173"/>
                      <a:pt x="212408" y="238125"/>
                    </a:cubicBezTo>
                    <a:cubicBezTo>
                      <a:pt x="212408" y="238125"/>
                      <a:pt x="212408" y="238125"/>
                      <a:pt x="211455" y="238125"/>
                    </a:cubicBezTo>
                    <a:cubicBezTo>
                      <a:pt x="210503" y="239078"/>
                      <a:pt x="210503" y="239078"/>
                      <a:pt x="209550" y="240030"/>
                    </a:cubicBezTo>
                    <a:cubicBezTo>
                      <a:pt x="208598" y="240983"/>
                      <a:pt x="205740" y="240030"/>
                      <a:pt x="206692" y="239078"/>
                    </a:cubicBezTo>
                    <a:cubicBezTo>
                      <a:pt x="207645" y="238125"/>
                      <a:pt x="209550" y="236220"/>
                      <a:pt x="210503" y="235267"/>
                    </a:cubicBezTo>
                    <a:cubicBezTo>
                      <a:pt x="211455" y="234315"/>
                      <a:pt x="212408" y="234315"/>
                      <a:pt x="212408" y="233363"/>
                    </a:cubicBezTo>
                    <a:cubicBezTo>
                      <a:pt x="212408" y="233363"/>
                      <a:pt x="213360" y="232410"/>
                      <a:pt x="213360" y="232410"/>
                    </a:cubicBezTo>
                    <a:cubicBezTo>
                      <a:pt x="213360" y="231458"/>
                      <a:pt x="216217" y="231458"/>
                      <a:pt x="216217" y="232410"/>
                    </a:cubicBezTo>
                    <a:moveTo>
                      <a:pt x="206692" y="228600"/>
                    </a:moveTo>
                    <a:cubicBezTo>
                      <a:pt x="206692" y="228600"/>
                      <a:pt x="206692" y="228600"/>
                      <a:pt x="206692" y="228600"/>
                    </a:cubicBezTo>
                    <a:cubicBezTo>
                      <a:pt x="204788" y="230505"/>
                      <a:pt x="202883" y="231458"/>
                      <a:pt x="200978" y="232410"/>
                    </a:cubicBezTo>
                    <a:cubicBezTo>
                      <a:pt x="199073" y="233363"/>
                      <a:pt x="196215" y="234315"/>
                      <a:pt x="194310" y="235267"/>
                    </a:cubicBezTo>
                    <a:cubicBezTo>
                      <a:pt x="194310" y="235267"/>
                      <a:pt x="194310" y="235267"/>
                      <a:pt x="194310" y="235267"/>
                    </a:cubicBezTo>
                    <a:cubicBezTo>
                      <a:pt x="194310" y="235267"/>
                      <a:pt x="193358" y="235267"/>
                      <a:pt x="193358" y="235267"/>
                    </a:cubicBezTo>
                    <a:cubicBezTo>
                      <a:pt x="191453" y="236220"/>
                      <a:pt x="189548" y="238125"/>
                      <a:pt x="188595" y="239078"/>
                    </a:cubicBezTo>
                    <a:cubicBezTo>
                      <a:pt x="188595" y="239078"/>
                      <a:pt x="188595" y="239078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5738" y="241935"/>
                      <a:pt x="185738" y="241935"/>
                    </a:cubicBezTo>
                    <a:cubicBezTo>
                      <a:pt x="185738" y="241935"/>
                      <a:pt x="185738" y="242888"/>
                      <a:pt x="184785" y="242888"/>
                    </a:cubicBezTo>
                    <a:cubicBezTo>
                      <a:pt x="184785" y="242888"/>
                      <a:pt x="183833" y="242888"/>
                      <a:pt x="183833" y="242888"/>
                    </a:cubicBezTo>
                    <a:cubicBezTo>
                      <a:pt x="183833" y="242888"/>
                      <a:pt x="183833" y="242888"/>
                      <a:pt x="183833" y="242888"/>
                    </a:cubicBezTo>
                    <a:cubicBezTo>
                      <a:pt x="183833" y="242888"/>
                      <a:pt x="182880" y="242888"/>
                      <a:pt x="182880" y="242888"/>
                    </a:cubicBezTo>
                    <a:cubicBezTo>
                      <a:pt x="182880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0975" y="243840"/>
                      <a:pt x="180975" y="243840"/>
                      <a:pt x="180023" y="244792"/>
                    </a:cubicBezTo>
                    <a:cubicBezTo>
                      <a:pt x="179070" y="245745"/>
                      <a:pt x="178117" y="246698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8603"/>
                    </a:cubicBezTo>
                    <a:lnTo>
                      <a:pt x="177165" y="248603"/>
                    </a:ln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7650"/>
                      <a:pt x="177165" y="247650"/>
                    </a:cubicBezTo>
                    <a:lnTo>
                      <a:pt x="177165" y="247650"/>
                    </a:ln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8117" y="246698"/>
                      <a:pt x="178117" y="246698"/>
                      <a:pt x="179070" y="245745"/>
                    </a:cubicBezTo>
                    <a:cubicBezTo>
                      <a:pt x="179070" y="245745"/>
                      <a:pt x="179070" y="245745"/>
                      <a:pt x="179070" y="245745"/>
                    </a:cubicBezTo>
                    <a:cubicBezTo>
                      <a:pt x="179070" y="245745"/>
                      <a:pt x="179070" y="245745"/>
                      <a:pt x="180023" y="244792"/>
                    </a:cubicBezTo>
                    <a:cubicBezTo>
                      <a:pt x="180023" y="244792"/>
                      <a:pt x="180975" y="243840"/>
                      <a:pt x="180975" y="243840"/>
                    </a:cubicBezTo>
                    <a:cubicBezTo>
                      <a:pt x="180975" y="243840"/>
                      <a:pt x="180975" y="243840"/>
                      <a:pt x="180975" y="243840"/>
                    </a:cubicBezTo>
                    <a:cubicBezTo>
                      <a:pt x="181928" y="242888"/>
                      <a:pt x="181928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3833" y="240983"/>
                      <a:pt x="183833" y="240983"/>
                    </a:cubicBezTo>
                    <a:cubicBezTo>
                      <a:pt x="183833" y="240983"/>
                      <a:pt x="183833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8125"/>
                    </a:cubicBezTo>
                    <a:cubicBezTo>
                      <a:pt x="185738" y="238125"/>
                      <a:pt x="185738" y="238125"/>
                      <a:pt x="185738" y="238125"/>
                    </a:cubicBezTo>
                    <a:cubicBezTo>
                      <a:pt x="185738" y="238125"/>
                      <a:pt x="185738" y="237173"/>
                      <a:pt x="185738" y="237173"/>
                    </a:cubicBezTo>
                    <a:cubicBezTo>
                      <a:pt x="185738" y="237173"/>
                      <a:pt x="185738" y="237173"/>
                      <a:pt x="185738" y="237173"/>
                    </a:cubicBezTo>
                    <a:cubicBezTo>
                      <a:pt x="186690" y="236220"/>
                      <a:pt x="186690" y="235267"/>
                      <a:pt x="187642" y="234315"/>
                    </a:cubicBezTo>
                    <a:cubicBezTo>
                      <a:pt x="187642" y="234315"/>
                      <a:pt x="187642" y="234315"/>
                      <a:pt x="187642" y="234315"/>
                    </a:cubicBezTo>
                    <a:cubicBezTo>
                      <a:pt x="186690" y="234315"/>
                      <a:pt x="186690" y="235267"/>
                      <a:pt x="185738" y="236220"/>
                    </a:cubicBezTo>
                    <a:cubicBezTo>
                      <a:pt x="184785" y="236220"/>
                      <a:pt x="183833" y="236220"/>
                      <a:pt x="184785" y="235267"/>
                    </a:cubicBezTo>
                    <a:cubicBezTo>
                      <a:pt x="184785" y="235267"/>
                      <a:pt x="185738" y="234315"/>
                      <a:pt x="185738" y="234315"/>
                    </a:cubicBezTo>
                    <a:cubicBezTo>
                      <a:pt x="185738" y="234315"/>
                      <a:pt x="185738" y="234315"/>
                      <a:pt x="185738" y="234315"/>
                    </a:cubicBezTo>
                    <a:cubicBezTo>
                      <a:pt x="186690" y="233363"/>
                      <a:pt x="187642" y="232410"/>
                      <a:pt x="188595" y="231458"/>
                    </a:cubicBezTo>
                    <a:cubicBezTo>
                      <a:pt x="189548" y="231458"/>
                      <a:pt x="189548" y="230505"/>
                      <a:pt x="190500" y="230505"/>
                    </a:cubicBezTo>
                    <a:cubicBezTo>
                      <a:pt x="190500" y="230505"/>
                      <a:pt x="190500" y="230505"/>
                      <a:pt x="190500" y="230505"/>
                    </a:cubicBezTo>
                    <a:cubicBezTo>
                      <a:pt x="190500" y="230505"/>
                      <a:pt x="191453" y="229553"/>
                      <a:pt x="191453" y="229553"/>
                    </a:cubicBezTo>
                    <a:cubicBezTo>
                      <a:pt x="191453" y="229553"/>
                      <a:pt x="191453" y="229553"/>
                      <a:pt x="191453" y="229553"/>
                    </a:cubicBezTo>
                    <a:cubicBezTo>
                      <a:pt x="196215" y="224790"/>
                      <a:pt x="204788" y="224790"/>
                      <a:pt x="211455" y="221933"/>
                    </a:cubicBezTo>
                    <a:cubicBezTo>
                      <a:pt x="214313" y="220980"/>
                      <a:pt x="217170" y="222885"/>
                      <a:pt x="220028" y="221933"/>
                    </a:cubicBezTo>
                    <a:cubicBezTo>
                      <a:pt x="221933" y="221933"/>
                      <a:pt x="222885" y="221933"/>
                      <a:pt x="224790" y="222885"/>
                    </a:cubicBezTo>
                    <a:cubicBezTo>
                      <a:pt x="215265" y="222885"/>
                      <a:pt x="211455" y="225742"/>
                      <a:pt x="206692" y="228600"/>
                    </a:cubicBezTo>
                    <a:moveTo>
                      <a:pt x="217170" y="193358"/>
                    </a:moveTo>
                    <a:cubicBezTo>
                      <a:pt x="216217" y="192405"/>
                      <a:pt x="219075" y="193358"/>
                      <a:pt x="219075" y="192405"/>
                    </a:cubicBezTo>
                    <a:lnTo>
                      <a:pt x="215265" y="192405"/>
                    </a:lnTo>
                    <a:cubicBezTo>
                      <a:pt x="214313" y="192405"/>
                      <a:pt x="214313" y="191453"/>
                      <a:pt x="214313" y="191453"/>
                    </a:cubicBezTo>
                    <a:cubicBezTo>
                      <a:pt x="211455" y="192405"/>
                      <a:pt x="208598" y="193358"/>
                      <a:pt x="205740" y="193358"/>
                    </a:cubicBezTo>
                    <a:cubicBezTo>
                      <a:pt x="201930" y="194310"/>
                      <a:pt x="199073" y="197167"/>
                      <a:pt x="195263" y="198120"/>
                    </a:cubicBezTo>
                    <a:cubicBezTo>
                      <a:pt x="189548" y="200025"/>
                      <a:pt x="184785" y="204788"/>
                      <a:pt x="179070" y="206692"/>
                    </a:cubicBezTo>
                    <a:cubicBezTo>
                      <a:pt x="178117" y="206692"/>
                      <a:pt x="178117" y="205740"/>
                      <a:pt x="178117" y="205740"/>
                    </a:cubicBezTo>
                    <a:cubicBezTo>
                      <a:pt x="179070" y="203835"/>
                      <a:pt x="180975" y="203835"/>
                      <a:pt x="181928" y="201930"/>
                    </a:cubicBezTo>
                    <a:cubicBezTo>
                      <a:pt x="181928" y="200978"/>
                      <a:pt x="181928" y="200978"/>
                      <a:pt x="180975" y="200978"/>
                    </a:cubicBezTo>
                    <a:cubicBezTo>
                      <a:pt x="184785" y="195263"/>
                      <a:pt x="190500" y="192405"/>
                      <a:pt x="196215" y="187642"/>
                    </a:cubicBezTo>
                    <a:lnTo>
                      <a:pt x="196215" y="185738"/>
                    </a:lnTo>
                    <a:cubicBezTo>
                      <a:pt x="198120" y="183833"/>
                      <a:pt x="200025" y="182880"/>
                      <a:pt x="200978" y="180023"/>
                    </a:cubicBezTo>
                    <a:cubicBezTo>
                      <a:pt x="201930" y="178117"/>
                      <a:pt x="203835" y="176213"/>
                      <a:pt x="205740" y="175260"/>
                    </a:cubicBezTo>
                    <a:cubicBezTo>
                      <a:pt x="204788" y="174308"/>
                      <a:pt x="203835" y="174308"/>
                      <a:pt x="203835" y="173355"/>
                    </a:cubicBezTo>
                    <a:cubicBezTo>
                      <a:pt x="201930" y="173355"/>
                      <a:pt x="200025" y="174308"/>
                      <a:pt x="198120" y="172403"/>
                    </a:cubicBezTo>
                    <a:cubicBezTo>
                      <a:pt x="199073" y="171450"/>
                      <a:pt x="200025" y="170498"/>
                      <a:pt x="200978" y="170498"/>
                    </a:cubicBezTo>
                    <a:cubicBezTo>
                      <a:pt x="200978" y="170498"/>
                      <a:pt x="200025" y="170498"/>
                      <a:pt x="200025" y="169545"/>
                    </a:cubicBezTo>
                    <a:cubicBezTo>
                      <a:pt x="199073" y="168592"/>
                      <a:pt x="200978" y="167640"/>
                      <a:pt x="202883" y="166688"/>
                    </a:cubicBezTo>
                    <a:cubicBezTo>
                      <a:pt x="204788" y="165735"/>
                      <a:pt x="207645" y="165735"/>
                      <a:pt x="208598" y="164783"/>
                    </a:cubicBezTo>
                    <a:cubicBezTo>
                      <a:pt x="204788" y="163830"/>
                      <a:pt x="200978" y="165735"/>
                      <a:pt x="197167" y="163830"/>
                    </a:cubicBezTo>
                    <a:cubicBezTo>
                      <a:pt x="200025" y="157163"/>
                      <a:pt x="203835" y="151448"/>
                      <a:pt x="209550" y="148590"/>
                    </a:cubicBezTo>
                    <a:cubicBezTo>
                      <a:pt x="210503" y="148590"/>
                      <a:pt x="211455" y="148590"/>
                      <a:pt x="211455" y="149542"/>
                    </a:cubicBezTo>
                    <a:cubicBezTo>
                      <a:pt x="211455" y="152400"/>
                      <a:pt x="209550" y="154305"/>
                      <a:pt x="207645" y="154305"/>
                    </a:cubicBezTo>
                    <a:cubicBezTo>
                      <a:pt x="211455" y="155258"/>
                      <a:pt x="216217" y="155258"/>
                      <a:pt x="220028" y="157163"/>
                    </a:cubicBezTo>
                    <a:cubicBezTo>
                      <a:pt x="219075" y="158115"/>
                      <a:pt x="218123" y="158115"/>
                      <a:pt x="218123" y="158115"/>
                    </a:cubicBezTo>
                    <a:cubicBezTo>
                      <a:pt x="220980" y="160020"/>
                      <a:pt x="223838" y="159067"/>
                      <a:pt x="226695" y="160973"/>
                    </a:cubicBezTo>
                    <a:cubicBezTo>
                      <a:pt x="224790" y="162878"/>
                      <a:pt x="223838" y="160973"/>
                      <a:pt x="221933" y="160973"/>
                    </a:cubicBezTo>
                    <a:cubicBezTo>
                      <a:pt x="238125" y="165735"/>
                      <a:pt x="254317" y="169545"/>
                      <a:pt x="267653" y="179070"/>
                    </a:cubicBezTo>
                    <a:cubicBezTo>
                      <a:pt x="256223" y="184785"/>
                      <a:pt x="244792" y="187642"/>
                      <a:pt x="232410" y="189548"/>
                    </a:cubicBezTo>
                    <a:cubicBezTo>
                      <a:pt x="230505" y="189548"/>
                      <a:pt x="229553" y="189548"/>
                      <a:pt x="228600" y="188595"/>
                    </a:cubicBezTo>
                    <a:cubicBezTo>
                      <a:pt x="228600" y="189548"/>
                      <a:pt x="228600" y="190500"/>
                      <a:pt x="227648" y="190500"/>
                    </a:cubicBezTo>
                    <a:cubicBezTo>
                      <a:pt x="225742" y="190500"/>
                      <a:pt x="223838" y="190500"/>
                      <a:pt x="222885" y="191453"/>
                    </a:cubicBezTo>
                    <a:cubicBezTo>
                      <a:pt x="221933" y="194310"/>
                      <a:pt x="219075" y="194310"/>
                      <a:pt x="217170" y="193358"/>
                    </a:cubicBezTo>
                  </a:path>
                </a:pathLst>
              </a:custGeom>
              <a:solidFill>
                <a:srgbClr val="0000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3" name="Forme libre : forme 12">
                <a:extLst>
                  <a:ext uri="{FF2B5EF4-FFF2-40B4-BE49-F238E27FC236}">
                    <a16:creationId xmlns:a16="http://schemas.microsoft.com/office/drawing/2014/main" id="{503301EE-1FC2-4013-BB7B-D01E1E81695A}"/>
                  </a:ext>
                </a:extLst>
              </p:cNvPr>
              <p:cNvSpPr/>
              <p:nvPr/>
            </p:nvSpPr>
            <p:spPr>
              <a:xfrm>
                <a:off x="687476" y="269557"/>
                <a:ext cx="327888" cy="269557"/>
              </a:xfrm>
              <a:custGeom>
                <a:avLst/>
                <a:gdLst>
                  <a:gd name="connsiteX0" fmla="*/ 325031 w 327888"/>
                  <a:gd name="connsiteY0" fmla="*/ 0 h 269557"/>
                  <a:gd name="connsiteX1" fmla="*/ 34519 w 327888"/>
                  <a:gd name="connsiteY1" fmla="*/ 0 h 269557"/>
                  <a:gd name="connsiteX2" fmla="*/ 37376 w 327888"/>
                  <a:gd name="connsiteY2" fmla="*/ 953 h 269557"/>
                  <a:gd name="connsiteX3" fmla="*/ 44996 w 327888"/>
                  <a:gd name="connsiteY3" fmla="*/ 4763 h 269557"/>
                  <a:gd name="connsiteX4" fmla="*/ 54521 w 327888"/>
                  <a:gd name="connsiteY4" fmla="*/ 13335 h 269557"/>
                  <a:gd name="connsiteX5" fmla="*/ 56426 w 327888"/>
                  <a:gd name="connsiteY5" fmla="*/ 20003 h 269557"/>
                  <a:gd name="connsiteX6" fmla="*/ 52616 w 327888"/>
                  <a:gd name="connsiteY6" fmla="*/ 27623 h 269557"/>
                  <a:gd name="connsiteX7" fmla="*/ 42139 w 327888"/>
                  <a:gd name="connsiteY7" fmla="*/ 28575 h 269557"/>
                  <a:gd name="connsiteX8" fmla="*/ 36424 w 327888"/>
                  <a:gd name="connsiteY8" fmla="*/ 27623 h 269557"/>
                  <a:gd name="connsiteX9" fmla="*/ 56426 w 327888"/>
                  <a:gd name="connsiteY9" fmla="*/ 40957 h 269557"/>
                  <a:gd name="connsiteX10" fmla="*/ 61189 w 327888"/>
                  <a:gd name="connsiteY10" fmla="*/ 42863 h 269557"/>
                  <a:gd name="connsiteX11" fmla="*/ 62141 w 327888"/>
                  <a:gd name="connsiteY11" fmla="*/ 44768 h 269557"/>
                  <a:gd name="connsiteX12" fmla="*/ 60236 w 327888"/>
                  <a:gd name="connsiteY12" fmla="*/ 47625 h 269557"/>
                  <a:gd name="connsiteX13" fmla="*/ 62141 w 327888"/>
                  <a:gd name="connsiteY13" fmla="*/ 47625 h 269557"/>
                  <a:gd name="connsiteX14" fmla="*/ 67856 w 327888"/>
                  <a:gd name="connsiteY14" fmla="*/ 42863 h 269557"/>
                  <a:gd name="connsiteX15" fmla="*/ 69761 w 327888"/>
                  <a:gd name="connsiteY15" fmla="*/ 50482 h 269557"/>
                  <a:gd name="connsiteX16" fmla="*/ 64046 w 327888"/>
                  <a:gd name="connsiteY16" fmla="*/ 55245 h 269557"/>
                  <a:gd name="connsiteX17" fmla="*/ 64046 w 327888"/>
                  <a:gd name="connsiteY17" fmla="*/ 59055 h 269557"/>
                  <a:gd name="connsiteX18" fmla="*/ 66904 w 327888"/>
                  <a:gd name="connsiteY18" fmla="*/ 64770 h 269557"/>
                  <a:gd name="connsiteX19" fmla="*/ 70714 w 327888"/>
                  <a:gd name="connsiteY19" fmla="*/ 76200 h 269557"/>
                  <a:gd name="connsiteX20" fmla="*/ 74524 w 327888"/>
                  <a:gd name="connsiteY20" fmla="*/ 99060 h 269557"/>
                  <a:gd name="connsiteX21" fmla="*/ 73571 w 327888"/>
                  <a:gd name="connsiteY21" fmla="*/ 110490 h 269557"/>
                  <a:gd name="connsiteX22" fmla="*/ 79286 w 327888"/>
                  <a:gd name="connsiteY22" fmla="*/ 120968 h 269557"/>
                  <a:gd name="connsiteX23" fmla="*/ 85001 w 327888"/>
                  <a:gd name="connsiteY23" fmla="*/ 129540 h 269557"/>
                  <a:gd name="connsiteX24" fmla="*/ 90716 w 327888"/>
                  <a:gd name="connsiteY24" fmla="*/ 145733 h 269557"/>
                  <a:gd name="connsiteX25" fmla="*/ 80239 w 327888"/>
                  <a:gd name="connsiteY25" fmla="*/ 150495 h 269557"/>
                  <a:gd name="connsiteX26" fmla="*/ 81191 w 327888"/>
                  <a:gd name="connsiteY26" fmla="*/ 160020 h 269557"/>
                  <a:gd name="connsiteX27" fmla="*/ 74524 w 327888"/>
                  <a:gd name="connsiteY27" fmla="*/ 169545 h 269557"/>
                  <a:gd name="connsiteX28" fmla="*/ 78334 w 327888"/>
                  <a:gd name="connsiteY28" fmla="*/ 171450 h 269557"/>
                  <a:gd name="connsiteX29" fmla="*/ 80239 w 327888"/>
                  <a:gd name="connsiteY29" fmla="*/ 178118 h 269557"/>
                  <a:gd name="connsiteX30" fmla="*/ 75476 w 327888"/>
                  <a:gd name="connsiteY30" fmla="*/ 187643 h 269557"/>
                  <a:gd name="connsiteX31" fmla="*/ 74524 w 327888"/>
                  <a:gd name="connsiteY31" fmla="*/ 199073 h 269557"/>
                  <a:gd name="connsiteX32" fmla="*/ 64999 w 327888"/>
                  <a:gd name="connsiteY32" fmla="*/ 206693 h 269557"/>
                  <a:gd name="connsiteX33" fmla="*/ 55474 w 327888"/>
                  <a:gd name="connsiteY33" fmla="*/ 207645 h 269557"/>
                  <a:gd name="connsiteX34" fmla="*/ 49759 w 327888"/>
                  <a:gd name="connsiteY34" fmla="*/ 206693 h 269557"/>
                  <a:gd name="connsiteX35" fmla="*/ 24041 w 327888"/>
                  <a:gd name="connsiteY35" fmla="*/ 202883 h 269557"/>
                  <a:gd name="connsiteX36" fmla="*/ 17374 w 327888"/>
                  <a:gd name="connsiteY36" fmla="*/ 204788 h 269557"/>
                  <a:gd name="connsiteX37" fmla="*/ 11659 w 327888"/>
                  <a:gd name="connsiteY37" fmla="*/ 210503 h 269557"/>
                  <a:gd name="connsiteX38" fmla="*/ 11659 w 327888"/>
                  <a:gd name="connsiteY38" fmla="*/ 210503 h 269557"/>
                  <a:gd name="connsiteX39" fmla="*/ 10706 w 327888"/>
                  <a:gd name="connsiteY39" fmla="*/ 211455 h 269557"/>
                  <a:gd name="connsiteX40" fmla="*/ 9754 w 327888"/>
                  <a:gd name="connsiteY40" fmla="*/ 212408 h 269557"/>
                  <a:gd name="connsiteX41" fmla="*/ 9754 w 327888"/>
                  <a:gd name="connsiteY41" fmla="*/ 213360 h 269557"/>
                  <a:gd name="connsiteX42" fmla="*/ 5944 w 327888"/>
                  <a:gd name="connsiteY42" fmla="*/ 219075 h 269557"/>
                  <a:gd name="connsiteX43" fmla="*/ 5944 w 327888"/>
                  <a:gd name="connsiteY43" fmla="*/ 219075 h 269557"/>
                  <a:gd name="connsiteX44" fmla="*/ 5944 w 327888"/>
                  <a:gd name="connsiteY44" fmla="*/ 220028 h 269557"/>
                  <a:gd name="connsiteX45" fmla="*/ 2134 w 327888"/>
                  <a:gd name="connsiteY45" fmla="*/ 229553 h 269557"/>
                  <a:gd name="connsiteX46" fmla="*/ 3086 w 327888"/>
                  <a:gd name="connsiteY46" fmla="*/ 253365 h 269557"/>
                  <a:gd name="connsiteX47" fmla="*/ 30709 w 327888"/>
                  <a:gd name="connsiteY47" fmla="*/ 263843 h 269557"/>
                  <a:gd name="connsiteX48" fmla="*/ 43091 w 327888"/>
                  <a:gd name="connsiteY48" fmla="*/ 269558 h 269557"/>
                  <a:gd name="connsiteX49" fmla="*/ 327889 w 327888"/>
                  <a:gd name="connsiteY49" fmla="*/ 269558 h 269557"/>
                  <a:gd name="connsiteX50" fmla="*/ 327889 w 327888"/>
                  <a:gd name="connsiteY50" fmla="*/ 0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327888" h="269557">
                    <a:moveTo>
                      <a:pt x="325031" y="0"/>
                    </a:moveTo>
                    <a:lnTo>
                      <a:pt x="34519" y="0"/>
                    </a:lnTo>
                    <a:cubicBezTo>
                      <a:pt x="34519" y="0"/>
                      <a:pt x="35471" y="0"/>
                      <a:pt x="37376" y="953"/>
                    </a:cubicBezTo>
                    <a:cubicBezTo>
                      <a:pt x="39281" y="1905"/>
                      <a:pt x="43091" y="3810"/>
                      <a:pt x="44996" y="4763"/>
                    </a:cubicBezTo>
                    <a:cubicBezTo>
                      <a:pt x="48806" y="6668"/>
                      <a:pt x="52616" y="9525"/>
                      <a:pt x="54521" y="13335"/>
                    </a:cubicBezTo>
                    <a:cubicBezTo>
                      <a:pt x="55474" y="15240"/>
                      <a:pt x="57379" y="18098"/>
                      <a:pt x="56426" y="20003"/>
                    </a:cubicBezTo>
                    <a:cubicBezTo>
                      <a:pt x="55474" y="22860"/>
                      <a:pt x="54521" y="26670"/>
                      <a:pt x="52616" y="27623"/>
                    </a:cubicBezTo>
                    <a:cubicBezTo>
                      <a:pt x="49759" y="29528"/>
                      <a:pt x="45949" y="29528"/>
                      <a:pt x="42139" y="28575"/>
                    </a:cubicBezTo>
                    <a:cubicBezTo>
                      <a:pt x="40234" y="28575"/>
                      <a:pt x="38329" y="27623"/>
                      <a:pt x="36424" y="27623"/>
                    </a:cubicBezTo>
                    <a:cubicBezTo>
                      <a:pt x="44044" y="30480"/>
                      <a:pt x="51664" y="34290"/>
                      <a:pt x="56426" y="40957"/>
                    </a:cubicBezTo>
                    <a:cubicBezTo>
                      <a:pt x="57379" y="41910"/>
                      <a:pt x="59284" y="42863"/>
                      <a:pt x="61189" y="42863"/>
                    </a:cubicBezTo>
                    <a:cubicBezTo>
                      <a:pt x="62141" y="42863"/>
                      <a:pt x="62141" y="43815"/>
                      <a:pt x="62141" y="44768"/>
                    </a:cubicBezTo>
                    <a:cubicBezTo>
                      <a:pt x="61189" y="45720"/>
                      <a:pt x="60236" y="46673"/>
                      <a:pt x="60236" y="47625"/>
                    </a:cubicBezTo>
                    <a:lnTo>
                      <a:pt x="62141" y="47625"/>
                    </a:lnTo>
                    <a:cubicBezTo>
                      <a:pt x="64999" y="46673"/>
                      <a:pt x="64046" y="41910"/>
                      <a:pt x="67856" y="42863"/>
                    </a:cubicBezTo>
                    <a:cubicBezTo>
                      <a:pt x="70714" y="44768"/>
                      <a:pt x="71666" y="47625"/>
                      <a:pt x="69761" y="50482"/>
                    </a:cubicBezTo>
                    <a:cubicBezTo>
                      <a:pt x="67856" y="52388"/>
                      <a:pt x="65951" y="54293"/>
                      <a:pt x="64046" y="55245"/>
                    </a:cubicBezTo>
                    <a:cubicBezTo>
                      <a:pt x="63094" y="56198"/>
                      <a:pt x="63094" y="58103"/>
                      <a:pt x="64046" y="59055"/>
                    </a:cubicBezTo>
                    <a:cubicBezTo>
                      <a:pt x="65951" y="60960"/>
                      <a:pt x="65951" y="62865"/>
                      <a:pt x="66904" y="64770"/>
                    </a:cubicBezTo>
                    <a:cubicBezTo>
                      <a:pt x="68809" y="68580"/>
                      <a:pt x="68809" y="72390"/>
                      <a:pt x="70714" y="76200"/>
                    </a:cubicBezTo>
                    <a:cubicBezTo>
                      <a:pt x="72619" y="83820"/>
                      <a:pt x="74524" y="91440"/>
                      <a:pt x="74524" y="99060"/>
                    </a:cubicBezTo>
                    <a:cubicBezTo>
                      <a:pt x="74524" y="102870"/>
                      <a:pt x="72619" y="106680"/>
                      <a:pt x="73571" y="110490"/>
                    </a:cubicBezTo>
                    <a:cubicBezTo>
                      <a:pt x="74524" y="114300"/>
                      <a:pt x="77381" y="118110"/>
                      <a:pt x="79286" y="120968"/>
                    </a:cubicBezTo>
                    <a:cubicBezTo>
                      <a:pt x="81191" y="123825"/>
                      <a:pt x="83096" y="125730"/>
                      <a:pt x="85001" y="129540"/>
                    </a:cubicBezTo>
                    <a:cubicBezTo>
                      <a:pt x="87859" y="134303"/>
                      <a:pt x="93574" y="140018"/>
                      <a:pt x="90716" y="145733"/>
                    </a:cubicBezTo>
                    <a:cubicBezTo>
                      <a:pt x="88811" y="149543"/>
                      <a:pt x="83096" y="148590"/>
                      <a:pt x="80239" y="150495"/>
                    </a:cubicBezTo>
                    <a:cubicBezTo>
                      <a:pt x="77381" y="153353"/>
                      <a:pt x="79286" y="157163"/>
                      <a:pt x="81191" y="160020"/>
                    </a:cubicBezTo>
                    <a:cubicBezTo>
                      <a:pt x="84049" y="164783"/>
                      <a:pt x="78334" y="167640"/>
                      <a:pt x="74524" y="169545"/>
                    </a:cubicBezTo>
                    <a:cubicBezTo>
                      <a:pt x="75476" y="171450"/>
                      <a:pt x="77381" y="170498"/>
                      <a:pt x="78334" y="171450"/>
                    </a:cubicBezTo>
                    <a:cubicBezTo>
                      <a:pt x="79286" y="174308"/>
                      <a:pt x="81191" y="175260"/>
                      <a:pt x="80239" y="178118"/>
                    </a:cubicBezTo>
                    <a:cubicBezTo>
                      <a:pt x="78334" y="180975"/>
                      <a:pt x="71666" y="182880"/>
                      <a:pt x="75476" y="187643"/>
                    </a:cubicBezTo>
                    <a:cubicBezTo>
                      <a:pt x="77381" y="191453"/>
                      <a:pt x="76429" y="195263"/>
                      <a:pt x="74524" y="199073"/>
                    </a:cubicBezTo>
                    <a:cubicBezTo>
                      <a:pt x="72619" y="203835"/>
                      <a:pt x="68809" y="205740"/>
                      <a:pt x="64999" y="206693"/>
                    </a:cubicBezTo>
                    <a:cubicBezTo>
                      <a:pt x="62141" y="207645"/>
                      <a:pt x="58331" y="207645"/>
                      <a:pt x="55474" y="207645"/>
                    </a:cubicBezTo>
                    <a:cubicBezTo>
                      <a:pt x="51664" y="206693"/>
                      <a:pt x="50711" y="206693"/>
                      <a:pt x="49759" y="206693"/>
                    </a:cubicBezTo>
                    <a:cubicBezTo>
                      <a:pt x="41186" y="205740"/>
                      <a:pt x="32614" y="202883"/>
                      <a:pt x="24041" y="202883"/>
                    </a:cubicBezTo>
                    <a:cubicBezTo>
                      <a:pt x="21184" y="203835"/>
                      <a:pt x="19279" y="203835"/>
                      <a:pt x="17374" y="204788"/>
                    </a:cubicBezTo>
                    <a:cubicBezTo>
                      <a:pt x="15469" y="206693"/>
                      <a:pt x="12611" y="208598"/>
                      <a:pt x="11659" y="210503"/>
                    </a:cubicBezTo>
                    <a:cubicBezTo>
                      <a:pt x="11659" y="210503"/>
                      <a:pt x="11659" y="210503"/>
                      <a:pt x="11659" y="210503"/>
                    </a:cubicBezTo>
                    <a:cubicBezTo>
                      <a:pt x="11659" y="210503"/>
                      <a:pt x="10706" y="211455"/>
                      <a:pt x="10706" y="211455"/>
                    </a:cubicBezTo>
                    <a:cubicBezTo>
                      <a:pt x="10706" y="211455"/>
                      <a:pt x="10706" y="212408"/>
                      <a:pt x="9754" y="212408"/>
                    </a:cubicBezTo>
                    <a:cubicBezTo>
                      <a:pt x="9754" y="212408"/>
                      <a:pt x="9754" y="212408"/>
                      <a:pt x="9754" y="213360"/>
                    </a:cubicBezTo>
                    <a:cubicBezTo>
                      <a:pt x="7849" y="215265"/>
                      <a:pt x="6896" y="217170"/>
                      <a:pt x="5944" y="219075"/>
                    </a:cubicBezTo>
                    <a:cubicBezTo>
                      <a:pt x="5944" y="219075"/>
                      <a:pt x="5944" y="219075"/>
                      <a:pt x="5944" y="219075"/>
                    </a:cubicBezTo>
                    <a:cubicBezTo>
                      <a:pt x="5944" y="219075"/>
                      <a:pt x="5944" y="220028"/>
                      <a:pt x="5944" y="220028"/>
                    </a:cubicBezTo>
                    <a:cubicBezTo>
                      <a:pt x="4039" y="222885"/>
                      <a:pt x="3086" y="226695"/>
                      <a:pt x="2134" y="229553"/>
                    </a:cubicBezTo>
                    <a:cubicBezTo>
                      <a:pt x="-1676" y="240983"/>
                      <a:pt x="229" y="251460"/>
                      <a:pt x="3086" y="253365"/>
                    </a:cubicBezTo>
                    <a:cubicBezTo>
                      <a:pt x="4039" y="254318"/>
                      <a:pt x="20231" y="259080"/>
                      <a:pt x="30709" y="263843"/>
                    </a:cubicBezTo>
                    <a:cubicBezTo>
                      <a:pt x="36424" y="265748"/>
                      <a:pt x="39281" y="267653"/>
                      <a:pt x="43091" y="269558"/>
                    </a:cubicBezTo>
                    <a:lnTo>
                      <a:pt x="327889" y="269558"/>
                    </a:lnTo>
                    <a:lnTo>
                      <a:pt x="327889" y="0"/>
                    </a:lnTo>
                    <a:close/>
                  </a:path>
                </a:pathLst>
              </a:custGeom>
              <a:solidFill>
                <a:srgbClr val="E1000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4" name="Forme libre : forme 13">
                <a:extLst>
                  <a:ext uri="{FF2B5EF4-FFF2-40B4-BE49-F238E27FC236}">
                    <a16:creationId xmlns:a16="http://schemas.microsoft.com/office/drawing/2014/main" id="{E8C0C2A9-1F36-4277-ACE7-9704C4C5EECC}"/>
                  </a:ext>
                </a:extLst>
              </p:cNvPr>
              <p:cNvSpPr/>
              <p:nvPr/>
            </p:nvSpPr>
            <p:spPr>
              <a:xfrm>
                <a:off x="717232" y="362507"/>
                <a:ext cx="33524" cy="30636"/>
              </a:xfrm>
              <a:custGeom>
                <a:avLst/>
                <a:gdLst>
                  <a:gd name="connsiteX0" fmla="*/ 21907 w 33524"/>
                  <a:gd name="connsiteY0" fmla="*/ 6110 h 30636"/>
                  <a:gd name="connsiteX1" fmla="*/ 26670 w 33524"/>
                  <a:gd name="connsiteY1" fmla="*/ 8015 h 30636"/>
                  <a:gd name="connsiteX2" fmla="*/ 16192 w 33524"/>
                  <a:gd name="connsiteY2" fmla="*/ 17540 h 30636"/>
                  <a:gd name="connsiteX3" fmla="*/ 14288 w 33524"/>
                  <a:gd name="connsiteY3" fmla="*/ 17540 h 30636"/>
                  <a:gd name="connsiteX4" fmla="*/ 11430 w 33524"/>
                  <a:gd name="connsiteY4" fmla="*/ 21350 h 30636"/>
                  <a:gd name="connsiteX5" fmla="*/ 6667 w 33524"/>
                  <a:gd name="connsiteY5" fmla="*/ 22302 h 30636"/>
                  <a:gd name="connsiteX6" fmla="*/ 14288 w 33524"/>
                  <a:gd name="connsiteY6" fmla="*/ 25160 h 30636"/>
                  <a:gd name="connsiteX7" fmla="*/ 16192 w 33524"/>
                  <a:gd name="connsiteY7" fmla="*/ 27065 h 30636"/>
                  <a:gd name="connsiteX8" fmla="*/ 17145 w 33524"/>
                  <a:gd name="connsiteY8" fmla="*/ 26112 h 30636"/>
                  <a:gd name="connsiteX9" fmla="*/ 18097 w 33524"/>
                  <a:gd name="connsiteY9" fmla="*/ 27065 h 30636"/>
                  <a:gd name="connsiteX10" fmla="*/ 18097 w 33524"/>
                  <a:gd name="connsiteY10" fmla="*/ 28017 h 30636"/>
                  <a:gd name="connsiteX11" fmla="*/ 12382 w 33524"/>
                  <a:gd name="connsiteY11" fmla="*/ 29922 h 30636"/>
                  <a:gd name="connsiteX12" fmla="*/ 23813 w 33524"/>
                  <a:gd name="connsiteY12" fmla="*/ 29922 h 30636"/>
                  <a:gd name="connsiteX13" fmla="*/ 25717 w 33524"/>
                  <a:gd name="connsiteY13" fmla="*/ 21350 h 30636"/>
                  <a:gd name="connsiteX14" fmla="*/ 24765 w 33524"/>
                  <a:gd name="connsiteY14" fmla="*/ 19445 h 30636"/>
                  <a:gd name="connsiteX15" fmla="*/ 27622 w 33524"/>
                  <a:gd name="connsiteY15" fmla="*/ 16587 h 30636"/>
                  <a:gd name="connsiteX16" fmla="*/ 30480 w 33524"/>
                  <a:gd name="connsiteY16" fmla="*/ 14682 h 30636"/>
                  <a:gd name="connsiteX17" fmla="*/ 28575 w 33524"/>
                  <a:gd name="connsiteY17" fmla="*/ 11825 h 30636"/>
                  <a:gd name="connsiteX18" fmla="*/ 33338 w 33524"/>
                  <a:gd name="connsiteY18" fmla="*/ 3252 h 30636"/>
                  <a:gd name="connsiteX19" fmla="*/ 25717 w 33524"/>
                  <a:gd name="connsiteY19" fmla="*/ 395 h 30636"/>
                  <a:gd name="connsiteX20" fmla="*/ 17145 w 33524"/>
                  <a:gd name="connsiteY20" fmla="*/ 1347 h 30636"/>
                  <a:gd name="connsiteX21" fmla="*/ 9525 w 33524"/>
                  <a:gd name="connsiteY21" fmla="*/ 3252 h 30636"/>
                  <a:gd name="connsiteX22" fmla="*/ 0 w 33524"/>
                  <a:gd name="connsiteY22" fmla="*/ 8015 h 30636"/>
                  <a:gd name="connsiteX23" fmla="*/ 11430 w 33524"/>
                  <a:gd name="connsiteY23" fmla="*/ 5157 h 30636"/>
                  <a:gd name="connsiteX24" fmla="*/ 21907 w 33524"/>
                  <a:gd name="connsiteY24" fmla="*/ 6110 h 3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3524" h="30636">
                    <a:moveTo>
                      <a:pt x="21907" y="6110"/>
                    </a:moveTo>
                    <a:cubicBezTo>
                      <a:pt x="23813" y="7062"/>
                      <a:pt x="26670" y="7062"/>
                      <a:pt x="26670" y="8015"/>
                    </a:cubicBezTo>
                    <a:cubicBezTo>
                      <a:pt x="25717" y="11825"/>
                      <a:pt x="20002" y="12777"/>
                      <a:pt x="16192" y="17540"/>
                    </a:cubicBezTo>
                    <a:lnTo>
                      <a:pt x="14288" y="17540"/>
                    </a:lnTo>
                    <a:cubicBezTo>
                      <a:pt x="12382" y="18492"/>
                      <a:pt x="13335" y="21350"/>
                      <a:pt x="11430" y="21350"/>
                    </a:cubicBezTo>
                    <a:cubicBezTo>
                      <a:pt x="9525" y="20397"/>
                      <a:pt x="8572" y="21350"/>
                      <a:pt x="6667" y="22302"/>
                    </a:cubicBezTo>
                    <a:cubicBezTo>
                      <a:pt x="8572" y="24207"/>
                      <a:pt x="11430" y="26112"/>
                      <a:pt x="14288" y="25160"/>
                    </a:cubicBezTo>
                    <a:cubicBezTo>
                      <a:pt x="15240" y="25160"/>
                      <a:pt x="16192" y="26112"/>
                      <a:pt x="16192" y="27065"/>
                    </a:cubicBezTo>
                    <a:cubicBezTo>
                      <a:pt x="16192" y="27065"/>
                      <a:pt x="17145" y="27065"/>
                      <a:pt x="17145" y="26112"/>
                    </a:cubicBezTo>
                    <a:cubicBezTo>
                      <a:pt x="18097" y="26112"/>
                      <a:pt x="18097" y="26112"/>
                      <a:pt x="18097" y="27065"/>
                    </a:cubicBezTo>
                    <a:lnTo>
                      <a:pt x="18097" y="28017"/>
                    </a:lnTo>
                    <a:cubicBezTo>
                      <a:pt x="16192" y="29922"/>
                      <a:pt x="14288" y="28970"/>
                      <a:pt x="12382" y="29922"/>
                    </a:cubicBezTo>
                    <a:cubicBezTo>
                      <a:pt x="16192" y="30875"/>
                      <a:pt x="20955" y="30875"/>
                      <a:pt x="23813" y="29922"/>
                    </a:cubicBezTo>
                    <a:cubicBezTo>
                      <a:pt x="26670" y="28970"/>
                      <a:pt x="23813" y="24207"/>
                      <a:pt x="25717" y="21350"/>
                    </a:cubicBezTo>
                    <a:cubicBezTo>
                      <a:pt x="24765" y="21350"/>
                      <a:pt x="25717" y="19445"/>
                      <a:pt x="24765" y="19445"/>
                    </a:cubicBezTo>
                    <a:cubicBezTo>
                      <a:pt x="25717" y="18492"/>
                      <a:pt x="26670" y="16587"/>
                      <a:pt x="27622" y="16587"/>
                    </a:cubicBezTo>
                    <a:cubicBezTo>
                      <a:pt x="28575" y="16587"/>
                      <a:pt x="30480" y="15635"/>
                      <a:pt x="30480" y="14682"/>
                    </a:cubicBezTo>
                    <a:cubicBezTo>
                      <a:pt x="30480" y="13730"/>
                      <a:pt x="28575" y="12777"/>
                      <a:pt x="28575" y="11825"/>
                    </a:cubicBezTo>
                    <a:cubicBezTo>
                      <a:pt x="31432" y="9920"/>
                      <a:pt x="34290" y="7062"/>
                      <a:pt x="33338" y="3252"/>
                    </a:cubicBezTo>
                    <a:cubicBezTo>
                      <a:pt x="32385" y="1347"/>
                      <a:pt x="28575" y="1347"/>
                      <a:pt x="25717" y="395"/>
                    </a:cubicBezTo>
                    <a:cubicBezTo>
                      <a:pt x="22860" y="-558"/>
                      <a:pt x="20002" y="395"/>
                      <a:pt x="17145" y="1347"/>
                    </a:cubicBezTo>
                    <a:cubicBezTo>
                      <a:pt x="14288" y="1347"/>
                      <a:pt x="12382" y="3252"/>
                      <a:pt x="9525" y="3252"/>
                    </a:cubicBezTo>
                    <a:cubicBezTo>
                      <a:pt x="5715" y="4205"/>
                      <a:pt x="2857" y="6110"/>
                      <a:pt x="0" y="8015"/>
                    </a:cubicBezTo>
                    <a:cubicBezTo>
                      <a:pt x="3810" y="6110"/>
                      <a:pt x="7620" y="6110"/>
                      <a:pt x="11430" y="5157"/>
                    </a:cubicBezTo>
                    <a:cubicBezTo>
                      <a:pt x="16192" y="6110"/>
                      <a:pt x="19050" y="5157"/>
                      <a:pt x="21907" y="6110"/>
                    </a:cubicBezTo>
                  </a:path>
                </a:pathLst>
              </a:custGeom>
              <a:solidFill>
                <a:srgbClr val="9C9B9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A9ECFBDD-2ABB-4F23-8A83-6AE34853A31D}"/>
              </a:ext>
            </a:extLst>
          </p:cNvPr>
          <p:cNvSpPr txBox="1">
            <a:spLocks/>
          </p:cNvSpPr>
          <p:nvPr userDrawn="1"/>
        </p:nvSpPr>
        <p:spPr>
          <a:xfrm>
            <a:off x="1080000" y="5861950"/>
            <a:ext cx="4631868" cy="4560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3"/>
              </a:buClr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just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Secrétariat général </a:t>
            </a:r>
            <a:br>
              <a:rPr lang="fr-FR" dirty="0"/>
            </a:br>
            <a:r>
              <a:rPr lang="fr-FR" dirty="0"/>
              <a:t>pour l'investissement</a:t>
            </a:r>
          </a:p>
        </p:txBody>
      </p:sp>
    </p:spTree>
    <p:extLst>
      <p:ext uri="{BB962C8B-B14F-4D97-AF65-F5344CB8AC3E}">
        <p14:creationId xmlns:p14="http://schemas.microsoft.com/office/powerpoint/2010/main" val="5081609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10" userDrawn="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3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E21067B9-FF11-4A17-85E6-B4C9025C5CA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39999" y="2267998"/>
            <a:ext cx="3340800" cy="3849021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CA5D348-1AC1-4F7D-8796-CB2E66F168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A7AC604-3EA4-4DC7-B1E4-1906B1FC2F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06A53-2EA4-448E-9FA8-CF3E68AA0B4B}" type="datetime1">
              <a:rPr lang="fr-FR" smtClean="0"/>
              <a:t>22/11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99C0182-12A1-40D5-936A-5497EC719F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MEX – 9 avril 2021 - POUR INFORM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4483E3E-D4DF-43E7-84C2-67715B942C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2D038-4989-45BB-AD16-38E0E231338A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713E65D5-12CF-4E64-810D-A6030CCE73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25600" y="2267999"/>
            <a:ext cx="3340800" cy="3849021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D5A9E78C-A66F-4674-9B20-61D213A07D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11200" y="2267999"/>
            <a:ext cx="3340800" cy="3849021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5284030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avec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9">
            <a:extLst>
              <a:ext uri="{FF2B5EF4-FFF2-40B4-BE49-F238E27FC236}">
                <a16:creationId xmlns:a16="http://schemas.microsoft.com/office/drawing/2014/main" id="{2050A100-6A10-424A-A639-3B14F0FDDB6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425600" y="1913861"/>
            <a:ext cx="7766400" cy="4203160"/>
          </a:xfrm>
        </p:spPr>
        <p:txBody>
          <a:bodyPr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Imag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E99EEC4D-62E7-4CEF-A678-85B4F15930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0000" y="1913861"/>
            <a:ext cx="3340800" cy="420316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CA5D348-1AC1-4F7D-8796-CB2E66F168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8961352" cy="735907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A7AC604-3EA4-4DC7-B1E4-1906B1FC2F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645BDC-A80B-48B7-B4FB-D486EE5B4B8E}" type="datetime1">
              <a:rPr lang="fr-FR" smtClean="0"/>
              <a:t>22/11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99C0182-12A1-40D5-936A-5497EC719F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MEX – 9 avril 2021 - POUR INFORM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4483E3E-D4DF-43E7-84C2-67715B942C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2D038-4989-45BB-AD16-38E0E231338A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Espace réservé du texte 17">
            <a:extLst>
              <a:ext uri="{FF2B5EF4-FFF2-40B4-BE49-F238E27FC236}">
                <a16:creationId xmlns:a16="http://schemas.microsoft.com/office/drawing/2014/main" id="{6B3643DB-0425-46F8-9A40-973BFF3FA9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9999" y="1343603"/>
            <a:ext cx="8961351" cy="276999"/>
          </a:xfrm>
        </p:spPr>
        <p:txBody>
          <a:bodyPr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cap="all" baseline="0">
                <a:solidFill>
                  <a:schemeClr val="accent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9pPr>
          </a:lstStyle>
          <a:p>
            <a:pPr lvl="0"/>
            <a:r>
              <a:rPr lang="fr-FR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15363085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3BF414E-378D-4591-A597-095A4849D7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05054B9D-3A74-4DCD-B88B-2843AE8631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5C95C9-3BF9-4669-89F0-4B086FB6A315}" type="datetime1">
              <a:rPr lang="fr-FR" smtClean="0"/>
              <a:t>22/11/2022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C7F7292A-CEE5-47AE-85C9-70E63F5483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MEX – 9 avril 2021 - POUR INFORMATION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98D18A8-D27C-4875-9119-E6F27B5C12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2D038-4989-45BB-AD16-38E0E231338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000944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3BFD0DC3-0716-4FBA-8ECF-8B662AC29F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B2BD1E-A0F0-40A1-B9B0-E3A8AD9C275B}" type="datetime1">
              <a:rPr lang="fr-FR" smtClean="0"/>
              <a:t>22/11/2022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4A0A80FB-47F2-40DE-8A78-6C494EB424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MEX – 9 avril 2021 - POUR INFORMATION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94889D4-E6AF-4419-A1C5-9F2A45273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2D038-4989-45BB-AD16-38E0E231338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47296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Espace réservé pour une image  40">
            <a:extLst>
              <a:ext uri="{FF2B5EF4-FFF2-40B4-BE49-F238E27FC236}">
                <a16:creationId xmlns:a16="http://schemas.microsoft.com/office/drawing/2014/main" id="{E2535A46-EABB-4A1B-B03A-A6D5C42C9AD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966000" y="1525990"/>
            <a:ext cx="5226000" cy="3961123"/>
          </a:xfrm>
          <a:custGeom>
            <a:avLst/>
            <a:gdLst>
              <a:gd name="connsiteX0" fmla="*/ 0 w 5226000"/>
              <a:gd name="connsiteY0" fmla="*/ 0 h 3961123"/>
              <a:gd name="connsiteX1" fmla="*/ 5226000 w 5226000"/>
              <a:gd name="connsiteY1" fmla="*/ 0 h 3961123"/>
              <a:gd name="connsiteX2" fmla="*/ 5226000 w 5226000"/>
              <a:gd name="connsiteY2" fmla="*/ 3961123 h 3961123"/>
              <a:gd name="connsiteX3" fmla="*/ 0 w 5226000"/>
              <a:gd name="connsiteY3" fmla="*/ 3961123 h 3961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6000" h="3961123">
                <a:moveTo>
                  <a:pt x="0" y="0"/>
                </a:moveTo>
                <a:lnTo>
                  <a:pt x="5226000" y="0"/>
                </a:lnTo>
                <a:lnTo>
                  <a:pt x="5226000" y="3961123"/>
                </a:lnTo>
                <a:lnTo>
                  <a:pt x="0" y="3961123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Imag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A7AC604-3EA4-4DC7-B1E4-1906B1FC2F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83D5E0-4A2C-4B0A-A80A-213161E2F72D}" type="datetime1">
              <a:rPr lang="fr-FR" smtClean="0"/>
              <a:t>22/11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99C0182-12A1-40D5-936A-5497EC719F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MEX – 9 avril 2021 - POUR INFORM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4483E3E-D4DF-43E7-84C2-67715B942C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2D038-4989-45BB-AD16-38E0E231338A}" type="slidenum">
              <a:rPr lang="fr-FR" smtClean="0"/>
              <a:t>‹N°›</a:t>
            </a:fld>
            <a:endParaRPr lang="fr-FR"/>
          </a:p>
        </p:txBody>
      </p:sp>
      <p:grpSp>
        <p:nvGrpSpPr>
          <p:cNvPr id="9" name="Groupe 8">
            <a:extLst>
              <a:ext uri="{FF2B5EF4-FFF2-40B4-BE49-F238E27FC236}">
                <a16:creationId xmlns:a16="http://schemas.microsoft.com/office/drawing/2014/main" id="{49D7AD85-D929-4AE9-8FC3-51F6902EDE42}"/>
              </a:ext>
            </a:extLst>
          </p:cNvPr>
          <p:cNvGrpSpPr/>
          <p:nvPr userDrawn="1"/>
        </p:nvGrpSpPr>
        <p:grpSpPr>
          <a:xfrm>
            <a:off x="1" y="1590199"/>
            <a:ext cx="1629834" cy="3677602"/>
            <a:chOff x="1" y="1590199"/>
            <a:chExt cx="1629834" cy="3677602"/>
          </a:xfrm>
        </p:grpSpPr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EC8E4AD7-4400-4758-8305-E95A2E3EB330}"/>
                </a:ext>
              </a:extLst>
            </p:cNvPr>
            <p:cNvSpPr/>
            <p:nvPr/>
          </p:nvSpPr>
          <p:spPr>
            <a:xfrm>
              <a:off x="1" y="1702857"/>
              <a:ext cx="1502402" cy="3447405"/>
            </a:xfrm>
            <a:custGeom>
              <a:avLst/>
              <a:gdLst>
                <a:gd name="connsiteX0" fmla="*/ 774958 w 1798526"/>
                <a:gd name="connsiteY0" fmla="*/ 1706815 h 4126890"/>
                <a:gd name="connsiteX1" fmla="*/ 800195 w 1798526"/>
                <a:gd name="connsiteY1" fmla="*/ 1713346 h 4126890"/>
                <a:gd name="connsiteX2" fmla="*/ 889046 w 1798526"/>
                <a:gd name="connsiteY2" fmla="*/ 1744708 h 4126890"/>
                <a:gd name="connsiteX3" fmla="*/ 831551 w 1798526"/>
                <a:gd name="connsiteY3" fmla="*/ 1849246 h 4126890"/>
                <a:gd name="connsiteX4" fmla="*/ 852459 w 1798526"/>
                <a:gd name="connsiteY4" fmla="*/ 1880602 h 4126890"/>
                <a:gd name="connsiteX5" fmla="*/ 815873 w 1798526"/>
                <a:gd name="connsiteY5" fmla="*/ 1901510 h 4126890"/>
                <a:gd name="connsiteX6" fmla="*/ 779287 w 1798526"/>
                <a:gd name="connsiteY6" fmla="*/ 1938096 h 4126890"/>
                <a:gd name="connsiteX7" fmla="*/ 789736 w 1798526"/>
                <a:gd name="connsiteY7" fmla="*/ 1959003 h 4126890"/>
                <a:gd name="connsiteX8" fmla="*/ 763604 w 1798526"/>
                <a:gd name="connsiteY8" fmla="*/ 2068766 h 4126890"/>
                <a:gd name="connsiteX9" fmla="*/ 617255 w 1798526"/>
                <a:gd name="connsiteY9" fmla="*/ 2068766 h 4126890"/>
                <a:gd name="connsiteX10" fmla="*/ 695656 w 1798526"/>
                <a:gd name="connsiteY10" fmla="*/ 2047858 h 4126890"/>
                <a:gd name="connsiteX11" fmla="*/ 695656 w 1798526"/>
                <a:gd name="connsiteY11" fmla="*/ 2021726 h 4126890"/>
                <a:gd name="connsiteX12" fmla="*/ 685203 w 1798526"/>
                <a:gd name="connsiteY12" fmla="*/ 2016497 h 4126890"/>
                <a:gd name="connsiteX13" fmla="*/ 674749 w 1798526"/>
                <a:gd name="connsiteY13" fmla="*/ 2021726 h 4126890"/>
                <a:gd name="connsiteX14" fmla="*/ 653841 w 1798526"/>
                <a:gd name="connsiteY14" fmla="*/ 1995590 h 4126890"/>
                <a:gd name="connsiteX15" fmla="*/ 554532 w 1798526"/>
                <a:gd name="connsiteY15" fmla="*/ 1959003 h 4126890"/>
                <a:gd name="connsiteX16" fmla="*/ 612026 w 1798526"/>
                <a:gd name="connsiteY16" fmla="*/ 1953779 h 4126890"/>
                <a:gd name="connsiteX17" fmla="*/ 643391 w 1798526"/>
                <a:gd name="connsiteY17" fmla="*/ 1906739 h 4126890"/>
                <a:gd name="connsiteX18" fmla="*/ 664295 w 1798526"/>
                <a:gd name="connsiteY18" fmla="*/ 1906739 h 4126890"/>
                <a:gd name="connsiteX19" fmla="*/ 794965 w 1798526"/>
                <a:gd name="connsiteY19" fmla="*/ 1791751 h 4126890"/>
                <a:gd name="connsiteX20" fmla="*/ 721793 w 1798526"/>
                <a:gd name="connsiteY20" fmla="*/ 1770844 h 4126890"/>
                <a:gd name="connsiteX21" fmla="*/ 612026 w 1798526"/>
                <a:gd name="connsiteY21" fmla="*/ 1770844 h 4126890"/>
                <a:gd name="connsiteX22" fmla="*/ 470906 w 1798526"/>
                <a:gd name="connsiteY22" fmla="*/ 1807430 h 4126890"/>
                <a:gd name="connsiteX23" fmla="*/ 591123 w 1798526"/>
                <a:gd name="connsiteY23" fmla="*/ 1744708 h 4126890"/>
                <a:gd name="connsiteX24" fmla="*/ 690427 w 1798526"/>
                <a:gd name="connsiteY24" fmla="*/ 1718575 h 4126890"/>
                <a:gd name="connsiteX25" fmla="*/ 747271 w 1798526"/>
                <a:gd name="connsiteY25" fmla="*/ 1708122 h 4126890"/>
                <a:gd name="connsiteX26" fmla="*/ 774958 w 1798526"/>
                <a:gd name="connsiteY26" fmla="*/ 1706815 h 4126890"/>
                <a:gd name="connsiteX27" fmla="*/ 0 w 1798526"/>
                <a:gd name="connsiteY27" fmla="*/ 0 h 4126890"/>
                <a:gd name="connsiteX28" fmla="*/ 134494 w 1798526"/>
                <a:gd name="connsiteY28" fmla="*/ 20508 h 4126890"/>
                <a:gd name="connsiteX29" fmla="*/ 1798505 w 1798526"/>
                <a:gd name="connsiteY29" fmla="*/ 2063537 h 4126890"/>
                <a:gd name="connsiteX30" fmla="*/ 132779 w 1798526"/>
                <a:gd name="connsiteY30" fmla="*/ 4106567 h 4126890"/>
                <a:gd name="connsiteX31" fmla="*/ 0 w 1798526"/>
                <a:gd name="connsiteY31" fmla="*/ 4126890 h 4126890"/>
                <a:gd name="connsiteX32" fmla="*/ 0 w 1798526"/>
                <a:gd name="connsiteY32" fmla="*/ 3728548 h 4126890"/>
                <a:gd name="connsiteX33" fmla="*/ 16180 w 1798526"/>
                <a:gd name="connsiteY33" fmla="*/ 3725651 h 4126890"/>
                <a:gd name="connsiteX34" fmla="*/ 63216 w 1798526"/>
                <a:gd name="connsiteY34" fmla="*/ 3459081 h 4126890"/>
                <a:gd name="connsiteX35" fmla="*/ 282742 w 1798526"/>
                <a:gd name="connsiteY35" fmla="*/ 3145476 h 4126890"/>
                <a:gd name="connsiteX36" fmla="*/ 371597 w 1798526"/>
                <a:gd name="connsiteY36" fmla="*/ 3119344 h 4126890"/>
                <a:gd name="connsiteX37" fmla="*/ 700886 w 1798526"/>
                <a:gd name="connsiteY37" fmla="*/ 3166384 h 4126890"/>
                <a:gd name="connsiteX38" fmla="*/ 737472 w 1798526"/>
                <a:gd name="connsiteY38" fmla="*/ 3176842 h 4126890"/>
                <a:gd name="connsiteX39" fmla="*/ 857688 w 1798526"/>
                <a:gd name="connsiteY39" fmla="*/ 3171613 h 4126890"/>
                <a:gd name="connsiteX40" fmla="*/ 972676 w 1798526"/>
                <a:gd name="connsiteY40" fmla="*/ 3072304 h 4126890"/>
                <a:gd name="connsiteX41" fmla="*/ 977905 w 1798526"/>
                <a:gd name="connsiteY41" fmla="*/ 2931180 h 4126890"/>
                <a:gd name="connsiteX42" fmla="*/ 1040624 w 1798526"/>
                <a:gd name="connsiteY42" fmla="*/ 2816193 h 4126890"/>
                <a:gd name="connsiteX43" fmla="*/ 1019715 w 1798526"/>
                <a:gd name="connsiteY43" fmla="*/ 2732567 h 4126890"/>
                <a:gd name="connsiteX44" fmla="*/ 972676 w 1798526"/>
                <a:gd name="connsiteY44" fmla="*/ 2706430 h 4126890"/>
                <a:gd name="connsiteX45" fmla="*/ 1056306 w 1798526"/>
                <a:gd name="connsiteY45" fmla="*/ 2591443 h 4126890"/>
                <a:gd name="connsiteX46" fmla="*/ 1045852 w 1798526"/>
                <a:gd name="connsiteY46" fmla="*/ 2476455 h 4126890"/>
                <a:gd name="connsiteX47" fmla="*/ 1181748 w 1798526"/>
                <a:gd name="connsiteY47" fmla="*/ 2413732 h 4126890"/>
                <a:gd name="connsiteX48" fmla="*/ 1103347 w 1798526"/>
                <a:gd name="connsiteY48" fmla="*/ 2204661 h 4126890"/>
                <a:gd name="connsiteX49" fmla="*/ 1030174 w 1798526"/>
                <a:gd name="connsiteY49" fmla="*/ 2100128 h 4126890"/>
                <a:gd name="connsiteX50" fmla="*/ 956997 w 1798526"/>
                <a:gd name="connsiteY50" fmla="*/ 1964233 h 4126890"/>
                <a:gd name="connsiteX51" fmla="*/ 962222 w 1798526"/>
                <a:gd name="connsiteY51" fmla="*/ 1817884 h 4126890"/>
                <a:gd name="connsiteX52" fmla="*/ 915182 w 1798526"/>
                <a:gd name="connsiteY52" fmla="*/ 1525182 h 4126890"/>
                <a:gd name="connsiteX53" fmla="*/ 868137 w 1798526"/>
                <a:gd name="connsiteY53" fmla="*/ 1384063 h 4126890"/>
                <a:gd name="connsiteX54" fmla="*/ 836781 w 1798526"/>
                <a:gd name="connsiteY54" fmla="*/ 1305661 h 4126890"/>
                <a:gd name="connsiteX55" fmla="*/ 836781 w 1798526"/>
                <a:gd name="connsiteY55" fmla="*/ 1258617 h 4126890"/>
                <a:gd name="connsiteX56" fmla="*/ 915182 w 1798526"/>
                <a:gd name="connsiteY56" fmla="*/ 1195899 h 4126890"/>
                <a:gd name="connsiteX57" fmla="*/ 889046 w 1798526"/>
                <a:gd name="connsiteY57" fmla="*/ 1096590 h 4126890"/>
                <a:gd name="connsiteX58" fmla="*/ 815873 w 1798526"/>
                <a:gd name="connsiteY58" fmla="*/ 1154084 h 4126890"/>
                <a:gd name="connsiteX59" fmla="*/ 794965 w 1798526"/>
                <a:gd name="connsiteY59" fmla="*/ 1154084 h 4126890"/>
                <a:gd name="connsiteX60" fmla="*/ 815873 w 1798526"/>
                <a:gd name="connsiteY60" fmla="*/ 1117497 h 4126890"/>
                <a:gd name="connsiteX61" fmla="*/ 810644 w 1798526"/>
                <a:gd name="connsiteY61" fmla="*/ 1096590 h 4126890"/>
                <a:gd name="connsiteX62" fmla="*/ 753150 w 1798526"/>
                <a:gd name="connsiteY62" fmla="*/ 1075682 h 4126890"/>
                <a:gd name="connsiteX63" fmla="*/ 502267 w 1798526"/>
                <a:gd name="connsiteY63" fmla="*/ 903201 h 4126890"/>
                <a:gd name="connsiteX64" fmla="*/ 580669 w 1798526"/>
                <a:gd name="connsiteY64" fmla="*/ 913655 h 4126890"/>
                <a:gd name="connsiteX65" fmla="*/ 716564 w 1798526"/>
                <a:gd name="connsiteY65" fmla="*/ 903201 h 4126890"/>
                <a:gd name="connsiteX66" fmla="*/ 768833 w 1798526"/>
                <a:gd name="connsiteY66" fmla="*/ 803892 h 4126890"/>
                <a:gd name="connsiteX67" fmla="*/ 747926 w 1798526"/>
                <a:gd name="connsiteY67" fmla="*/ 720266 h 4126890"/>
                <a:gd name="connsiteX68" fmla="*/ 622484 w 1798526"/>
                <a:gd name="connsiteY68" fmla="*/ 615728 h 4126890"/>
                <a:gd name="connsiteX69" fmla="*/ 37962 w 1798526"/>
                <a:gd name="connsiteY69" fmla="*/ 478373 h 4126890"/>
                <a:gd name="connsiteX70" fmla="*/ 0 w 1798526"/>
                <a:gd name="connsiteY70" fmla="*/ 475873 h 4126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798526" h="4126890">
                  <a:moveTo>
                    <a:pt x="774958" y="1706815"/>
                  </a:moveTo>
                  <a:cubicBezTo>
                    <a:pt x="783859" y="1707468"/>
                    <a:pt x="792353" y="1709427"/>
                    <a:pt x="800195" y="1713346"/>
                  </a:cubicBezTo>
                  <a:cubicBezTo>
                    <a:pt x="831551" y="1723800"/>
                    <a:pt x="883820" y="1723800"/>
                    <a:pt x="889046" y="1744708"/>
                  </a:cubicBezTo>
                  <a:cubicBezTo>
                    <a:pt x="899504" y="1781294"/>
                    <a:pt x="868137" y="1823109"/>
                    <a:pt x="831551" y="1849246"/>
                  </a:cubicBezTo>
                  <a:cubicBezTo>
                    <a:pt x="826327" y="1859695"/>
                    <a:pt x="852459" y="1870153"/>
                    <a:pt x="852459" y="1880602"/>
                  </a:cubicBezTo>
                  <a:cubicBezTo>
                    <a:pt x="847234" y="1891056"/>
                    <a:pt x="826327" y="1901510"/>
                    <a:pt x="815873" y="1901510"/>
                  </a:cubicBezTo>
                  <a:cubicBezTo>
                    <a:pt x="805419" y="1906739"/>
                    <a:pt x="789736" y="1927647"/>
                    <a:pt x="779287" y="1938096"/>
                  </a:cubicBezTo>
                  <a:cubicBezTo>
                    <a:pt x="789736" y="1938096"/>
                    <a:pt x="779287" y="1959003"/>
                    <a:pt x="789736" y="1959003"/>
                  </a:cubicBezTo>
                  <a:cubicBezTo>
                    <a:pt x="763604" y="1990365"/>
                    <a:pt x="800195" y="2058312"/>
                    <a:pt x="763604" y="2068766"/>
                  </a:cubicBezTo>
                  <a:cubicBezTo>
                    <a:pt x="716564" y="2079220"/>
                    <a:pt x="664295" y="2079220"/>
                    <a:pt x="617255" y="2068766"/>
                  </a:cubicBezTo>
                  <a:cubicBezTo>
                    <a:pt x="643391" y="2063542"/>
                    <a:pt x="674749" y="2073991"/>
                    <a:pt x="695656" y="2047858"/>
                  </a:cubicBezTo>
                  <a:cubicBezTo>
                    <a:pt x="695656" y="2042634"/>
                    <a:pt x="695656" y="2026956"/>
                    <a:pt x="695656" y="2021726"/>
                  </a:cubicBezTo>
                  <a:cubicBezTo>
                    <a:pt x="695656" y="2016497"/>
                    <a:pt x="690427" y="2016497"/>
                    <a:pt x="685203" y="2016497"/>
                  </a:cubicBezTo>
                  <a:cubicBezTo>
                    <a:pt x="679977" y="2021726"/>
                    <a:pt x="674749" y="2021726"/>
                    <a:pt x="674749" y="2021726"/>
                  </a:cubicBezTo>
                  <a:cubicBezTo>
                    <a:pt x="674749" y="2011273"/>
                    <a:pt x="664295" y="1995590"/>
                    <a:pt x="653841" y="1995590"/>
                  </a:cubicBezTo>
                  <a:cubicBezTo>
                    <a:pt x="617255" y="2000819"/>
                    <a:pt x="580669" y="1985140"/>
                    <a:pt x="554532" y="1959003"/>
                  </a:cubicBezTo>
                  <a:cubicBezTo>
                    <a:pt x="575440" y="1953779"/>
                    <a:pt x="591123" y="1948555"/>
                    <a:pt x="612026" y="1953779"/>
                  </a:cubicBezTo>
                  <a:cubicBezTo>
                    <a:pt x="632933" y="1953779"/>
                    <a:pt x="622484" y="1922418"/>
                    <a:pt x="643391" y="1906739"/>
                  </a:cubicBezTo>
                  <a:cubicBezTo>
                    <a:pt x="648617" y="1906739"/>
                    <a:pt x="653841" y="1906739"/>
                    <a:pt x="664295" y="1906739"/>
                  </a:cubicBezTo>
                  <a:cubicBezTo>
                    <a:pt x="700886" y="1854470"/>
                    <a:pt x="779287" y="1844016"/>
                    <a:pt x="794965" y="1791751"/>
                  </a:cubicBezTo>
                  <a:cubicBezTo>
                    <a:pt x="784512" y="1776068"/>
                    <a:pt x="747926" y="1776068"/>
                    <a:pt x="721793" y="1770844"/>
                  </a:cubicBezTo>
                  <a:cubicBezTo>
                    <a:pt x="685203" y="1760386"/>
                    <a:pt x="648617" y="1770844"/>
                    <a:pt x="612026" y="1770844"/>
                  </a:cubicBezTo>
                  <a:cubicBezTo>
                    <a:pt x="559761" y="1781294"/>
                    <a:pt x="512721" y="1791751"/>
                    <a:pt x="470906" y="1807430"/>
                  </a:cubicBezTo>
                  <a:cubicBezTo>
                    <a:pt x="507492" y="1781294"/>
                    <a:pt x="549308" y="1755161"/>
                    <a:pt x="591123" y="1744708"/>
                  </a:cubicBezTo>
                  <a:cubicBezTo>
                    <a:pt x="622484" y="1739483"/>
                    <a:pt x="653841" y="1718575"/>
                    <a:pt x="690427" y="1718575"/>
                  </a:cubicBezTo>
                  <a:cubicBezTo>
                    <a:pt x="708723" y="1715963"/>
                    <a:pt x="728326" y="1710734"/>
                    <a:pt x="747271" y="1708122"/>
                  </a:cubicBezTo>
                  <a:cubicBezTo>
                    <a:pt x="756746" y="1706815"/>
                    <a:pt x="766056" y="1706162"/>
                    <a:pt x="774958" y="1706815"/>
                  </a:cubicBezTo>
                  <a:close/>
                  <a:moveTo>
                    <a:pt x="0" y="0"/>
                  </a:moveTo>
                  <a:lnTo>
                    <a:pt x="134494" y="20508"/>
                  </a:lnTo>
                  <a:cubicBezTo>
                    <a:pt x="1087340" y="215306"/>
                    <a:pt x="1803080" y="1057386"/>
                    <a:pt x="1798505" y="2063537"/>
                  </a:cubicBezTo>
                  <a:cubicBezTo>
                    <a:pt x="1798505" y="3069687"/>
                    <a:pt x="1082192" y="3911768"/>
                    <a:pt x="132779" y="4106567"/>
                  </a:cubicBezTo>
                  <a:lnTo>
                    <a:pt x="0" y="4126890"/>
                  </a:lnTo>
                  <a:lnTo>
                    <a:pt x="0" y="3728548"/>
                  </a:lnTo>
                  <a:lnTo>
                    <a:pt x="16180" y="3725651"/>
                  </a:lnTo>
                  <a:cubicBezTo>
                    <a:pt x="26629" y="3647250"/>
                    <a:pt x="42313" y="3558390"/>
                    <a:pt x="63216" y="3459081"/>
                  </a:cubicBezTo>
                  <a:cubicBezTo>
                    <a:pt x="105031" y="3338869"/>
                    <a:pt x="172984" y="3223877"/>
                    <a:pt x="282742" y="3145476"/>
                  </a:cubicBezTo>
                  <a:cubicBezTo>
                    <a:pt x="308878" y="3129797"/>
                    <a:pt x="340235" y="3124573"/>
                    <a:pt x="371597" y="3119344"/>
                  </a:cubicBezTo>
                  <a:cubicBezTo>
                    <a:pt x="481360" y="3119344"/>
                    <a:pt x="591123" y="3155934"/>
                    <a:pt x="700886" y="3166384"/>
                  </a:cubicBezTo>
                  <a:cubicBezTo>
                    <a:pt x="711335" y="3166384"/>
                    <a:pt x="727018" y="3171613"/>
                    <a:pt x="737472" y="3176842"/>
                  </a:cubicBezTo>
                  <a:cubicBezTo>
                    <a:pt x="774058" y="3182066"/>
                    <a:pt x="821102" y="3182066"/>
                    <a:pt x="857688" y="3171613"/>
                  </a:cubicBezTo>
                  <a:cubicBezTo>
                    <a:pt x="899504" y="3155934"/>
                    <a:pt x="951773" y="3129797"/>
                    <a:pt x="972676" y="3072304"/>
                  </a:cubicBezTo>
                  <a:cubicBezTo>
                    <a:pt x="988359" y="3025264"/>
                    <a:pt x="1004037" y="2978220"/>
                    <a:pt x="977905" y="2931180"/>
                  </a:cubicBezTo>
                  <a:cubicBezTo>
                    <a:pt x="936090" y="2873686"/>
                    <a:pt x="1014491" y="2852779"/>
                    <a:pt x="1040624" y="2816193"/>
                  </a:cubicBezTo>
                  <a:cubicBezTo>
                    <a:pt x="1056306" y="2784831"/>
                    <a:pt x="1024945" y="2763924"/>
                    <a:pt x="1019715" y="2732567"/>
                  </a:cubicBezTo>
                  <a:cubicBezTo>
                    <a:pt x="1009266" y="2716884"/>
                    <a:pt x="983129" y="2727338"/>
                    <a:pt x="972676" y="2706430"/>
                  </a:cubicBezTo>
                  <a:cubicBezTo>
                    <a:pt x="1019715" y="2690752"/>
                    <a:pt x="1087668" y="2648936"/>
                    <a:pt x="1056306" y="2591443"/>
                  </a:cubicBezTo>
                  <a:cubicBezTo>
                    <a:pt x="1040624" y="2560081"/>
                    <a:pt x="1009266" y="2507812"/>
                    <a:pt x="1045852" y="2476455"/>
                  </a:cubicBezTo>
                  <a:cubicBezTo>
                    <a:pt x="1092893" y="2450319"/>
                    <a:pt x="1160840" y="2460773"/>
                    <a:pt x="1181748" y="2413732"/>
                  </a:cubicBezTo>
                  <a:cubicBezTo>
                    <a:pt x="1213109" y="2335331"/>
                    <a:pt x="1139933" y="2267384"/>
                    <a:pt x="1103347" y="2204661"/>
                  </a:cubicBezTo>
                  <a:cubicBezTo>
                    <a:pt x="1082438" y="2162850"/>
                    <a:pt x="1056306" y="2136714"/>
                    <a:pt x="1030174" y="2100128"/>
                  </a:cubicBezTo>
                  <a:cubicBezTo>
                    <a:pt x="1004037" y="2053088"/>
                    <a:pt x="967451" y="2016497"/>
                    <a:pt x="956997" y="1964233"/>
                  </a:cubicBezTo>
                  <a:cubicBezTo>
                    <a:pt x="936090" y="1917188"/>
                    <a:pt x="962222" y="1870153"/>
                    <a:pt x="962222" y="1817884"/>
                  </a:cubicBezTo>
                  <a:cubicBezTo>
                    <a:pt x="967451" y="1718575"/>
                    <a:pt x="941314" y="1624491"/>
                    <a:pt x="915182" y="1525182"/>
                  </a:cubicBezTo>
                  <a:cubicBezTo>
                    <a:pt x="894274" y="1483371"/>
                    <a:pt x="889046" y="1431102"/>
                    <a:pt x="868137" y="1384063"/>
                  </a:cubicBezTo>
                  <a:cubicBezTo>
                    <a:pt x="862913" y="1357926"/>
                    <a:pt x="857688" y="1331793"/>
                    <a:pt x="836781" y="1305661"/>
                  </a:cubicBezTo>
                  <a:cubicBezTo>
                    <a:pt x="831551" y="1289978"/>
                    <a:pt x="831551" y="1269075"/>
                    <a:pt x="836781" y="1258617"/>
                  </a:cubicBezTo>
                  <a:cubicBezTo>
                    <a:pt x="862913" y="1242938"/>
                    <a:pt x="889046" y="1222031"/>
                    <a:pt x="915182" y="1195899"/>
                  </a:cubicBezTo>
                  <a:cubicBezTo>
                    <a:pt x="936090" y="1159308"/>
                    <a:pt x="920406" y="1117497"/>
                    <a:pt x="889046" y="1096590"/>
                  </a:cubicBezTo>
                  <a:cubicBezTo>
                    <a:pt x="842005" y="1075682"/>
                    <a:pt x="847234" y="1143630"/>
                    <a:pt x="815873" y="1154084"/>
                  </a:cubicBezTo>
                  <a:cubicBezTo>
                    <a:pt x="805419" y="1154084"/>
                    <a:pt x="800195" y="1154084"/>
                    <a:pt x="794965" y="1154084"/>
                  </a:cubicBezTo>
                  <a:cubicBezTo>
                    <a:pt x="789736" y="1138405"/>
                    <a:pt x="805419" y="1127951"/>
                    <a:pt x="815873" y="1117497"/>
                  </a:cubicBezTo>
                  <a:cubicBezTo>
                    <a:pt x="815873" y="1107044"/>
                    <a:pt x="815873" y="1096590"/>
                    <a:pt x="810644" y="1096590"/>
                  </a:cubicBezTo>
                  <a:cubicBezTo>
                    <a:pt x="784512" y="1096590"/>
                    <a:pt x="758379" y="1086136"/>
                    <a:pt x="753150" y="1075682"/>
                  </a:cubicBezTo>
                  <a:cubicBezTo>
                    <a:pt x="690427" y="986827"/>
                    <a:pt x="601576" y="939788"/>
                    <a:pt x="502267" y="903201"/>
                  </a:cubicBezTo>
                  <a:cubicBezTo>
                    <a:pt x="528400" y="908426"/>
                    <a:pt x="554532" y="913655"/>
                    <a:pt x="580669" y="913655"/>
                  </a:cubicBezTo>
                  <a:cubicBezTo>
                    <a:pt x="627709" y="924104"/>
                    <a:pt x="679977" y="924104"/>
                    <a:pt x="716564" y="903201"/>
                  </a:cubicBezTo>
                  <a:cubicBezTo>
                    <a:pt x="747926" y="887518"/>
                    <a:pt x="758379" y="835254"/>
                    <a:pt x="768833" y="803892"/>
                  </a:cubicBezTo>
                  <a:cubicBezTo>
                    <a:pt x="779287" y="777760"/>
                    <a:pt x="758379" y="741169"/>
                    <a:pt x="747926" y="720266"/>
                  </a:cubicBezTo>
                  <a:cubicBezTo>
                    <a:pt x="716564" y="673222"/>
                    <a:pt x="669524" y="641865"/>
                    <a:pt x="622484" y="615728"/>
                  </a:cubicBezTo>
                  <a:cubicBezTo>
                    <a:pt x="442159" y="549087"/>
                    <a:pt x="242725" y="500821"/>
                    <a:pt x="37962" y="478373"/>
                  </a:cubicBezTo>
                  <a:lnTo>
                    <a:pt x="0" y="475873"/>
                  </a:lnTo>
                  <a:close/>
                </a:path>
              </a:pathLst>
            </a:custGeom>
            <a:solidFill>
              <a:srgbClr val="5770BE">
                <a:alpha val="2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fr-FR" sz="1100" b="1" kern="0" cap="all">
                <a:solidFill>
                  <a:srgbClr val="4E65AB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0CC8E4A7-3FC8-45BB-9F0C-80C1D3C4A791}"/>
                </a:ext>
              </a:extLst>
            </p:cNvPr>
            <p:cNvSpPr/>
            <p:nvPr/>
          </p:nvSpPr>
          <p:spPr>
            <a:xfrm>
              <a:off x="1" y="1590199"/>
              <a:ext cx="1629834" cy="3677602"/>
            </a:xfrm>
            <a:custGeom>
              <a:avLst/>
              <a:gdLst>
                <a:gd name="connsiteX0" fmla="*/ 0 w 1951075"/>
                <a:gd name="connsiteY0" fmla="*/ 0 h 4402459"/>
                <a:gd name="connsiteX1" fmla="*/ 179327 w 1951075"/>
                <a:gd name="connsiteY1" fmla="*/ 27368 h 4402459"/>
                <a:gd name="connsiteX2" fmla="*/ 1951075 w 1951075"/>
                <a:gd name="connsiteY2" fmla="*/ 2201229 h 4402459"/>
                <a:gd name="connsiteX3" fmla="*/ 179327 w 1951075"/>
                <a:gd name="connsiteY3" fmla="*/ 4375090 h 4402459"/>
                <a:gd name="connsiteX4" fmla="*/ 0 w 1951075"/>
                <a:gd name="connsiteY4" fmla="*/ 4402459 h 4402459"/>
                <a:gd name="connsiteX0" fmla="*/ 28575 w 1979650"/>
                <a:gd name="connsiteY0" fmla="*/ 0 h 4402459"/>
                <a:gd name="connsiteX1" fmla="*/ 207902 w 1979650"/>
                <a:gd name="connsiteY1" fmla="*/ 27368 h 4402459"/>
                <a:gd name="connsiteX2" fmla="*/ 1979650 w 1979650"/>
                <a:gd name="connsiteY2" fmla="*/ 2201229 h 4402459"/>
                <a:gd name="connsiteX3" fmla="*/ 207902 w 1979650"/>
                <a:gd name="connsiteY3" fmla="*/ 4375090 h 4402459"/>
                <a:gd name="connsiteX4" fmla="*/ 28575 w 1979650"/>
                <a:gd name="connsiteY4" fmla="*/ 4402459 h 4402459"/>
                <a:gd name="connsiteX5" fmla="*/ 0 w 1979650"/>
                <a:gd name="connsiteY5" fmla="*/ 2007808 h 4402459"/>
                <a:gd name="connsiteX6" fmla="*/ 28575 w 1979650"/>
                <a:gd name="connsiteY6" fmla="*/ 0 h 4402459"/>
                <a:gd name="connsiteX0" fmla="*/ 0 w 1979650"/>
                <a:gd name="connsiteY0" fmla="*/ 2007808 h 4402459"/>
                <a:gd name="connsiteX1" fmla="*/ 28575 w 1979650"/>
                <a:gd name="connsiteY1" fmla="*/ 0 h 4402459"/>
                <a:gd name="connsiteX2" fmla="*/ 207902 w 1979650"/>
                <a:gd name="connsiteY2" fmla="*/ 27368 h 4402459"/>
                <a:gd name="connsiteX3" fmla="*/ 1979650 w 1979650"/>
                <a:gd name="connsiteY3" fmla="*/ 2201229 h 4402459"/>
                <a:gd name="connsiteX4" fmla="*/ 207902 w 1979650"/>
                <a:gd name="connsiteY4" fmla="*/ 4375090 h 4402459"/>
                <a:gd name="connsiteX5" fmla="*/ 28575 w 1979650"/>
                <a:gd name="connsiteY5" fmla="*/ 4402459 h 4402459"/>
                <a:gd name="connsiteX6" fmla="*/ 91440 w 1979650"/>
                <a:gd name="connsiteY6" fmla="*/ 2099248 h 4402459"/>
                <a:gd name="connsiteX0" fmla="*/ 0 w 1979650"/>
                <a:gd name="connsiteY0" fmla="*/ 2007808 h 4402459"/>
                <a:gd name="connsiteX1" fmla="*/ 28575 w 1979650"/>
                <a:gd name="connsiteY1" fmla="*/ 0 h 4402459"/>
                <a:gd name="connsiteX2" fmla="*/ 207902 w 1979650"/>
                <a:gd name="connsiteY2" fmla="*/ 27368 h 4402459"/>
                <a:gd name="connsiteX3" fmla="*/ 1979650 w 1979650"/>
                <a:gd name="connsiteY3" fmla="*/ 2201229 h 4402459"/>
                <a:gd name="connsiteX4" fmla="*/ 207902 w 1979650"/>
                <a:gd name="connsiteY4" fmla="*/ 4375090 h 4402459"/>
                <a:gd name="connsiteX5" fmla="*/ 28575 w 1979650"/>
                <a:gd name="connsiteY5" fmla="*/ 4402459 h 4402459"/>
                <a:gd name="connsiteX0" fmla="*/ 0 w 1951075"/>
                <a:gd name="connsiteY0" fmla="*/ 0 h 4402459"/>
                <a:gd name="connsiteX1" fmla="*/ 179327 w 1951075"/>
                <a:gd name="connsiteY1" fmla="*/ 27368 h 4402459"/>
                <a:gd name="connsiteX2" fmla="*/ 1951075 w 1951075"/>
                <a:gd name="connsiteY2" fmla="*/ 2201229 h 4402459"/>
                <a:gd name="connsiteX3" fmla="*/ 179327 w 1951075"/>
                <a:gd name="connsiteY3" fmla="*/ 4375090 h 4402459"/>
                <a:gd name="connsiteX4" fmla="*/ 0 w 1951075"/>
                <a:gd name="connsiteY4" fmla="*/ 4402459 h 4402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1075" h="4402459">
                  <a:moveTo>
                    <a:pt x="0" y="0"/>
                  </a:moveTo>
                  <a:lnTo>
                    <a:pt x="179327" y="27368"/>
                  </a:lnTo>
                  <a:cubicBezTo>
                    <a:pt x="1190462" y="234276"/>
                    <a:pt x="1951075" y="1128927"/>
                    <a:pt x="1951075" y="2201229"/>
                  </a:cubicBezTo>
                  <a:cubicBezTo>
                    <a:pt x="1951075" y="3273531"/>
                    <a:pt x="1190462" y="4168182"/>
                    <a:pt x="179327" y="4375090"/>
                  </a:cubicBezTo>
                  <a:lnTo>
                    <a:pt x="0" y="4402459"/>
                  </a:lnTo>
                </a:path>
              </a:pathLst>
            </a:custGeom>
            <a:noFill/>
            <a:ln w="15875" cap="flat" cmpd="sng" algn="ctr">
              <a:solidFill>
                <a:schemeClr val="accent3">
                  <a:alpha val="10000"/>
                </a:schemeClr>
              </a:solidFill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B64658B0-E926-4004-8D43-699F7C1E7EF6}"/>
              </a:ext>
            </a:extLst>
          </p:cNvPr>
          <p:cNvCxnSpPr>
            <a:cxnSpLocks/>
          </p:cNvCxnSpPr>
          <p:nvPr userDrawn="1"/>
        </p:nvCxnSpPr>
        <p:spPr>
          <a:xfrm>
            <a:off x="2057400" y="2739236"/>
            <a:ext cx="4352925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ZoneTexte 13">
            <a:extLst>
              <a:ext uri="{FF2B5EF4-FFF2-40B4-BE49-F238E27FC236}">
                <a16:creationId xmlns:a16="http://schemas.microsoft.com/office/drawing/2014/main" id="{863F238C-BB2D-43FC-A0EA-C8FE2A108AED}"/>
              </a:ext>
            </a:extLst>
          </p:cNvPr>
          <p:cNvSpPr txBox="1"/>
          <p:nvPr userDrawn="1"/>
        </p:nvSpPr>
        <p:spPr>
          <a:xfrm>
            <a:off x="3416563" y="1580620"/>
            <a:ext cx="2564877" cy="79560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90000"/>
              </a:lnSpc>
              <a:spcAft>
                <a:spcPts val="300"/>
              </a:spcAft>
            </a:pPr>
            <a:r>
              <a:rPr lang="fr-FR" sz="14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En savoir plus sur les investissements d’avenir</a:t>
            </a:r>
          </a:p>
          <a:p>
            <a:pPr>
              <a:lnSpc>
                <a:spcPct val="120000"/>
              </a:lnSpc>
            </a:pPr>
            <a:r>
              <a:rPr lang="fr-FR" sz="1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  <a:hlinkClick r:id="rId2"/>
              </a:rPr>
              <a:t>https://www.gouvernement.fr/secretariat-general-pour-l-investissement-sgpi</a:t>
            </a:r>
            <a:endParaRPr lang="fr-FR" sz="10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B2031EE7-7D3B-4E57-8D70-110099EAE083}"/>
              </a:ext>
            </a:extLst>
          </p:cNvPr>
          <p:cNvCxnSpPr>
            <a:cxnSpLocks/>
          </p:cNvCxnSpPr>
          <p:nvPr userDrawn="1"/>
        </p:nvCxnSpPr>
        <p:spPr>
          <a:xfrm>
            <a:off x="2057400" y="4303183"/>
            <a:ext cx="4352925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ZoneTexte 15">
            <a:extLst>
              <a:ext uri="{FF2B5EF4-FFF2-40B4-BE49-F238E27FC236}">
                <a16:creationId xmlns:a16="http://schemas.microsoft.com/office/drawing/2014/main" id="{DD3FF6FC-FFE1-4BCD-AC2B-AE153B246C70}"/>
              </a:ext>
            </a:extLst>
          </p:cNvPr>
          <p:cNvSpPr txBox="1"/>
          <p:nvPr userDrawn="1"/>
        </p:nvSpPr>
        <p:spPr>
          <a:xfrm>
            <a:off x="3416563" y="3238506"/>
            <a:ext cx="2594374" cy="66633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fr-FR" sz="1400" b="1" kern="1200" dirty="0">
                <a:solidFill>
                  <a:schemeClr val="accent3"/>
                </a:solidFill>
                <a:latin typeface="+mj-lt"/>
                <a:ea typeface="+mj-ea"/>
                <a:cs typeface="+mj-cs"/>
              </a:rPr>
              <a:t>Suivre l’actualité du SGPI </a:t>
            </a:r>
          </a:p>
          <a:p>
            <a:pPr>
              <a:lnSpc>
                <a:spcPct val="120000"/>
              </a:lnSpc>
            </a:pPr>
            <a:r>
              <a:rPr lang="fr-FR" sz="1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  <a:hlinkClick r:id="rId3"/>
              </a:rPr>
              <a:t>S’abonner à la newsletter #ImpactPIA</a:t>
            </a:r>
            <a:endParaRPr lang="fr-FR" sz="10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  <a:p>
            <a:pPr>
              <a:lnSpc>
                <a:spcPct val="120000"/>
              </a:lnSpc>
            </a:pPr>
            <a:r>
              <a:rPr lang="fr-FR" sz="1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  <a:hlinkClick r:id="rId4"/>
              </a:rPr>
              <a:t>Twitter</a:t>
            </a:r>
            <a:r>
              <a:rPr lang="fr-FR" sz="1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 | </a:t>
            </a:r>
            <a:r>
              <a:rPr lang="fr-FR" sz="1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  <a:hlinkClick r:id="rId5"/>
              </a:rPr>
              <a:t>LinkedIn</a:t>
            </a:r>
            <a:endParaRPr lang="fr-FR" sz="10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2BE311CF-115D-4A98-85F8-E990301B890C}"/>
              </a:ext>
            </a:extLst>
          </p:cNvPr>
          <p:cNvSpPr txBox="1"/>
          <p:nvPr userDrawn="1"/>
        </p:nvSpPr>
        <p:spPr>
          <a:xfrm>
            <a:off x="3416563" y="4894784"/>
            <a:ext cx="2119675" cy="46467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120000"/>
              </a:lnSpc>
              <a:spcAft>
                <a:spcPts val="300"/>
              </a:spcAft>
            </a:pPr>
            <a:r>
              <a:rPr lang="fr-FR" sz="1400" b="1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Nous contacter</a:t>
            </a:r>
          </a:p>
          <a:p>
            <a:pPr>
              <a:lnSpc>
                <a:spcPct val="120000"/>
              </a:lnSpc>
            </a:pPr>
            <a:r>
              <a:rPr lang="fr-FR" sz="1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  <a:hlinkClick r:id="rId6"/>
              </a:rPr>
              <a:t>contact.sgpi@pm.gouv.fr</a:t>
            </a:r>
            <a:r>
              <a:rPr lang="fr-FR" sz="1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406640CD-4857-4DED-A5AC-F427B6DAF2F7}"/>
              </a:ext>
            </a:extLst>
          </p:cNvPr>
          <p:cNvGrpSpPr/>
          <p:nvPr userDrawn="1"/>
        </p:nvGrpSpPr>
        <p:grpSpPr>
          <a:xfrm>
            <a:off x="2057400" y="3119241"/>
            <a:ext cx="803489" cy="803937"/>
            <a:chOff x="2057400" y="3119241"/>
            <a:chExt cx="803489" cy="803937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82AACC3-7BD6-44AB-A520-B18A53DD092C}"/>
                </a:ext>
              </a:extLst>
            </p:cNvPr>
            <p:cNvSpPr/>
            <p:nvPr/>
          </p:nvSpPr>
          <p:spPr>
            <a:xfrm>
              <a:off x="2140889" y="3203178"/>
              <a:ext cx="720000" cy="72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srgbClr val="00000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144000" rIns="144000" bIns="144000" rtlCol="0" anchor="t">
              <a:noAutofit/>
            </a:bodyPr>
            <a:lstStyle/>
            <a:p>
              <a:endParaRPr lang="fr-FR" b="1" dirty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7BB05A2A-289C-4208-9440-A2B217506851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2057400" y="3119241"/>
              <a:ext cx="464637" cy="170519"/>
            </a:xfrm>
            <a:custGeom>
              <a:avLst/>
              <a:gdLst>
                <a:gd name="connsiteX0" fmla="*/ 0 w 464637"/>
                <a:gd name="connsiteY0" fmla="*/ 0 h 170519"/>
                <a:gd name="connsiteX1" fmla="*/ 0 w 464637"/>
                <a:gd name="connsiteY1" fmla="*/ 82673 h 170519"/>
                <a:gd name="connsiteX2" fmla="*/ 381965 w 464637"/>
                <a:gd name="connsiteY2" fmla="*/ 82673 h 170519"/>
                <a:gd name="connsiteX3" fmla="*/ 381965 w 464637"/>
                <a:gd name="connsiteY3" fmla="*/ 170520 h 170519"/>
                <a:gd name="connsiteX4" fmla="*/ 464638 w 464637"/>
                <a:gd name="connsiteY4" fmla="*/ 170520 h 170519"/>
                <a:gd name="connsiteX5" fmla="*/ 464638 w 464637"/>
                <a:gd name="connsiteY5" fmla="*/ 0 h 170519"/>
                <a:gd name="connsiteX6" fmla="*/ 0 w 464637"/>
                <a:gd name="connsiteY6" fmla="*/ 0 h 170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4637" h="170519">
                  <a:moveTo>
                    <a:pt x="0" y="0"/>
                  </a:moveTo>
                  <a:lnTo>
                    <a:pt x="0" y="82673"/>
                  </a:lnTo>
                  <a:lnTo>
                    <a:pt x="381965" y="82673"/>
                  </a:lnTo>
                  <a:lnTo>
                    <a:pt x="381965" y="170520"/>
                  </a:lnTo>
                  <a:lnTo>
                    <a:pt x="464638" y="170520"/>
                  </a:lnTo>
                  <a:lnTo>
                    <a:pt x="46463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grpSp>
          <p:nvGrpSpPr>
            <p:cNvPr id="21" name="Graphique 194">
              <a:extLst>
                <a:ext uri="{FF2B5EF4-FFF2-40B4-BE49-F238E27FC236}">
                  <a16:creationId xmlns:a16="http://schemas.microsoft.com/office/drawing/2014/main" id="{69F9A5A3-5C4B-49DC-A353-A29D464FB6F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320889" y="3383178"/>
              <a:ext cx="360000" cy="360000"/>
              <a:chOff x="8382018" y="5302448"/>
              <a:chExt cx="360000" cy="360000"/>
            </a:xfrm>
            <a:solidFill>
              <a:schemeClr val="accent3"/>
            </a:solidFill>
          </p:grpSpPr>
          <p:sp>
            <p:nvSpPr>
              <p:cNvPr id="22" name="Forme libre : forme 21">
                <a:extLst>
                  <a:ext uri="{FF2B5EF4-FFF2-40B4-BE49-F238E27FC236}">
                    <a16:creationId xmlns:a16="http://schemas.microsoft.com/office/drawing/2014/main" id="{37DAB7DF-9520-4AAC-9EB4-20CD24C791F7}"/>
                  </a:ext>
                </a:extLst>
              </p:cNvPr>
              <p:cNvSpPr/>
              <p:nvPr/>
            </p:nvSpPr>
            <p:spPr>
              <a:xfrm>
                <a:off x="8382018" y="5305412"/>
                <a:ext cx="360000" cy="354000"/>
              </a:xfrm>
              <a:custGeom>
                <a:avLst/>
                <a:gdLst>
                  <a:gd name="connsiteX0" fmla="*/ 271344 w 360000"/>
                  <a:gd name="connsiteY0" fmla="*/ 0 h 354000"/>
                  <a:gd name="connsiteX1" fmla="*/ 154656 w 360000"/>
                  <a:gd name="connsiteY1" fmla="*/ 0 h 354000"/>
                  <a:gd name="connsiteX2" fmla="*/ 70278 w 360000"/>
                  <a:gd name="connsiteY2" fmla="*/ 61938 h 354000"/>
                  <a:gd name="connsiteX3" fmla="*/ 0 w 360000"/>
                  <a:gd name="connsiteY3" fmla="*/ 148656 h 354000"/>
                  <a:gd name="connsiteX4" fmla="*/ 0 w 360000"/>
                  <a:gd name="connsiteY4" fmla="*/ 216732 h 354000"/>
                  <a:gd name="connsiteX5" fmla="*/ 84000 w 360000"/>
                  <a:gd name="connsiteY5" fmla="*/ 305796 h 354000"/>
                  <a:gd name="connsiteX6" fmla="*/ 84000 w 360000"/>
                  <a:gd name="connsiteY6" fmla="*/ 344676 h 354000"/>
                  <a:gd name="connsiteX7" fmla="*/ 89358 w 360000"/>
                  <a:gd name="connsiteY7" fmla="*/ 353466 h 354000"/>
                  <a:gd name="connsiteX8" fmla="*/ 92382 w 360000"/>
                  <a:gd name="connsiteY8" fmla="*/ 354072 h 354000"/>
                  <a:gd name="connsiteX9" fmla="*/ 98682 w 360000"/>
                  <a:gd name="connsiteY9" fmla="*/ 351318 h 354000"/>
                  <a:gd name="connsiteX10" fmla="*/ 107808 w 360000"/>
                  <a:gd name="connsiteY10" fmla="*/ 342192 h 354000"/>
                  <a:gd name="connsiteX11" fmla="*/ 196686 w 360000"/>
                  <a:gd name="connsiteY11" fmla="*/ 306000 h 354000"/>
                  <a:gd name="connsiteX12" fmla="*/ 205344 w 360000"/>
                  <a:gd name="connsiteY12" fmla="*/ 306000 h 354000"/>
                  <a:gd name="connsiteX13" fmla="*/ 289884 w 360000"/>
                  <a:gd name="connsiteY13" fmla="*/ 243576 h 354000"/>
                  <a:gd name="connsiteX14" fmla="*/ 360000 w 360000"/>
                  <a:gd name="connsiteY14" fmla="*/ 156726 h 354000"/>
                  <a:gd name="connsiteX15" fmla="*/ 360000 w 360000"/>
                  <a:gd name="connsiteY15" fmla="*/ 88656 h 354000"/>
                  <a:gd name="connsiteX16" fmla="*/ 271344 w 360000"/>
                  <a:gd name="connsiteY16" fmla="*/ 0 h 354000"/>
                  <a:gd name="connsiteX17" fmla="*/ 205344 w 360000"/>
                  <a:gd name="connsiteY17" fmla="*/ 294000 h 354000"/>
                  <a:gd name="connsiteX18" fmla="*/ 196686 w 360000"/>
                  <a:gd name="connsiteY18" fmla="*/ 294000 h 354000"/>
                  <a:gd name="connsiteX19" fmla="*/ 99318 w 360000"/>
                  <a:gd name="connsiteY19" fmla="*/ 333708 h 354000"/>
                  <a:gd name="connsiteX20" fmla="*/ 96000 w 360000"/>
                  <a:gd name="connsiteY20" fmla="*/ 337032 h 354000"/>
                  <a:gd name="connsiteX21" fmla="*/ 96000 w 360000"/>
                  <a:gd name="connsiteY21" fmla="*/ 300000 h 354000"/>
                  <a:gd name="connsiteX22" fmla="*/ 96000 w 360000"/>
                  <a:gd name="connsiteY22" fmla="*/ 294000 h 354000"/>
                  <a:gd name="connsiteX23" fmla="*/ 96000 w 360000"/>
                  <a:gd name="connsiteY23" fmla="*/ 275070 h 354000"/>
                  <a:gd name="connsiteX24" fmla="*/ 90000 w 360000"/>
                  <a:gd name="connsiteY24" fmla="*/ 269070 h 354000"/>
                  <a:gd name="connsiteX25" fmla="*/ 84000 w 360000"/>
                  <a:gd name="connsiteY25" fmla="*/ 275070 h 354000"/>
                  <a:gd name="connsiteX26" fmla="*/ 84000 w 360000"/>
                  <a:gd name="connsiteY26" fmla="*/ 293688 h 354000"/>
                  <a:gd name="connsiteX27" fmla="*/ 12000 w 360000"/>
                  <a:gd name="connsiteY27" fmla="*/ 216726 h 354000"/>
                  <a:gd name="connsiteX28" fmla="*/ 12000 w 360000"/>
                  <a:gd name="connsiteY28" fmla="*/ 148656 h 354000"/>
                  <a:gd name="connsiteX29" fmla="*/ 72840 w 360000"/>
                  <a:gd name="connsiteY29" fmla="*/ 73662 h 354000"/>
                  <a:gd name="connsiteX30" fmla="*/ 75654 w 360000"/>
                  <a:gd name="connsiteY30" fmla="*/ 73188 h 354000"/>
                  <a:gd name="connsiteX31" fmla="*/ 76050 w 360000"/>
                  <a:gd name="connsiteY31" fmla="*/ 73128 h 354000"/>
                  <a:gd name="connsiteX32" fmla="*/ 82182 w 360000"/>
                  <a:gd name="connsiteY32" fmla="*/ 72330 h 354000"/>
                  <a:gd name="connsiteX33" fmla="*/ 88656 w 360000"/>
                  <a:gd name="connsiteY33" fmla="*/ 72000 h 354000"/>
                  <a:gd name="connsiteX34" fmla="*/ 205344 w 360000"/>
                  <a:gd name="connsiteY34" fmla="*/ 72000 h 354000"/>
                  <a:gd name="connsiteX35" fmla="*/ 282000 w 360000"/>
                  <a:gd name="connsiteY35" fmla="*/ 148656 h 354000"/>
                  <a:gd name="connsiteX36" fmla="*/ 282000 w 360000"/>
                  <a:gd name="connsiteY36" fmla="*/ 216732 h 354000"/>
                  <a:gd name="connsiteX37" fmla="*/ 281676 w 360000"/>
                  <a:gd name="connsiteY37" fmla="*/ 223158 h 354000"/>
                  <a:gd name="connsiteX38" fmla="*/ 281352 w 360000"/>
                  <a:gd name="connsiteY38" fmla="*/ 226254 h 354000"/>
                  <a:gd name="connsiteX39" fmla="*/ 281070 w 360000"/>
                  <a:gd name="connsiteY39" fmla="*/ 228132 h 354000"/>
                  <a:gd name="connsiteX40" fmla="*/ 279210 w 360000"/>
                  <a:gd name="connsiteY40" fmla="*/ 236994 h 354000"/>
                  <a:gd name="connsiteX41" fmla="*/ 278286 w 360000"/>
                  <a:gd name="connsiteY41" fmla="*/ 240408 h 354000"/>
                  <a:gd name="connsiteX42" fmla="*/ 205344 w 360000"/>
                  <a:gd name="connsiteY42" fmla="*/ 294000 h 354000"/>
                  <a:gd name="connsiteX43" fmla="*/ 348000 w 360000"/>
                  <a:gd name="connsiteY43" fmla="*/ 156726 h 354000"/>
                  <a:gd name="connsiteX44" fmla="*/ 292884 w 360000"/>
                  <a:gd name="connsiteY44" fmla="*/ 230430 h 354000"/>
                  <a:gd name="connsiteX45" fmla="*/ 293052 w 360000"/>
                  <a:gd name="connsiteY45" fmla="*/ 229032 h 354000"/>
                  <a:gd name="connsiteX46" fmla="*/ 293610 w 360000"/>
                  <a:gd name="connsiteY46" fmla="*/ 224448 h 354000"/>
                  <a:gd name="connsiteX47" fmla="*/ 294000 w 360000"/>
                  <a:gd name="connsiteY47" fmla="*/ 216726 h 354000"/>
                  <a:gd name="connsiteX48" fmla="*/ 294000 w 360000"/>
                  <a:gd name="connsiteY48" fmla="*/ 148656 h 354000"/>
                  <a:gd name="connsiteX49" fmla="*/ 205344 w 360000"/>
                  <a:gd name="connsiteY49" fmla="*/ 60006 h 354000"/>
                  <a:gd name="connsiteX50" fmla="*/ 88656 w 360000"/>
                  <a:gd name="connsiteY50" fmla="*/ 60006 h 354000"/>
                  <a:gd name="connsiteX51" fmla="*/ 83568 w 360000"/>
                  <a:gd name="connsiteY51" fmla="*/ 60174 h 354000"/>
                  <a:gd name="connsiteX52" fmla="*/ 154656 w 360000"/>
                  <a:gd name="connsiteY52" fmla="*/ 12006 h 354000"/>
                  <a:gd name="connsiteX53" fmla="*/ 271344 w 360000"/>
                  <a:gd name="connsiteY53" fmla="*/ 12006 h 354000"/>
                  <a:gd name="connsiteX54" fmla="*/ 348000 w 360000"/>
                  <a:gd name="connsiteY54" fmla="*/ 88656 h 354000"/>
                  <a:gd name="connsiteX55" fmla="*/ 348000 w 360000"/>
                  <a:gd name="connsiteY55" fmla="*/ 156726 h 354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360000" h="354000">
                    <a:moveTo>
                      <a:pt x="271344" y="0"/>
                    </a:moveTo>
                    <a:lnTo>
                      <a:pt x="154656" y="0"/>
                    </a:lnTo>
                    <a:cubicBezTo>
                      <a:pt x="115968" y="0"/>
                      <a:pt x="81864" y="25296"/>
                      <a:pt x="70278" y="61938"/>
                    </a:cubicBezTo>
                    <a:cubicBezTo>
                      <a:pt x="30186" y="70428"/>
                      <a:pt x="0" y="106068"/>
                      <a:pt x="0" y="148656"/>
                    </a:cubicBezTo>
                    <a:lnTo>
                      <a:pt x="0" y="216732"/>
                    </a:lnTo>
                    <a:cubicBezTo>
                      <a:pt x="0" y="263124"/>
                      <a:pt x="37878" y="302616"/>
                      <a:pt x="84000" y="305796"/>
                    </a:cubicBezTo>
                    <a:lnTo>
                      <a:pt x="84000" y="344676"/>
                    </a:lnTo>
                    <a:cubicBezTo>
                      <a:pt x="84000" y="348726"/>
                      <a:pt x="86052" y="352092"/>
                      <a:pt x="89358" y="353466"/>
                    </a:cubicBezTo>
                    <a:cubicBezTo>
                      <a:pt x="90336" y="353868"/>
                      <a:pt x="91356" y="354072"/>
                      <a:pt x="92382" y="354072"/>
                    </a:cubicBezTo>
                    <a:cubicBezTo>
                      <a:pt x="94626" y="354072"/>
                      <a:pt x="96876" y="353124"/>
                      <a:pt x="98682" y="351318"/>
                    </a:cubicBezTo>
                    <a:lnTo>
                      <a:pt x="107808" y="342192"/>
                    </a:lnTo>
                    <a:cubicBezTo>
                      <a:pt x="131148" y="318852"/>
                      <a:pt x="162714" y="306000"/>
                      <a:pt x="196686" y="306000"/>
                    </a:cubicBezTo>
                    <a:lnTo>
                      <a:pt x="205344" y="306000"/>
                    </a:lnTo>
                    <a:cubicBezTo>
                      <a:pt x="244938" y="306000"/>
                      <a:pt x="278538" y="279720"/>
                      <a:pt x="289884" y="243576"/>
                    </a:cubicBezTo>
                    <a:cubicBezTo>
                      <a:pt x="330102" y="234282"/>
                      <a:pt x="360000" y="197670"/>
                      <a:pt x="360000" y="156726"/>
                    </a:cubicBezTo>
                    <a:lnTo>
                      <a:pt x="360000" y="88656"/>
                    </a:lnTo>
                    <a:cubicBezTo>
                      <a:pt x="360000" y="39768"/>
                      <a:pt x="320232" y="0"/>
                      <a:pt x="271344" y="0"/>
                    </a:cubicBezTo>
                    <a:close/>
                    <a:moveTo>
                      <a:pt x="205344" y="294000"/>
                    </a:moveTo>
                    <a:lnTo>
                      <a:pt x="196686" y="294000"/>
                    </a:lnTo>
                    <a:cubicBezTo>
                      <a:pt x="159504" y="294000"/>
                      <a:pt x="124926" y="308106"/>
                      <a:pt x="99318" y="333708"/>
                    </a:cubicBezTo>
                    <a:lnTo>
                      <a:pt x="96000" y="337032"/>
                    </a:lnTo>
                    <a:lnTo>
                      <a:pt x="96000" y="300000"/>
                    </a:lnTo>
                    <a:lnTo>
                      <a:pt x="96000" y="294000"/>
                    </a:lnTo>
                    <a:lnTo>
                      <a:pt x="96000" y="275070"/>
                    </a:lnTo>
                    <a:cubicBezTo>
                      <a:pt x="96000" y="271752"/>
                      <a:pt x="93312" y="269070"/>
                      <a:pt x="90000" y="269070"/>
                    </a:cubicBezTo>
                    <a:cubicBezTo>
                      <a:pt x="86688" y="269070"/>
                      <a:pt x="84000" y="271752"/>
                      <a:pt x="84000" y="275070"/>
                    </a:cubicBezTo>
                    <a:lnTo>
                      <a:pt x="84000" y="293688"/>
                    </a:lnTo>
                    <a:cubicBezTo>
                      <a:pt x="44400" y="290532"/>
                      <a:pt x="12000" y="256614"/>
                      <a:pt x="12000" y="216726"/>
                    </a:cubicBezTo>
                    <a:lnTo>
                      <a:pt x="12000" y="148656"/>
                    </a:lnTo>
                    <a:cubicBezTo>
                      <a:pt x="12000" y="111816"/>
                      <a:pt x="38136" y="80976"/>
                      <a:pt x="72840" y="73662"/>
                    </a:cubicBezTo>
                    <a:lnTo>
                      <a:pt x="75654" y="73188"/>
                    </a:lnTo>
                    <a:cubicBezTo>
                      <a:pt x="75786" y="73164"/>
                      <a:pt x="75918" y="73152"/>
                      <a:pt x="76050" y="73128"/>
                    </a:cubicBezTo>
                    <a:cubicBezTo>
                      <a:pt x="78180" y="72774"/>
                      <a:pt x="80214" y="72516"/>
                      <a:pt x="82182" y="72330"/>
                    </a:cubicBezTo>
                    <a:cubicBezTo>
                      <a:pt x="84324" y="72150"/>
                      <a:pt x="86472" y="72000"/>
                      <a:pt x="88656" y="72000"/>
                    </a:cubicBezTo>
                    <a:lnTo>
                      <a:pt x="205344" y="72000"/>
                    </a:lnTo>
                    <a:cubicBezTo>
                      <a:pt x="247614" y="72000"/>
                      <a:pt x="282000" y="106392"/>
                      <a:pt x="282000" y="148656"/>
                    </a:cubicBezTo>
                    <a:lnTo>
                      <a:pt x="282000" y="216732"/>
                    </a:lnTo>
                    <a:cubicBezTo>
                      <a:pt x="282000" y="218904"/>
                      <a:pt x="281850" y="221034"/>
                      <a:pt x="281676" y="223158"/>
                    </a:cubicBezTo>
                    <a:cubicBezTo>
                      <a:pt x="281586" y="224190"/>
                      <a:pt x="281490" y="225216"/>
                      <a:pt x="281352" y="226254"/>
                    </a:cubicBezTo>
                    <a:cubicBezTo>
                      <a:pt x="281274" y="226884"/>
                      <a:pt x="281160" y="227502"/>
                      <a:pt x="281070" y="228132"/>
                    </a:cubicBezTo>
                    <a:cubicBezTo>
                      <a:pt x="280614" y="231078"/>
                      <a:pt x="280014" y="234036"/>
                      <a:pt x="279210" y="236994"/>
                    </a:cubicBezTo>
                    <a:lnTo>
                      <a:pt x="278286" y="240408"/>
                    </a:lnTo>
                    <a:cubicBezTo>
                      <a:pt x="268338" y="271458"/>
                      <a:pt x="239418" y="294000"/>
                      <a:pt x="205344" y="294000"/>
                    </a:cubicBezTo>
                    <a:close/>
                    <a:moveTo>
                      <a:pt x="348000" y="156726"/>
                    </a:moveTo>
                    <a:cubicBezTo>
                      <a:pt x="348000" y="190200"/>
                      <a:pt x="324870" y="220410"/>
                      <a:pt x="292884" y="230430"/>
                    </a:cubicBezTo>
                    <a:cubicBezTo>
                      <a:pt x="292962" y="229962"/>
                      <a:pt x="292986" y="229500"/>
                      <a:pt x="293052" y="229032"/>
                    </a:cubicBezTo>
                    <a:cubicBezTo>
                      <a:pt x="293262" y="227508"/>
                      <a:pt x="293472" y="225996"/>
                      <a:pt x="293610" y="224448"/>
                    </a:cubicBezTo>
                    <a:cubicBezTo>
                      <a:pt x="293850" y="221862"/>
                      <a:pt x="294000" y="219282"/>
                      <a:pt x="294000" y="216726"/>
                    </a:cubicBezTo>
                    <a:lnTo>
                      <a:pt x="294000" y="148656"/>
                    </a:lnTo>
                    <a:cubicBezTo>
                      <a:pt x="294000" y="99774"/>
                      <a:pt x="254232" y="60006"/>
                      <a:pt x="205344" y="60006"/>
                    </a:cubicBezTo>
                    <a:lnTo>
                      <a:pt x="88656" y="60006"/>
                    </a:lnTo>
                    <a:cubicBezTo>
                      <a:pt x="86988" y="60006"/>
                      <a:pt x="85296" y="60060"/>
                      <a:pt x="83568" y="60174"/>
                    </a:cubicBezTo>
                    <a:cubicBezTo>
                      <a:pt x="95070" y="31410"/>
                      <a:pt x="123132" y="12006"/>
                      <a:pt x="154656" y="12006"/>
                    </a:cubicBezTo>
                    <a:lnTo>
                      <a:pt x="271344" y="12006"/>
                    </a:lnTo>
                    <a:cubicBezTo>
                      <a:pt x="313614" y="12000"/>
                      <a:pt x="348000" y="46392"/>
                      <a:pt x="348000" y="88656"/>
                    </a:cubicBezTo>
                    <a:lnTo>
                      <a:pt x="348000" y="156726"/>
                    </a:lnTo>
                    <a:close/>
                  </a:path>
                </a:pathLst>
              </a:custGeom>
              <a:grpFill/>
              <a:ln w="587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 dirty="0">
                  <a:latin typeface="+mj-lt"/>
                </a:endParaRPr>
              </a:p>
            </p:txBody>
          </p:sp>
          <p:sp>
            <p:nvSpPr>
              <p:cNvPr id="23" name="Forme libre : forme 22">
                <a:extLst>
                  <a:ext uri="{FF2B5EF4-FFF2-40B4-BE49-F238E27FC236}">
                    <a16:creationId xmlns:a16="http://schemas.microsoft.com/office/drawing/2014/main" id="{D3E343A4-7F4C-47C9-86A1-3CB8FDB27054}"/>
                  </a:ext>
                </a:extLst>
              </p:cNvPr>
              <p:cNvSpPr/>
              <p:nvPr/>
            </p:nvSpPr>
            <p:spPr>
              <a:xfrm>
                <a:off x="8436018" y="5467412"/>
                <a:ext cx="48000" cy="48000"/>
              </a:xfrm>
              <a:custGeom>
                <a:avLst/>
                <a:gdLst>
                  <a:gd name="connsiteX0" fmla="*/ 24000 w 48000"/>
                  <a:gd name="connsiteY0" fmla="*/ 0 h 48000"/>
                  <a:gd name="connsiteX1" fmla="*/ 0 w 48000"/>
                  <a:gd name="connsiteY1" fmla="*/ 24000 h 48000"/>
                  <a:gd name="connsiteX2" fmla="*/ 24000 w 48000"/>
                  <a:gd name="connsiteY2" fmla="*/ 48000 h 48000"/>
                  <a:gd name="connsiteX3" fmla="*/ 48000 w 48000"/>
                  <a:gd name="connsiteY3" fmla="*/ 24000 h 48000"/>
                  <a:gd name="connsiteX4" fmla="*/ 24000 w 48000"/>
                  <a:gd name="connsiteY4" fmla="*/ 0 h 48000"/>
                  <a:gd name="connsiteX5" fmla="*/ 24000 w 48000"/>
                  <a:gd name="connsiteY5" fmla="*/ 36000 h 48000"/>
                  <a:gd name="connsiteX6" fmla="*/ 12000 w 48000"/>
                  <a:gd name="connsiteY6" fmla="*/ 24000 h 48000"/>
                  <a:gd name="connsiteX7" fmla="*/ 24000 w 48000"/>
                  <a:gd name="connsiteY7" fmla="*/ 12000 h 48000"/>
                  <a:gd name="connsiteX8" fmla="*/ 36000 w 48000"/>
                  <a:gd name="connsiteY8" fmla="*/ 24000 h 48000"/>
                  <a:gd name="connsiteX9" fmla="*/ 24000 w 48000"/>
                  <a:gd name="connsiteY9" fmla="*/ 36000 h 4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000" h="48000">
                    <a:moveTo>
                      <a:pt x="24000" y="0"/>
                    </a:moveTo>
                    <a:cubicBezTo>
                      <a:pt x="10764" y="0"/>
                      <a:pt x="0" y="10764"/>
                      <a:pt x="0" y="24000"/>
                    </a:cubicBezTo>
                    <a:cubicBezTo>
                      <a:pt x="0" y="37236"/>
                      <a:pt x="10764" y="48000"/>
                      <a:pt x="24000" y="48000"/>
                    </a:cubicBezTo>
                    <a:cubicBezTo>
                      <a:pt x="37236" y="48000"/>
                      <a:pt x="48000" y="37236"/>
                      <a:pt x="48000" y="24000"/>
                    </a:cubicBezTo>
                    <a:cubicBezTo>
                      <a:pt x="48000" y="10764"/>
                      <a:pt x="37236" y="0"/>
                      <a:pt x="24000" y="0"/>
                    </a:cubicBezTo>
                    <a:close/>
                    <a:moveTo>
                      <a:pt x="24000" y="36000"/>
                    </a:moveTo>
                    <a:cubicBezTo>
                      <a:pt x="17382" y="36000"/>
                      <a:pt x="12000" y="30618"/>
                      <a:pt x="12000" y="24000"/>
                    </a:cubicBezTo>
                    <a:cubicBezTo>
                      <a:pt x="12000" y="17382"/>
                      <a:pt x="17382" y="12000"/>
                      <a:pt x="24000" y="12000"/>
                    </a:cubicBezTo>
                    <a:cubicBezTo>
                      <a:pt x="30618" y="12000"/>
                      <a:pt x="36000" y="17382"/>
                      <a:pt x="36000" y="24000"/>
                    </a:cubicBezTo>
                    <a:cubicBezTo>
                      <a:pt x="36000" y="30618"/>
                      <a:pt x="30618" y="36000"/>
                      <a:pt x="24000" y="36000"/>
                    </a:cubicBezTo>
                    <a:close/>
                  </a:path>
                </a:pathLst>
              </a:custGeom>
              <a:grpFill/>
              <a:ln w="587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>
                  <a:latin typeface="+mj-lt"/>
                </a:endParaRPr>
              </a:p>
            </p:txBody>
          </p:sp>
          <p:sp>
            <p:nvSpPr>
              <p:cNvPr id="24" name="Forme libre : forme 23">
                <a:extLst>
                  <a:ext uri="{FF2B5EF4-FFF2-40B4-BE49-F238E27FC236}">
                    <a16:creationId xmlns:a16="http://schemas.microsoft.com/office/drawing/2014/main" id="{79144058-9121-4DB7-B8E3-A2D32730B669}"/>
                  </a:ext>
                </a:extLst>
              </p:cNvPr>
              <p:cNvSpPr/>
              <p:nvPr/>
            </p:nvSpPr>
            <p:spPr>
              <a:xfrm>
                <a:off x="8508018" y="5467412"/>
                <a:ext cx="48000" cy="48000"/>
              </a:xfrm>
              <a:custGeom>
                <a:avLst/>
                <a:gdLst>
                  <a:gd name="connsiteX0" fmla="*/ 24000 w 48000"/>
                  <a:gd name="connsiteY0" fmla="*/ 0 h 48000"/>
                  <a:gd name="connsiteX1" fmla="*/ 0 w 48000"/>
                  <a:gd name="connsiteY1" fmla="*/ 24000 h 48000"/>
                  <a:gd name="connsiteX2" fmla="*/ 24000 w 48000"/>
                  <a:gd name="connsiteY2" fmla="*/ 48000 h 48000"/>
                  <a:gd name="connsiteX3" fmla="*/ 48000 w 48000"/>
                  <a:gd name="connsiteY3" fmla="*/ 24000 h 48000"/>
                  <a:gd name="connsiteX4" fmla="*/ 24000 w 48000"/>
                  <a:gd name="connsiteY4" fmla="*/ 0 h 48000"/>
                  <a:gd name="connsiteX5" fmla="*/ 24000 w 48000"/>
                  <a:gd name="connsiteY5" fmla="*/ 36000 h 48000"/>
                  <a:gd name="connsiteX6" fmla="*/ 12000 w 48000"/>
                  <a:gd name="connsiteY6" fmla="*/ 24000 h 48000"/>
                  <a:gd name="connsiteX7" fmla="*/ 24000 w 48000"/>
                  <a:gd name="connsiteY7" fmla="*/ 12000 h 48000"/>
                  <a:gd name="connsiteX8" fmla="*/ 36000 w 48000"/>
                  <a:gd name="connsiteY8" fmla="*/ 24000 h 48000"/>
                  <a:gd name="connsiteX9" fmla="*/ 24000 w 48000"/>
                  <a:gd name="connsiteY9" fmla="*/ 36000 h 4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000" h="48000">
                    <a:moveTo>
                      <a:pt x="24000" y="0"/>
                    </a:moveTo>
                    <a:cubicBezTo>
                      <a:pt x="10764" y="0"/>
                      <a:pt x="0" y="10764"/>
                      <a:pt x="0" y="24000"/>
                    </a:cubicBezTo>
                    <a:cubicBezTo>
                      <a:pt x="0" y="37236"/>
                      <a:pt x="10764" y="48000"/>
                      <a:pt x="24000" y="48000"/>
                    </a:cubicBezTo>
                    <a:cubicBezTo>
                      <a:pt x="37236" y="48000"/>
                      <a:pt x="48000" y="37236"/>
                      <a:pt x="48000" y="24000"/>
                    </a:cubicBezTo>
                    <a:cubicBezTo>
                      <a:pt x="48000" y="10764"/>
                      <a:pt x="37236" y="0"/>
                      <a:pt x="24000" y="0"/>
                    </a:cubicBezTo>
                    <a:close/>
                    <a:moveTo>
                      <a:pt x="24000" y="36000"/>
                    </a:moveTo>
                    <a:cubicBezTo>
                      <a:pt x="17382" y="36000"/>
                      <a:pt x="12000" y="30618"/>
                      <a:pt x="12000" y="24000"/>
                    </a:cubicBezTo>
                    <a:cubicBezTo>
                      <a:pt x="12000" y="17382"/>
                      <a:pt x="17382" y="12000"/>
                      <a:pt x="24000" y="12000"/>
                    </a:cubicBezTo>
                    <a:cubicBezTo>
                      <a:pt x="30618" y="12000"/>
                      <a:pt x="36000" y="17382"/>
                      <a:pt x="36000" y="24000"/>
                    </a:cubicBezTo>
                    <a:cubicBezTo>
                      <a:pt x="36000" y="30618"/>
                      <a:pt x="30618" y="36000"/>
                      <a:pt x="24000" y="36000"/>
                    </a:cubicBezTo>
                    <a:close/>
                  </a:path>
                </a:pathLst>
              </a:custGeom>
              <a:grpFill/>
              <a:ln w="587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>
                  <a:latin typeface="+mj-lt"/>
                </a:endParaRPr>
              </a:p>
            </p:txBody>
          </p:sp>
          <p:sp>
            <p:nvSpPr>
              <p:cNvPr id="25" name="Forme libre : forme 24">
                <a:extLst>
                  <a:ext uri="{FF2B5EF4-FFF2-40B4-BE49-F238E27FC236}">
                    <a16:creationId xmlns:a16="http://schemas.microsoft.com/office/drawing/2014/main" id="{8E0F105F-C0C1-43CA-835A-2EA10CB182B0}"/>
                  </a:ext>
                </a:extLst>
              </p:cNvPr>
              <p:cNvSpPr/>
              <p:nvPr/>
            </p:nvSpPr>
            <p:spPr>
              <a:xfrm>
                <a:off x="8580018" y="5467412"/>
                <a:ext cx="48000" cy="48000"/>
              </a:xfrm>
              <a:custGeom>
                <a:avLst/>
                <a:gdLst>
                  <a:gd name="connsiteX0" fmla="*/ 24000 w 48000"/>
                  <a:gd name="connsiteY0" fmla="*/ 0 h 48000"/>
                  <a:gd name="connsiteX1" fmla="*/ 0 w 48000"/>
                  <a:gd name="connsiteY1" fmla="*/ 24000 h 48000"/>
                  <a:gd name="connsiteX2" fmla="*/ 24000 w 48000"/>
                  <a:gd name="connsiteY2" fmla="*/ 48000 h 48000"/>
                  <a:gd name="connsiteX3" fmla="*/ 48000 w 48000"/>
                  <a:gd name="connsiteY3" fmla="*/ 24000 h 48000"/>
                  <a:gd name="connsiteX4" fmla="*/ 24000 w 48000"/>
                  <a:gd name="connsiteY4" fmla="*/ 0 h 48000"/>
                  <a:gd name="connsiteX5" fmla="*/ 24000 w 48000"/>
                  <a:gd name="connsiteY5" fmla="*/ 36000 h 48000"/>
                  <a:gd name="connsiteX6" fmla="*/ 12000 w 48000"/>
                  <a:gd name="connsiteY6" fmla="*/ 24000 h 48000"/>
                  <a:gd name="connsiteX7" fmla="*/ 24000 w 48000"/>
                  <a:gd name="connsiteY7" fmla="*/ 12000 h 48000"/>
                  <a:gd name="connsiteX8" fmla="*/ 36000 w 48000"/>
                  <a:gd name="connsiteY8" fmla="*/ 24000 h 48000"/>
                  <a:gd name="connsiteX9" fmla="*/ 24000 w 48000"/>
                  <a:gd name="connsiteY9" fmla="*/ 36000 h 4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8000" h="48000">
                    <a:moveTo>
                      <a:pt x="24000" y="0"/>
                    </a:moveTo>
                    <a:cubicBezTo>
                      <a:pt x="10764" y="0"/>
                      <a:pt x="0" y="10764"/>
                      <a:pt x="0" y="24000"/>
                    </a:cubicBezTo>
                    <a:cubicBezTo>
                      <a:pt x="0" y="37236"/>
                      <a:pt x="10764" y="48000"/>
                      <a:pt x="24000" y="48000"/>
                    </a:cubicBezTo>
                    <a:cubicBezTo>
                      <a:pt x="37236" y="48000"/>
                      <a:pt x="48000" y="37236"/>
                      <a:pt x="48000" y="24000"/>
                    </a:cubicBezTo>
                    <a:cubicBezTo>
                      <a:pt x="48000" y="10764"/>
                      <a:pt x="37236" y="0"/>
                      <a:pt x="24000" y="0"/>
                    </a:cubicBezTo>
                    <a:close/>
                    <a:moveTo>
                      <a:pt x="24000" y="36000"/>
                    </a:moveTo>
                    <a:cubicBezTo>
                      <a:pt x="17382" y="36000"/>
                      <a:pt x="12000" y="30618"/>
                      <a:pt x="12000" y="24000"/>
                    </a:cubicBezTo>
                    <a:cubicBezTo>
                      <a:pt x="12000" y="17382"/>
                      <a:pt x="17382" y="12000"/>
                      <a:pt x="24000" y="12000"/>
                    </a:cubicBezTo>
                    <a:cubicBezTo>
                      <a:pt x="30618" y="12000"/>
                      <a:pt x="36000" y="17382"/>
                      <a:pt x="36000" y="24000"/>
                    </a:cubicBezTo>
                    <a:cubicBezTo>
                      <a:pt x="36000" y="30618"/>
                      <a:pt x="30618" y="36000"/>
                      <a:pt x="24000" y="36000"/>
                    </a:cubicBezTo>
                    <a:close/>
                  </a:path>
                </a:pathLst>
              </a:custGeom>
              <a:grpFill/>
              <a:ln w="587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>
                  <a:latin typeface="+mj-lt"/>
                </a:endParaRPr>
              </a:p>
            </p:txBody>
          </p:sp>
        </p:grpSp>
      </p:grpSp>
      <p:grpSp>
        <p:nvGrpSpPr>
          <p:cNvPr id="26" name="Groupe 25">
            <a:extLst>
              <a:ext uri="{FF2B5EF4-FFF2-40B4-BE49-F238E27FC236}">
                <a16:creationId xmlns:a16="http://schemas.microsoft.com/office/drawing/2014/main" id="{AA9C2FF6-0B56-44E0-BBA7-1C96F9BF3327}"/>
              </a:ext>
            </a:extLst>
          </p:cNvPr>
          <p:cNvGrpSpPr/>
          <p:nvPr userDrawn="1"/>
        </p:nvGrpSpPr>
        <p:grpSpPr>
          <a:xfrm>
            <a:off x="2057400" y="4683187"/>
            <a:ext cx="803489" cy="803937"/>
            <a:chOff x="2057400" y="4683187"/>
            <a:chExt cx="803489" cy="803937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64C6D98-1113-4C69-894C-7E9ED1BCC0A8}"/>
                </a:ext>
              </a:extLst>
            </p:cNvPr>
            <p:cNvSpPr/>
            <p:nvPr/>
          </p:nvSpPr>
          <p:spPr>
            <a:xfrm>
              <a:off x="2140889" y="4767124"/>
              <a:ext cx="720000" cy="72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srgbClr val="00000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144000" rIns="144000" bIns="144000" rtlCol="0" anchor="t">
              <a:noAutofit/>
            </a:bodyPr>
            <a:lstStyle/>
            <a:p>
              <a:endParaRPr lang="fr-FR" b="1" dirty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8" name="Forme libre : forme 27">
              <a:extLst>
                <a:ext uri="{FF2B5EF4-FFF2-40B4-BE49-F238E27FC236}">
                  <a16:creationId xmlns:a16="http://schemas.microsoft.com/office/drawing/2014/main" id="{D0A96724-D66D-403E-8C02-5ABC8F17454F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2057400" y="4683187"/>
              <a:ext cx="464637" cy="170519"/>
            </a:xfrm>
            <a:custGeom>
              <a:avLst/>
              <a:gdLst>
                <a:gd name="connsiteX0" fmla="*/ 0 w 464637"/>
                <a:gd name="connsiteY0" fmla="*/ 0 h 170519"/>
                <a:gd name="connsiteX1" fmla="*/ 0 w 464637"/>
                <a:gd name="connsiteY1" fmla="*/ 82673 h 170519"/>
                <a:gd name="connsiteX2" fmla="*/ 381965 w 464637"/>
                <a:gd name="connsiteY2" fmla="*/ 82673 h 170519"/>
                <a:gd name="connsiteX3" fmla="*/ 381965 w 464637"/>
                <a:gd name="connsiteY3" fmla="*/ 170520 h 170519"/>
                <a:gd name="connsiteX4" fmla="*/ 464638 w 464637"/>
                <a:gd name="connsiteY4" fmla="*/ 170520 h 170519"/>
                <a:gd name="connsiteX5" fmla="*/ 464638 w 464637"/>
                <a:gd name="connsiteY5" fmla="*/ 0 h 170519"/>
                <a:gd name="connsiteX6" fmla="*/ 0 w 464637"/>
                <a:gd name="connsiteY6" fmla="*/ 0 h 170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4637" h="170519">
                  <a:moveTo>
                    <a:pt x="0" y="0"/>
                  </a:moveTo>
                  <a:lnTo>
                    <a:pt x="0" y="82673"/>
                  </a:lnTo>
                  <a:lnTo>
                    <a:pt x="381965" y="82673"/>
                  </a:lnTo>
                  <a:lnTo>
                    <a:pt x="381965" y="170520"/>
                  </a:lnTo>
                  <a:lnTo>
                    <a:pt x="464638" y="170520"/>
                  </a:lnTo>
                  <a:lnTo>
                    <a:pt x="46463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grpSp>
          <p:nvGrpSpPr>
            <p:cNvPr id="29" name="Graphique 72">
              <a:extLst>
                <a:ext uri="{FF2B5EF4-FFF2-40B4-BE49-F238E27FC236}">
                  <a16:creationId xmlns:a16="http://schemas.microsoft.com/office/drawing/2014/main" id="{63204FAE-1EF2-476E-8F9B-62CBC85056D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320889" y="4947124"/>
              <a:ext cx="360000" cy="360000"/>
              <a:chOff x="8056856" y="2434780"/>
              <a:chExt cx="360000" cy="360000"/>
            </a:xfrm>
            <a:solidFill>
              <a:schemeClr val="tx2"/>
            </a:solidFill>
          </p:grpSpPr>
          <p:sp>
            <p:nvSpPr>
              <p:cNvPr id="30" name="Forme libre : forme 29">
                <a:extLst>
                  <a:ext uri="{FF2B5EF4-FFF2-40B4-BE49-F238E27FC236}">
                    <a16:creationId xmlns:a16="http://schemas.microsoft.com/office/drawing/2014/main" id="{EA0AC6C3-382D-4D41-80EF-248975CA8A2A}"/>
                  </a:ext>
                </a:extLst>
              </p:cNvPr>
              <p:cNvSpPr/>
              <p:nvPr/>
            </p:nvSpPr>
            <p:spPr>
              <a:xfrm>
                <a:off x="8056856" y="2485780"/>
                <a:ext cx="360000" cy="258000"/>
              </a:xfrm>
              <a:custGeom>
                <a:avLst/>
                <a:gdLst>
                  <a:gd name="connsiteX0" fmla="*/ 0 w 360000"/>
                  <a:gd name="connsiteY0" fmla="*/ 0 h 258000"/>
                  <a:gd name="connsiteX1" fmla="*/ 0 w 360000"/>
                  <a:gd name="connsiteY1" fmla="*/ 13746 h 258000"/>
                  <a:gd name="connsiteX2" fmla="*/ 0 w 360000"/>
                  <a:gd name="connsiteY2" fmla="*/ 244254 h 258000"/>
                  <a:gd name="connsiteX3" fmla="*/ 0 w 360000"/>
                  <a:gd name="connsiteY3" fmla="*/ 258000 h 258000"/>
                  <a:gd name="connsiteX4" fmla="*/ 360000 w 360000"/>
                  <a:gd name="connsiteY4" fmla="*/ 258000 h 258000"/>
                  <a:gd name="connsiteX5" fmla="*/ 360000 w 360000"/>
                  <a:gd name="connsiteY5" fmla="*/ 244254 h 258000"/>
                  <a:gd name="connsiteX6" fmla="*/ 360000 w 360000"/>
                  <a:gd name="connsiteY6" fmla="*/ 13746 h 258000"/>
                  <a:gd name="connsiteX7" fmla="*/ 360000 w 360000"/>
                  <a:gd name="connsiteY7" fmla="*/ 0 h 258000"/>
                  <a:gd name="connsiteX8" fmla="*/ 0 w 360000"/>
                  <a:gd name="connsiteY8" fmla="*/ 0 h 258000"/>
                  <a:gd name="connsiteX9" fmla="*/ 219750 w 360000"/>
                  <a:gd name="connsiteY9" fmla="*/ 132384 h 258000"/>
                  <a:gd name="connsiteX10" fmla="*/ 187074 w 360000"/>
                  <a:gd name="connsiteY10" fmla="*/ 165216 h 258000"/>
                  <a:gd name="connsiteX11" fmla="*/ 173082 w 360000"/>
                  <a:gd name="connsiteY11" fmla="*/ 165372 h 258000"/>
                  <a:gd name="connsiteX12" fmla="*/ 140244 w 360000"/>
                  <a:gd name="connsiteY12" fmla="*/ 132384 h 258000"/>
                  <a:gd name="connsiteX13" fmla="*/ 140532 w 360000"/>
                  <a:gd name="connsiteY13" fmla="*/ 132102 h 258000"/>
                  <a:gd name="connsiteX14" fmla="*/ 21882 w 360000"/>
                  <a:gd name="connsiteY14" fmla="*/ 12000 h 258000"/>
                  <a:gd name="connsiteX15" fmla="*/ 338196 w 360000"/>
                  <a:gd name="connsiteY15" fmla="*/ 12000 h 258000"/>
                  <a:gd name="connsiteX16" fmla="*/ 219462 w 360000"/>
                  <a:gd name="connsiteY16" fmla="*/ 132108 h 258000"/>
                  <a:gd name="connsiteX17" fmla="*/ 219750 w 360000"/>
                  <a:gd name="connsiteY17" fmla="*/ 132384 h 258000"/>
                  <a:gd name="connsiteX18" fmla="*/ 123144 w 360000"/>
                  <a:gd name="connsiteY18" fmla="*/ 132198 h 258000"/>
                  <a:gd name="connsiteX19" fmla="*/ 12000 w 360000"/>
                  <a:gd name="connsiteY19" fmla="*/ 239130 h 258000"/>
                  <a:gd name="connsiteX20" fmla="*/ 12000 w 360000"/>
                  <a:gd name="connsiteY20" fmla="*/ 20538 h 258000"/>
                  <a:gd name="connsiteX21" fmla="*/ 123144 w 360000"/>
                  <a:gd name="connsiteY21" fmla="*/ 132198 h 258000"/>
                  <a:gd name="connsiteX22" fmla="*/ 131604 w 360000"/>
                  <a:gd name="connsiteY22" fmla="*/ 140700 h 258000"/>
                  <a:gd name="connsiteX23" fmla="*/ 164742 w 360000"/>
                  <a:gd name="connsiteY23" fmla="*/ 173994 h 258000"/>
                  <a:gd name="connsiteX24" fmla="*/ 179940 w 360000"/>
                  <a:gd name="connsiteY24" fmla="*/ 179952 h 258000"/>
                  <a:gd name="connsiteX25" fmla="*/ 195426 w 360000"/>
                  <a:gd name="connsiteY25" fmla="*/ 173832 h 258000"/>
                  <a:gd name="connsiteX26" fmla="*/ 228402 w 360000"/>
                  <a:gd name="connsiteY26" fmla="*/ 140700 h 258000"/>
                  <a:gd name="connsiteX27" fmla="*/ 337824 w 360000"/>
                  <a:gd name="connsiteY27" fmla="*/ 246000 h 258000"/>
                  <a:gd name="connsiteX28" fmla="*/ 22116 w 360000"/>
                  <a:gd name="connsiteY28" fmla="*/ 246000 h 258000"/>
                  <a:gd name="connsiteX29" fmla="*/ 131604 w 360000"/>
                  <a:gd name="connsiteY29" fmla="*/ 140700 h 258000"/>
                  <a:gd name="connsiteX30" fmla="*/ 236862 w 360000"/>
                  <a:gd name="connsiteY30" fmla="*/ 132204 h 258000"/>
                  <a:gd name="connsiteX31" fmla="*/ 348000 w 360000"/>
                  <a:gd name="connsiteY31" fmla="*/ 20532 h 258000"/>
                  <a:gd name="connsiteX32" fmla="*/ 348000 w 360000"/>
                  <a:gd name="connsiteY32" fmla="*/ 239130 h 258000"/>
                  <a:gd name="connsiteX33" fmla="*/ 236862 w 360000"/>
                  <a:gd name="connsiteY33" fmla="*/ 132204 h 25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360000" h="258000">
                    <a:moveTo>
                      <a:pt x="0" y="0"/>
                    </a:moveTo>
                    <a:lnTo>
                      <a:pt x="0" y="13746"/>
                    </a:lnTo>
                    <a:lnTo>
                      <a:pt x="0" y="244254"/>
                    </a:lnTo>
                    <a:lnTo>
                      <a:pt x="0" y="258000"/>
                    </a:lnTo>
                    <a:lnTo>
                      <a:pt x="360000" y="258000"/>
                    </a:lnTo>
                    <a:lnTo>
                      <a:pt x="360000" y="244254"/>
                    </a:lnTo>
                    <a:lnTo>
                      <a:pt x="360000" y="13746"/>
                    </a:lnTo>
                    <a:lnTo>
                      <a:pt x="360000" y="0"/>
                    </a:lnTo>
                    <a:lnTo>
                      <a:pt x="0" y="0"/>
                    </a:lnTo>
                    <a:close/>
                    <a:moveTo>
                      <a:pt x="219750" y="132384"/>
                    </a:moveTo>
                    <a:lnTo>
                      <a:pt x="187074" y="165216"/>
                    </a:lnTo>
                    <a:cubicBezTo>
                      <a:pt x="183102" y="168906"/>
                      <a:pt x="176886" y="168900"/>
                      <a:pt x="173082" y="165372"/>
                    </a:cubicBezTo>
                    <a:lnTo>
                      <a:pt x="140244" y="132384"/>
                    </a:lnTo>
                    <a:lnTo>
                      <a:pt x="140532" y="132102"/>
                    </a:lnTo>
                    <a:lnTo>
                      <a:pt x="21882" y="12000"/>
                    </a:lnTo>
                    <a:lnTo>
                      <a:pt x="338196" y="12000"/>
                    </a:lnTo>
                    <a:lnTo>
                      <a:pt x="219462" y="132108"/>
                    </a:lnTo>
                    <a:lnTo>
                      <a:pt x="219750" y="132384"/>
                    </a:lnTo>
                    <a:close/>
                    <a:moveTo>
                      <a:pt x="123144" y="132198"/>
                    </a:moveTo>
                    <a:lnTo>
                      <a:pt x="12000" y="239130"/>
                    </a:lnTo>
                    <a:lnTo>
                      <a:pt x="12000" y="20538"/>
                    </a:lnTo>
                    <a:lnTo>
                      <a:pt x="123144" y="132198"/>
                    </a:lnTo>
                    <a:close/>
                    <a:moveTo>
                      <a:pt x="131604" y="140700"/>
                    </a:moveTo>
                    <a:lnTo>
                      <a:pt x="164742" y="173994"/>
                    </a:lnTo>
                    <a:cubicBezTo>
                      <a:pt x="168996" y="177960"/>
                      <a:pt x="174456" y="179952"/>
                      <a:pt x="179940" y="179952"/>
                    </a:cubicBezTo>
                    <a:cubicBezTo>
                      <a:pt x="185478" y="179952"/>
                      <a:pt x="191040" y="177918"/>
                      <a:pt x="195426" y="173832"/>
                    </a:cubicBezTo>
                    <a:lnTo>
                      <a:pt x="228402" y="140700"/>
                    </a:lnTo>
                    <a:lnTo>
                      <a:pt x="337824" y="246000"/>
                    </a:lnTo>
                    <a:lnTo>
                      <a:pt x="22116" y="246000"/>
                    </a:lnTo>
                    <a:lnTo>
                      <a:pt x="131604" y="140700"/>
                    </a:lnTo>
                    <a:close/>
                    <a:moveTo>
                      <a:pt x="236862" y="132204"/>
                    </a:moveTo>
                    <a:lnTo>
                      <a:pt x="348000" y="20532"/>
                    </a:lnTo>
                    <a:lnTo>
                      <a:pt x="348000" y="239130"/>
                    </a:lnTo>
                    <a:lnTo>
                      <a:pt x="236862" y="132204"/>
                    </a:lnTo>
                    <a:close/>
                  </a:path>
                </a:pathLst>
              </a:custGeom>
              <a:grpFill/>
              <a:ln w="587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>
                  <a:latin typeface="+mj-lt"/>
                </a:endParaRPr>
              </a:p>
            </p:txBody>
          </p:sp>
        </p:grpSp>
      </p:grpSp>
      <p:grpSp>
        <p:nvGrpSpPr>
          <p:cNvPr id="31" name="Groupe 30">
            <a:extLst>
              <a:ext uri="{FF2B5EF4-FFF2-40B4-BE49-F238E27FC236}">
                <a16:creationId xmlns:a16="http://schemas.microsoft.com/office/drawing/2014/main" id="{3E424B0F-B0C8-415F-8166-EDAA7D43672B}"/>
              </a:ext>
            </a:extLst>
          </p:cNvPr>
          <p:cNvGrpSpPr/>
          <p:nvPr userDrawn="1"/>
        </p:nvGrpSpPr>
        <p:grpSpPr>
          <a:xfrm>
            <a:off x="2057400" y="1525989"/>
            <a:ext cx="803489" cy="803937"/>
            <a:chOff x="2057400" y="1525989"/>
            <a:chExt cx="803489" cy="803937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3213814E-3F73-455D-98A3-87C4A9A0668C}"/>
                </a:ext>
              </a:extLst>
            </p:cNvPr>
            <p:cNvSpPr/>
            <p:nvPr/>
          </p:nvSpPr>
          <p:spPr>
            <a:xfrm>
              <a:off x="2140889" y="1609926"/>
              <a:ext cx="720000" cy="72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algn="ctr" rotWithShape="0">
                <a:srgbClr val="00000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144000" rIns="144000" bIns="144000" rtlCol="0" anchor="t">
              <a:noAutofit/>
            </a:bodyPr>
            <a:lstStyle/>
            <a:p>
              <a:endParaRPr lang="fr-FR" b="1" dirty="0">
                <a:solidFill>
                  <a:schemeClr val="tx1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3" name="Forme libre : forme 32">
              <a:extLst>
                <a:ext uri="{FF2B5EF4-FFF2-40B4-BE49-F238E27FC236}">
                  <a16:creationId xmlns:a16="http://schemas.microsoft.com/office/drawing/2014/main" id="{91977FF7-AB36-4367-993E-6E182FB1BD49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2057400" y="1525989"/>
              <a:ext cx="464637" cy="170519"/>
            </a:xfrm>
            <a:custGeom>
              <a:avLst/>
              <a:gdLst>
                <a:gd name="connsiteX0" fmla="*/ 0 w 464637"/>
                <a:gd name="connsiteY0" fmla="*/ 0 h 170519"/>
                <a:gd name="connsiteX1" fmla="*/ 0 w 464637"/>
                <a:gd name="connsiteY1" fmla="*/ 82673 h 170519"/>
                <a:gd name="connsiteX2" fmla="*/ 381965 w 464637"/>
                <a:gd name="connsiteY2" fmla="*/ 82673 h 170519"/>
                <a:gd name="connsiteX3" fmla="*/ 381965 w 464637"/>
                <a:gd name="connsiteY3" fmla="*/ 170520 h 170519"/>
                <a:gd name="connsiteX4" fmla="*/ 464638 w 464637"/>
                <a:gd name="connsiteY4" fmla="*/ 170520 h 170519"/>
                <a:gd name="connsiteX5" fmla="*/ 464638 w 464637"/>
                <a:gd name="connsiteY5" fmla="*/ 0 h 170519"/>
                <a:gd name="connsiteX6" fmla="*/ 0 w 464637"/>
                <a:gd name="connsiteY6" fmla="*/ 0 h 170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4637" h="170519">
                  <a:moveTo>
                    <a:pt x="0" y="0"/>
                  </a:moveTo>
                  <a:lnTo>
                    <a:pt x="0" y="82673"/>
                  </a:lnTo>
                  <a:lnTo>
                    <a:pt x="381965" y="82673"/>
                  </a:lnTo>
                  <a:lnTo>
                    <a:pt x="381965" y="170520"/>
                  </a:lnTo>
                  <a:lnTo>
                    <a:pt x="464638" y="170520"/>
                  </a:lnTo>
                  <a:lnTo>
                    <a:pt x="46463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grpSp>
          <p:nvGrpSpPr>
            <p:cNvPr id="34" name="Graphique 44">
              <a:extLst>
                <a:ext uri="{FF2B5EF4-FFF2-40B4-BE49-F238E27FC236}">
                  <a16:creationId xmlns:a16="http://schemas.microsoft.com/office/drawing/2014/main" id="{43C55475-980C-4EDE-BC71-89B0E3396AF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320889" y="1789926"/>
              <a:ext cx="360000" cy="360000"/>
              <a:chOff x="3657600" y="990600"/>
              <a:chExt cx="4876800" cy="4876800"/>
            </a:xfrm>
            <a:solidFill>
              <a:schemeClr val="accent1"/>
            </a:solidFill>
          </p:grpSpPr>
          <p:sp>
            <p:nvSpPr>
              <p:cNvPr id="35" name="Forme libre : forme 34">
                <a:extLst>
                  <a:ext uri="{FF2B5EF4-FFF2-40B4-BE49-F238E27FC236}">
                    <a16:creationId xmlns:a16="http://schemas.microsoft.com/office/drawing/2014/main" id="{93E3DF60-4F02-4ED1-A7DB-94B8CB956CB0}"/>
                  </a:ext>
                </a:extLst>
              </p:cNvPr>
              <p:cNvSpPr/>
              <p:nvPr/>
            </p:nvSpPr>
            <p:spPr>
              <a:xfrm>
                <a:off x="3754983" y="990600"/>
                <a:ext cx="4682051" cy="4876809"/>
              </a:xfrm>
              <a:custGeom>
                <a:avLst/>
                <a:gdLst>
                  <a:gd name="connsiteX0" fmla="*/ 2341017 w 4682051"/>
                  <a:gd name="connsiteY0" fmla="*/ 0 h 4876809"/>
                  <a:gd name="connsiteX1" fmla="*/ 0 w 4682051"/>
                  <a:gd name="connsiteY1" fmla="*/ 2341036 h 4876809"/>
                  <a:gd name="connsiteX2" fmla="*/ 621087 w 4682051"/>
                  <a:gd name="connsiteY2" fmla="*/ 3929091 h 4876809"/>
                  <a:gd name="connsiteX3" fmla="*/ 490528 w 4682051"/>
                  <a:gd name="connsiteY3" fmla="*/ 4770549 h 4876809"/>
                  <a:gd name="connsiteX4" fmla="*/ 527771 w 4682051"/>
                  <a:gd name="connsiteY4" fmla="*/ 4859474 h 4876809"/>
                  <a:gd name="connsiteX5" fmla="*/ 581558 w 4682051"/>
                  <a:gd name="connsiteY5" fmla="*/ 4876810 h 4876809"/>
                  <a:gd name="connsiteX6" fmla="*/ 623916 w 4682051"/>
                  <a:gd name="connsiteY6" fmla="*/ 4866494 h 4876809"/>
                  <a:gd name="connsiteX7" fmla="*/ 1378687 w 4682051"/>
                  <a:gd name="connsiteY7" fmla="*/ 4475626 h 4876809"/>
                  <a:gd name="connsiteX8" fmla="*/ 2341017 w 4682051"/>
                  <a:gd name="connsiteY8" fmla="*/ 4682081 h 4876809"/>
                  <a:gd name="connsiteX9" fmla="*/ 4682052 w 4682051"/>
                  <a:gd name="connsiteY9" fmla="*/ 2341045 h 4876809"/>
                  <a:gd name="connsiteX10" fmla="*/ 2341017 w 4682051"/>
                  <a:gd name="connsiteY10" fmla="*/ 0 h 4876809"/>
                  <a:gd name="connsiteX11" fmla="*/ 2341017 w 4682051"/>
                  <a:gd name="connsiteY11" fmla="*/ 4497810 h 4876809"/>
                  <a:gd name="connsiteX12" fmla="*/ 1416006 w 4682051"/>
                  <a:gd name="connsiteY12" fmla="*/ 4289832 h 4876809"/>
                  <a:gd name="connsiteX13" fmla="*/ 1334081 w 4682051"/>
                  <a:gd name="connsiteY13" fmla="*/ 4291222 h 4876809"/>
                  <a:gd name="connsiteX14" fmla="*/ 700440 w 4682051"/>
                  <a:gd name="connsiteY14" fmla="*/ 4619358 h 4876809"/>
                  <a:gd name="connsiteX15" fmla="*/ 810073 w 4682051"/>
                  <a:gd name="connsiteY15" fmla="*/ 3912823 h 4876809"/>
                  <a:gd name="connsiteX16" fmla="*/ 785479 w 4682051"/>
                  <a:gd name="connsiteY16" fmla="*/ 3834870 h 4876809"/>
                  <a:gd name="connsiteX17" fmla="*/ 184252 w 4682051"/>
                  <a:gd name="connsiteY17" fmla="*/ 2341017 h 4876809"/>
                  <a:gd name="connsiteX18" fmla="*/ 2341017 w 4682051"/>
                  <a:gd name="connsiteY18" fmla="*/ 184252 h 4876809"/>
                  <a:gd name="connsiteX19" fmla="*/ 4497791 w 4682051"/>
                  <a:gd name="connsiteY19" fmla="*/ 2341026 h 4876809"/>
                  <a:gd name="connsiteX20" fmla="*/ 2341017 w 4682051"/>
                  <a:gd name="connsiteY20" fmla="*/ 4497810 h 4876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4682051" h="4876809">
                    <a:moveTo>
                      <a:pt x="2341017" y="0"/>
                    </a:moveTo>
                    <a:cubicBezTo>
                      <a:pt x="1050160" y="0"/>
                      <a:pt x="0" y="1050179"/>
                      <a:pt x="0" y="2341036"/>
                    </a:cubicBezTo>
                    <a:cubicBezTo>
                      <a:pt x="0" y="2933214"/>
                      <a:pt x="220218" y="3495332"/>
                      <a:pt x="621087" y="3929091"/>
                    </a:cubicBezTo>
                    <a:lnTo>
                      <a:pt x="490528" y="4770549"/>
                    </a:lnTo>
                    <a:cubicBezTo>
                      <a:pt x="485213" y="4804849"/>
                      <a:pt x="499605" y="4839205"/>
                      <a:pt x="527771" y="4859474"/>
                    </a:cubicBezTo>
                    <a:cubicBezTo>
                      <a:pt x="543744" y="4870971"/>
                      <a:pt x="562604" y="4876810"/>
                      <a:pt x="581558" y="4876810"/>
                    </a:cubicBezTo>
                    <a:cubicBezTo>
                      <a:pt x="596036" y="4876810"/>
                      <a:pt x="610572" y="4873409"/>
                      <a:pt x="623916" y="4866494"/>
                    </a:cubicBezTo>
                    <a:lnTo>
                      <a:pt x="1378687" y="4475626"/>
                    </a:lnTo>
                    <a:cubicBezTo>
                      <a:pt x="1681820" y="4612653"/>
                      <a:pt x="2005317" y="4682081"/>
                      <a:pt x="2341017" y="4682081"/>
                    </a:cubicBezTo>
                    <a:cubicBezTo>
                      <a:pt x="3631854" y="4682081"/>
                      <a:pt x="4682052" y="3631902"/>
                      <a:pt x="4682052" y="2341045"/>
                    </a:cubicBezTo>
                    <a:cubicBezTo>
                      <a:pt x="4682052" y="1050179"/>
                      <a:pt x="3631873" y="0"/>
                      <a:pt x="2341017" y="0"/>
                    </a:cubicBezTo>
                    <a:close/>
                    <a:moveTo>
                      <a:pt x="2341017" y="4497810"/>
                    </a:moveTo>
                    <a:cubicBezTo>
                      <a:pt x="2017424" y="4497810"/>
                      <a:pt x="1706213" y="4427830"/>
                      <a:pt x="1416006" y="4289832"/>
                    </a:cubicBezTo>
                    <a:cubicBezTo>
                      <a:pt x="1389993" y="4277449"/>
                      <a:pt x="1359675" y="4277973"/>
                      <a:pt x="1334081" y="4291222"/>
                    </a:cubicBezTo>
                    <a:lnTo>
                      <a:pt x="700440" y="4619358"/>
                    </a:lnTo>
                    <a:lnTo>
                      <a:pt x="810073" y="3912823"/>
                    </a:lnTo>
                    <a:cubicBezTo>
                      <a:pt x="814483" y="3884419"/>
                      <a:pt x="805377" y="3855606"/>
                      <a:pt x="785479" y="3834870"/>
                    </a:cubicBezTo>
                    <a:cubicBezTo>
                      <a:pt x="397774" y="3431267"/>
                      <a:pt x="184252" y="2900734"/>
                      <a:pt x="184252" y="2341017"/>
                    </a:cubicBezTo>
                    <a:cubicBezTo>
                      <a:pt x="184252" y="1151782"/>
                      <a:pt x="1151773" y="184252"/>
                      <a:pt x="2341017" y="184252"/>
                    </a:cubicBezTo>
                    <a:cubicBezTo>
                      <a:pt x="3530261" y="184252"/>
                      <a:pt x="4497791" y="1151773"/>
                      <a:pt x="4497791" y="2341026"/>
                    </a:cubicBezTo>
                    <a:cubicBezTo>
                      <a:pt x="4497791" y="3530279"/>
                      <a:pt x="3530270" y="4497810"/>
                      <a:pt x="2341017" y="449781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36" name="Forme libre : forme 35">
                <a:extLst>
                  <a:ext uri="{FF2B5EF4-FFF2-40B4-BE49-F238E27FC236}">
                    <a16:creationId xmlns:a16="http://schemas.microsoft.com/office/drawing/2014/main" id="{F84D6493-1905-48BD-AC88-4412AECF5FB8}"/>
                  </a:ext>
                </a:extLst>
              </p:cNvPr>
              <p:cNvSpPr/>
              <p:nvPr/>
            </p:nvSpPr>
            <p:spPr>
              <a:xfrm>
                <a:off x="5608243" y="1664093"/>
                <a:ext cx="975512" cy="975512"/>
              </a:xfrm>
              <a:custGeom>
                <a:avLst/>
                <a:gdLst>
                  <a:gd name="connsiteX0" fmla="*/ 487756 w 975512"/>
                  <a:gd name="connsiteY0" fmla="*/ 0 h 975512"/>
                  <a:gd name="connsiteX1" fmla="*/ 0 w 975512"/>
                  <a:gd name="connsiteY1" fmla="*/ 487756 h 975512"/>
                  <a:gd name="connsiteX2" fmla="*/ 487756 w 975512"/>
                  <a:gd name="connsiteY2" fmla="*/ 975512 h 975512"/>
                  <a:gd name="connsiteX3" fmla="*/ 975512 w 975512"/>
                  <a:gd name="connsiteY3" fmla="*/ 487756 h 975512"/>
                  <a:gd name="connsiteX4" fmla="*/ 487756 w 975512"/>
                  <a:gd name="connsiteY4" fmla="*/ 0 h 975512"/>
                  <a:gd name="connsiteX5" fmla="*/ 487756 w 975512"/>
                  <a:gd name="connsiteY5" fmla="*/ 791261 h 975512"/>
                  <a:gd name="connsiteX6" fmla="*/ 184252 w 975512"/>
                  <a:gd name="connsiteY6" fmla="*/ 487756 h 975512"/>
                  <a:gd name="connsiteX7" fmla="*/ 487756 w 975512"/>
                  <a:gd name="connsiteY7" fmla="*/ 184252 h 975512"/>
                  <a:gd name="connsiteX8" fmla="*/ 791261 w 975512"/>
                  <a:gd name="connsiteY8" fmla="*/ 487756 h 975512"/>
                  <a:gd name="connsiteX9" fmla="*/ 487756 w 975512"/>
                  <a:gd name="connsiteY9" fmla="*/ 791261 h 9755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75512" h="975512">
                    <a:moveTo>
                      <a:pt x="487756" y="0"/>
                    </a:moveTo>
                    <a:cubicBezTo>
                      <a:pt x="218808" y="0"/>
                      <a:pt x="0" y="218808"/>
                      <a:pt x="0" y="487756"/>
                    </a:cubicBezTo>
                    <a:cubicBezTo>
                      <a:pt x="0" y="756704"/>
                      <a:pt x="218808" y="975512"/>
                      <a:pt x="487756" y="975512"/>
                    </a:cubicBezTo>
                    <a:cubicBezTo>
                      <a:pt x="756723" y="975512"/>
                      <a:pt x="975512" y="756704"/>
                      <a:pt x="975512" y="487756"/>
                    </a:cubicBezTo>
                    <a:cubicBezTo>
                      <a:pt x="975512" y="218789"/>
                      <a:pt x="756704" y="0"/>
                      <a:pt x="487756" y="0"/>
                    </a:cubicBezTo>
                    <a:close/>
                    <a:moveTo>
                      <a:pt x="487756" y="791261"/>
                    </a:moveTo>
                    <a:cubicBezTo>
                      <a:pt x="320402" y="791261"/>
                      <a:pt x="184252" y="655110"/>
                      <a:pt x="184252" y="487756"/>
                    </a:cubicBezTo>
                    <a:cubicBezTo>
                      <a:pt x="184252" y="320402"/>
                      <a:pt x="320402" y="184252"/>
                      <a:pt x="487756" y="184252"/>
                    </a:cubicBezTo>
                    <a:cubicBezTo>
                      <a:pt x="655120" y="184252"/>
                      <a:pt x="791261" y="320402"/>
                      <a:pt x="791261" y="487756"/>
                    </a:cubicBezTo>
                    <a:cubicBezTo>
                      <a:pt x="791261" y="655110"/>
                      <a:pt x="655110" y="791261"/>
                      <a:pt x="487756" y="79126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37" name="Forme libre : forme 36">
                <a:extLst>
                  <a:ext uri="{FF2B5EF4-FFF2-40B4-BE49-F238E27FC236}">
                    <a16:creationId xmlns:a16="http://schemas.microsoft.com/office/drawing/2014/main" id="{534E025E-1704-405B-9879-E01865388E1A}"/>
                  </a:ext>
                </a:extLst>
              </p:cNvPr>
              <p:cNvSpPr/>
              <p:nvPr/>
            </p:nvSpPr>
            <p:spPr>
              <a:xfrm>
                <a:off x="5463282" y="2795358"/>
                <a:ext cx="1265472" cy="2093137"/>
              </a:xfrm>
              <a:custGeom>
                <a:avLst/>
                <a:gdLst>
                  <a:gd name="connsiteX0" fmla="*/ 1173337 w 1265472"/>
                  <a:gd name="connsiteY0" fmla="*/ 1602715 h 2093137"/>
                  <a:gd name="connsiteX1" fmla="*/ 1068438 w 1265472"/>
                  <a:gd name="connsiteY1" fmla="*/ 1602715 h 2093137"/>
                  <a:gd name="connsiteX2" fmla="*/ 1068438 w 1265472"/>
                  <a:gd name="connsiteY2" fmla="*/ 92126 h 2093137"/>
                  <a:gd name="connsiteX3" fmla="*/ 976313 w 1265472"/>
                  <a:gd name="connsiteY3" fmla="*/ 0 h 2093137"/>
                  <a:gd name="connsiteX4" fmla="*/ 92126 w 1265472"/>
                  <a:gd name="connsiteY4" fmla="*/ 0 h 2093137"/>
                  <a:gd name="connsiteX5" fmla="*/ 0 w 1265472"/>
                  <a:gd name="connsiteY5" fmla="*/ 92126 h 2093137"/>
                  <a:gd name="connsiteX6" fmla="*/ 0 w 1265472"/>
                  <a:gd name="connsiteY6" fmla="*/ 398288 h 2093137"/>
                  <a:gd name="connsiteX7" fmla="*/ 92126 w 1265472"/>
                  <a:gd name="connsiteY7" fmla="*/ 490414 h 2093137"/>
                  <a:gd name="connsiteX8" fmla="*/ 197025 w 1265472"/>
                  <a:gd name="connsiteY8" fmla="*/ 490414 h 2093137"/>
                  <a:gd name="connsiteX9" fmla="*/ 197025 w 1265472"/>
                  <a:gd name="connsiteY9" fmla="*/ 1602715 h 2093137"/>
                  <a:gd name="connsiteX10" fmla="*/ 92126 w 1265472"/>
                  <a:gd name="connsiteY10" fmla="*/ 1602715 h 2093137"/>
                  <a:gd name="connsiteX11" fmla="*/ 0 w 1265472"/>
                  <a:gd name="connsiteY11" fmla="*/ 1694840 h 2093137"/>
                  <a:gd name="connsiteX12" fmla="*/ 0 w 1265472"/>
                  <a:gd name="connsiteY12" fmla="*/ 2001002 h 2093137"/>
                  <a:gd name="connsiteX13" fmla="*/ 92126 w 1265472"/>
                  <a:gd name="connsiteY13" fmla="*/ 2093138 h 2093137"/>
                  <a:gd name="connsiteX14" fmla="*/ 1173347 w 1265472"/>
                  <a:gd name="connsiteY14" fmla="*/ 2093138 h 2093137"/>
                  <a:gd name="connsiteX15" fmla="*/ 1265473 w 1265472"/>
                  <a:gd name="connsiteY15" fmla="*/ 2001012 h 2093137"/>
                  <a:gd name="connsiteX16" fmla="*/ 1265473 w 1265472"/>
                  <a:gd name="connsiteY16" fmla="*/ 1694850 h 2093137"/>
                  <a:gd name="connsiteX17" fmla="*/ 1173337 w 1265472"/>
                  <a:gd name="connsiteY17" fmla="*/ 1602715 h 2093137"/>
                  <a:gd name="connsiteX18" fmla="*/ 1081202 w 1265472"/>
                  <a:gd name="connsiteY18" fmla="*/ 1908886 h 2093137"/>
                  <a:gd name="connsiteX19" fmla="*/ 184233 w 1265472"/>
                  <a:gd name="connsiteY19" fmla="*/ 1908886 h 2093137"/>
                  <a:gd name="connsiteX20" fmla="*/ 184233 w 1265472"/>
                  <a:gd name="connsiteY20" fmla="*/ 1786966 h 2093137"/>
                  <a:gd name="connsiteX21" fmla="*/ 289131 w 1265472"/>
                  <a:gd name="connsiteY21" fmla="*/ 1786966 h 2093137"/>
                  <a:gd name="connsiteX22" fmla="*/ 381257 w 1265472"/>
                  <a:gd name="connsiteY22" fmla="*/ 1694840 h 2093137"/>
                  <a:gd name="connsiteX23" fmla="*/ 381257 w 1265472"/>
                  <a:gd name="connsiteY23" fmla="*/ 398288 h 2093137"/>
                  <a:gd name="connsiteX24" fmla="*/ 289131 w 1265472"/>
                  <a:gd name="connsiteY24" fmla="*/ 306162 h 2093137"/>
                  <a:gd name="connsiteX25" fmla="*/ 184233 w 1265472"/>
                  <a:gd name="connsiteY25" fmla="*/ 306162 h 2093137"/>
                  <a:gd name="connsiteX26" fmla="*/ 184233 w 1265472"/>
                  <a:gd name="connsiteY26" fmla="*/ 184261 h 2093137"/>
                  <a:gd name="connsiteX27" fmla="*/ 884177 w 1265472"/>
                  <a:gd name="connsiteY27" fmla="*/ 184261 h 2093137"/>
                  <a:gd name="connsiteX28" fmla="*/ 884177 w 1265472"/>
                  <a:gd name="connsiteY28" fmla="*/ 1694860 h 2093137"/>
                  <a:gd name="connsiteX29" fmla="*/ 976303 w 1265472"/>
                  <a:gd name="connsiteY29" fmla="*/ 1786985 h 2093137"/>
                  <a:gd name="connsiteX30" fmla="*/ 1081202 w 1265472"/>
                  <a:gd name="connsiteY30" fmla="*/ 1786985 h 2093137"/>
                  <a:gd name="connsiteX31" fmla="*/ 1081202 w 1265472"/>
                  <a:gd name="connsiteY31" fmla="*/ 1908886 h 2093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265472" h="2093137">
                    <a:moveTo>
                      <a:pt x="1173337" y="1602715"/>
                    </a:moveTo>
                    <a:lnTo>
                      <a:pt x="1068438" y="1602715"/>
                    </a:lnTo>
                    <a:lnTo>
                      <a:pt x="1068438" y="92126"/>
                    </a:lnTo>
                    <a:cubicBezTo>
                      <a:pt x="1068438" y="41243"/>
                      <a:pt x="1027186" y="0"/>
                      <a:pt x="976313" y="0"/>
                    </a:cubicBezTo>
                    <a:lnTo>
                      <a:pt x="92126" y="0"/>
                    </a:lnTo>
                    <a:cubicBezTo>
                      <a:pt x="41243" y="0"/>
                      <a:pt x="0" y="41253"/>
                      <a:pt x="0" y="92126"/>
                    </a:cubicBezTo>
                    <a:lnTo>
                      <a:pt x="0" y="398288"/>
                    </a:lnTo>
                    <a:cubicBezTo>
                      <a:pt x="0" y="449170"/>
                      <a:pt x="41253" y="490414"/>
                      <a:pt x="92126" y="490414"/>
                    </a:cubicBezTo>
                    <a:lnTo>
                      <a:pt x="197025" y="490414"/>
                    </a:lnTo>
                    <a:lnTo>
                      <a:pt x="197025" y="1602715"/>
                    </a:lnTo>
                    <a:lnTo>
                      <a:pt x="92126" y="1602715"/>
                    </a:lnTo>
                    <a:cubicBezTo>
                      <a:pt x="41243" y="1602715"/>
                      <a:pt x="0" y="1643968"/>
                      <a:pt x="0" y="1694840"/>
                    </a:cubicBezTo>
                    <a:lnTo>
                      <a:pt x="0" y="2001002"/>
                    </a:lnTo>
                    <a:cubicBezTo>
                      <a:pt x="0" y="2051895"/>
                      <a:pt x="41253" y="2093138"/>
                      <a:pt x="92126" y="2093138"/>
                    </a:cubicBezTo>
                    <a:lnTo>
                      <a:pt x="1173347" y="2093138"/>
                    </a:lnTo>
                    <a:cubicBezTo>
                      <a:pt x="1224229" y="2093138"/>
                      <a:pt x="1265473" y="2051885"/>
                      <a:pt x="1265473" y="2001012"/>
                    </a:cubicBezTo>
                    <a:lnTo>
                      <a:pt x="1265473" y="1694850"/>
                    </a:lnTo>
                    <a:cubicBezTo>
                      <a:pt x="1265463" y="1643968"/>
                      <a:pt x="1224210" y="1602715"/>
                      <a:pt x="1173337" y="1602715"/>
                    </a:cubicBezTo>
                    <a:close/>
                    <a:moveTo>
                      <a:pt x="1081202" y="1908886"/>
                    </a:moveTo>
                    <a:lnTo>
                      <a:pt x="184233" y="1908886"/>
                    </a:lnTo>
                    <a:lnTo>
                      <a:pt x="184233" y="1786966"/>
                    </a:lnTo>
                    <a:lnTo>
                      <a:pt x="289131" y="1786966"/>
                    </a:lnTo>
                    <a:cubicBezTo>
                      <a:pt x="340014" y="1786966"/>
                      <a:pt x="381257" y="1745713"/>
                      <a:pt x="381257" y="1694840"/>
                    </a:cubicBezTo>
                    <a:lnTo>
                      <a:pt x="381257" y="398288"/>
                    </a:lnTo>
                    <a:cubicBezTo>
                      <a:pt x="381257" y="347405"/>
                      <a:pt x="340004" y="306162"/>
                      <a:pt x="289131" y="306162"/>
                    </a:cubicBezTo>
                    <a:lnTo>
                      <a:pt x="184233" y="306162"/>
                    </a:lnTo>
                    <a:lnTo>
                      <a:pt x="184233" y="184261"/>
                    </a:lnTo>
                    <a:lnTo>
                      <a:pt x="884177" y="184261"/>
                    </a:lnTo>
                    <a:lnTo>
                      <a:pt x="884177" y="1694860"/>
                    </a:lnTo>
                    <a:cubicBezTo>
                      <a:pt x="884177" y="1745742"/>
                      <a:pt x="925430" y="1786985"/>
                      <a:pt x="976303" y="1786985"/>
                    </a:cubicBezTo>
                    <a:lnTo>
                      <a:pt x="1081202" y="1786985"/>
                    </a:lnTo>
                    <a:lnTo>
                      <a:pt x="1081202" y="190888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225217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iapo. Exper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3BFD0DC3-0716-4FBA-8ECF-8B662AC29F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8720D9-317A-46AA-92A9-08AF7FA15874}" type="datetime1">
              <a:rPr lang="fr-FR" smtClean="0"/>
              <a:t>22/11/2022</a:t>
            </a:fld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4A0A80FB-47F2-40DE-8A78-6C494EB424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MEX – 9 avril 2021 - POUR INFORMATION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494889D4-E6AF-4419-A1C5-9F2A45273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2D038-4989-45BB-AD16-38E0E231338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67492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. avec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0EFC01D8-57EE-4CE7-A41E-E8137515BD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924" y="2533648"/>
            <a:ext cx="11110913" cy="3786190"/>
          </a:xfrm>
          <a:noFill/>
        </p:spPr>
        <p:txBody>
          <a:bodyPr lIns="0" tIns="360000" rIns="0" bIns="360000"/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1000"/>
              </a:spcAft>
              <a:defRPr sz="4000" cap="all" baseline="0">
                <a:solidFill>
                  <a:schemeClr val="tx1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defRPr sz="2400" b="1" cap="none" baseline="0"/>
            </a:lvl2pPr>
            <a:lvl3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/>
            </a:lvl3pPr>
            <a:lvl4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400" b="1" cap="none" baseline="0"/>
            </a:lvl4pPr>
            <a:lvl5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1"/>
                </a:solidFill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400" b="1" cap="none" baseline="0">
                <a:solidFill>
                  <a:schemeClr val="tx1"/>
                </a:solidFill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400" b="1" cap="none" baseline="0">
                <a:solidFill>
                  <a:schemeClr val="tx1"/>
                </a:solidFill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400" b="1" cap="none" baseline="0">
                <a:solidFill>
                  <a:schemeClr val="tx1"/>
                </a:solidFill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400" b="1" cap="none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fr-FR" dirty="0"/>
              <a:t>Lorem ipsum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br>
              <a:rPr lang="fr-FR" dirty="0"/>
            </a:br>
            <a:r>
              <a:rPr lang="fr-FR" dirty="0" err="1"/>
              <a:t>amet</a:t>
            </a:r>
            <a:r>
              <a:rPr lang="fr-FR" dirty="0"/>
              <a:t> consectetur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A52FDD7-76B5-4B8E-A008-DBC75B8F46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121400" y="6532412"/>
            <a:ext cx="2743200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3212E0B-7047-4374-B227-A14B37D8E2BB}" type="datetime1">
              <a:rPr lang="fr-FR" smtClean="0"/>
              <a:t>22/11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02BE54F-4953-4F0A-AA2E-99A3D6292F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Présentation SA « Produits </a:t>
            </a:r>
            <a:r>
              <a:rPr lang="fr-FR" dirty="0" err="1"/>
              <a:t>biosourcés</a:t>
            </a:r>
            <a:r>
              <a:rPr lang="fr-FR" dirty="0"/>
              <a:t>, biotechnologies industrielles, carburants durables »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35E73AA-FFC7-4E68-A1E5-2653FA5B5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3598" y="6511056"/>
            <a:ext cx="650240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C02D038-4989-45BB-AD16-38E0E231338A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0AB78A3F-8167-4616-AA74-6BA59ADC99B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38163" y="6318000"/>
            <a:ext cx="11113837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964" y="289926"/>
            <a:ext cx="2388882" cy="143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7838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uv. avec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pour une image  9">
            <a:extLst>
              <a:ext uri="{FF2B5EF4-FFF2-40B4-BE49-F238E27FC236}">
                <a16:creationId xmlns:a16="http://schemas.microsoft.com/office/drawing/2014/main" id="{D41AD266-2510-4D3C-ABB2-6DDD2A5A25D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42923" y="1321534"/>
            <a:ext cx="11649077" cy="4998304"/>
          </a:xfrm>
          <a:solidFill>
            <a:schemeClr val="bg2"/>
          </a:solidFill>
        </p:spPr>
        <p:txBody>
          <a:bodyPr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Image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3D7B1467-59D2-488A-A5B0-29A18B9A0F4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8571" y="2891246"/>
            <a:ext cx="10206000" cy="3428592"/>
          </a:xfrm>
          <a:noFill/>
        </p:spPr>
        <p:txBody>
          <a:bodyPr lIns="0" tIns="0" rIns="0" bIns="360000"/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1000"/>
              </a:spcAft>
              <a:defRPr sz="4000" cap="all" baseline="0">
                <a:solidFill>
                  <a:schemeClr val="tx1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defRPr sz="2400" b="1" cap="none" baseline="0"/>
            </a:lvl2pPr>
            <a:lvl3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/>
            </a:lvl3pPr>
            <a:lvl4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400" b="1" cap="none" baseline="0"/>
            </a:lvl4pPr>
            <a:lvl5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1"/>
                </a:solidFill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400" b="1" cap="none" baseline="0">
                <a:solidFill>
                  <a:schemeClr val="tx1"/>
                </a:solidFill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400" b="1" cap="none" baseline="0">
                <a:solidFill>
                  <a:schemeClr val="tx1"/>
                </a:solidFill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400" b="1" cap="none" baseline="0">
                <a:solidFill>
                  <a:schemeClr val="tx1"/>
                </a:solidFill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2400" b="1" cap="none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fr-FR" dirty="0"/>
              <a:t>Lorem ipsum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br>
              <a:rPr lang="fr-FR" dirty="0"/>
            </a:br>
            <a:r>
              <a:rPr lang="fr-FR" dirty="0" err="1"/>
              <a:t>amet</a:t>
            </a:r>
            <a:r>
              <a:rPr lang="fr-FR" dirty="0"/>
              <a:t> consectetur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A52FDD7-76B5-4B8E-A008-DBC75B8F4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CA40CE7-3588-4868-A742-C03A4FC9F025}" type="datetime1">
              <a:rPr lang="fr-FR" smtClean="0"/>
              <a:t>22/11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02BE54F-4953-4F0A-AA2E-99A3D6292F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COMEX – 9 avril 2021 - POUR INFORMATION</a:t>
            </a:r>
            <a:endParaRPr lang="fr-FR">
              <a:solidFill>
                <a:schemeClr val="tx1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35E73AA-FFC7-4E68-A1E5-2653FA5B5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3598" y="6511056"/>
            <a:ext cx="650240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C02D038-4989-45BB-AD16-38E0E231338A}" type="slidenum">
              <a:rPr lang="fr-FR" smtClean="0"/>
              <a:pPr/>
              <a:t>‹N°›</a:t>
            </a:fld>
            <a:endParaRPr lang="fr-FR" dirty="0"/>
          </a:p>
        </p:txBody>
      </p:sp>
      <p:grpSp>
        <p:nvGrpSpPr>
          <p:cNvPr id="21" name="Graphique 2">
            <a:extLst>
              <a:ext uri="{FF2B5EF4-FFF2-40B4-BE49-F238E27FC236}">
                <a16:creationId xmlns:a16="http://schemas.microsoft.com/office/drawing/2014/main" id="{4110A57E-9D94-48A5-B9EA-3EEA1C9AF31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40000" y="270000"/>
            <a:ext cx="432404" cy="504000"/>
            <a:chOff x="269557" y="269557"/>
            <a:chExt cx="1311592" cy="1528762"/>
          </a:xfrm>
        </p:grpSpPr>
        <p:sp>
          <p:nvSpPr>
            <p:cNvPr id="30" name="Forme libre : forme 29">
              <a:extLst>
                <a:ext uri="{FF2B5EF4-FFF2-40B4-BE49-F238E27FC236}">
                  <a16:creationId xmlns:a16="http://schemas.microsoft.com/office/drawing/2014/main" id="{4F1FA2EC-F16A-4F26-A340-7CE6C73237A3}"/>
                </a:ext>
              </a:extLst>
            </p:cNvPr>
            <p:cNvSpPr/>
            <p:nvPr/>
          </p:nvSpPr>
          <p:spPr>
            <a:xfrm>
              <a:off x="269557" y="1304925"/>
              <a:ext cx="693419" cy="493395"/>
            </a:xfrm>
            <a:custGeom>
              <a:avLst/>
              <a:gdLst>
                <a:gd name="connsiteX0" fmla="*/ 659130 w 693419"/>
                <a:gd name="connsiteY0" fmla="*/ 422910 h 493395"/>
                <a:gd name="connsiteX1" fmla="*/ 666750 w 693419"/>
                <a:gd name="connsiteY1" fmla="*/ 437197 h 493395"/>
                <a:gd name="connsiteX2" fmla="*/ 641033 w 693419"/>
                <a:gd name="connsiteY2" fmla="*/ 442913 h 493395"/>
                <a:gd name="connsiteX3" fmla="*/ 659130 w 693419"/>
                <a:gd name="connsiteY3" fmla="*/ 422910 h 493395"/>
                <a:gd name="connsiteX4" fmla="*/ 673418 w 693419"/>
                <a:gd name="connsiteY4" fmla="*/ 464820 h 493395"/>
                <a:gd name="connsiteX5" fmla="*/ 668655 w 693419"/>
                <a:gd name="connsiteY5" fmla="*/ 464820 h 493395"/>
                <a:gd name="connsiteX6" fmla="*/ 648653 w 693419"/>
                <a:gd name="connsiteY6" fmla="*/ 478155 h 493395"/>
                <a:gd name="connsiteX7" fmla="*/ 638175 w 693419"/>
                <a:gd name="connsiteY7" fmla="*/ 464820 h 493395"/>
                <a:gd name="connsiteX8" fmla="*/ 639128 w 693419"/>
                <a:gd name="connsiteY8" fmla="*/ 453390 h 493395"/>
                <a:gd name="connsiteX9" fmla="*/ 680085 w 693419"/>
                <a:gd name="connsiteY9" fmla="*/ 440055 h 493395"/>
                <a:gd name="connsiteX10" fmla="*/ 666750 w 693419"/>
                <a:gd name="connsiteY10" fmla="*/ 412433 h 493395"/>
                <a:gd name="connsiteX11" fmla="*/ 624840 w 693419"/>
                <a:gd name="connsiteY11" fmla="*/ 473392 h 493395"/>
                <a:gd name="connsiteX12" fmla="*/ 640080 w 693419"/>
                <a:gd name="connsiteY12" fmla="*/ 493395 h 493395"/>
                <a:gd name="connsiteX13" fmla="*/ 673418 w 693419"/>
                <a:gd name="connsiteY13" fmla="*/ 464820 h 493395"/>
                <a:gd name="connsiteX14" fmla="*/ 664845 w 693419"/>
                <a:gd name="connsiteY14" fmla="*/ 404813 h 493395"/>
                <a:gd name="connsiteX15" fmla="*/ 693420 w 693419"/>
                <a:gd name="connsiteY15" fmla="*/ 378142 h 493395"/>
                <a:gd name="connsiteX16" fmla="*/ 693420 w 693419"/>
                <a:gd name="connsiteY16" fmla="*/ 375285 h 493395"/>
                <a:gd name="connsiteX17" fmla="*/ 678180 w 693419"/>
                <a:gd name="connsiteY17" fmla="*/ 375285 h 493395"/>
                <a:gd name="connsiteX18" fmla="*/ 660083 w 693419"/>
                <a:gd name="connsiteY18" fmla="*/ 405765 h 493395"/>
                <a:gd name="connsiteX19" fmla="*/ 664845 w 693419"/>
                <a:gd name="connsiteY19" fmla="*/ 405765 h 493395"/>
                <a:gd name="connsiteX20" fmla="*/ 576263 w 693419"/>
                <a:gd name="connsiteY20" fmla="*/ 423863 h 493395"/>
                <a:gd name="connsiteX21" fmla="*/ 589598 w 693419"/>
                <a:gd name="connsiteY21" fmla="*/ 423863 h 493395"/>
                <a:gd name="connsiteX22" fmla="*/ 567690 w 693419"/>
                <a:gd name="connsiteY22" fmla="*/ 482917 h 493395"/>
                <a:gd name="connsiteX23" fmla="*/ 573405 w 693419"/>
                <a:gd name="connsiteY23" fmla="*/ 493395 h 493395"/>
                <a:gd name="connsiteX24" fmla="*/ 612458 w 693419"/>
                <a:gd name="connsiteY24" fmla="*/ 464820 h 493395"/>
                <a:gd name="connsiteX25" fmla="*/ 608648 w 693419"/>
                <a:gd name="connsiteY25" fmla="*/ 464820 h 493395"/>
                <a:gd name="connsiteX26" fmla="*/ 583883 w 693419"/>
                <a:gd name="connsiteY26" fmla="*/ 480060 h 493395"/>
                <a:gd name="connsiteX27" fmla="*/ 603885 w 693419"/>
                <a:gd name="connsiteY27" fmla="*/ 424815 h 493395"/>
                <a:gd name="connsiteX28" fmla="*/ 623888 w 693419"/>
                <a:gd name="connsiteY28" fmla="*/ 424815 h 493395"/>
                <a:gd name="connsiteX29" fmla="*/ 626745 w 693419"/>
                <a:gd name="connsiteY29" fmla="*/ 416242 h 493395"/>
                <a:gd name="connsiteX30" fmla="*/ 606743 w 693419"/>
                <a:gd name="connsiteY30" fmla="*/ 416242 h 493395"/>
                <a:gd name="connsiteX31" fmla="*/ 614363 w 693419"/>
                <a:gd name="connsiteY31" fmla="*/ 395288 h 493395"/>
                <a:gd name="connsiteX32" fmla="*/ 606743 w 693419"/>
                <a:gd name="connsiteY32" fmla="*/ 395288 h 493395"/>
                <a:gd name="connsiteX33" fmla="*/ 592455 w 693419"/>
                <a:gd name="connsiteY33" fmla="*/ 416242 h 493395"/>
                <a:gd name="connsiteX34" fmla="*/ 575310 w 693419"/>
                <a:gd name="connsiteY34" fmla="*/ 418147 h 493395"/>
                <a:gd name="connsiteX35" fmla="*/ 575310 w 693419"/>
                <a:gd name="connsiteY35" fmla="*/ 423863 h 493395"/>
                <a:gd name="connsiteX36" fmla="*/ 558165 w 693419"/>
                <a:gd name="connsiteY36" fmla="*/ 421005 h 493395"/>
                <a:gd name="connsiteX37" fmla="*/ 553403 w 693419"/>
                <a:gd name="connsiteY37" fmla="*/ 412433 h 493395"/>
                <a:gd name="connsiteX38" fmla="*/ 521970 w 693419"/>
                <a:gd name="connsiteY38" fmla="*/ 438150 h 493395"/>
                <a:gd name="connsiteX39" fmla="*/ 525780 w 693419"/>
                <a:gd name="connsiteY39" fmla="*/ 438150 h 493395"/>
                <a:gd name="connsiteX40" fmla="*/ 541973 w 693419"/>
                <a:gd name="connsiteY40" fmla="*/ 425767 h 493395"/>
                <a:gd name="connsiteX41" fmla="*/ 519113 w 693419"/>
                <a:gd name="connsiteY41" fmla="*/ 484822 h 493395"/>
                <a:gd name="connsiteX42" fmla="*/ 523875 w 693419"/>
                <a:gd name="connsiteY42" fmla="*/ 493395 h 493395"/>
                <a:gd name="connsiteX43" fmla="*/ 554355 w 693419"/>
                <a:gd name="connsiteY43" fmla="*/ 467678 h 493395"/>
                <a:gd name="connsiteX44" fmla="*/ 550545 w 693419"/>
                <a:gd name="connsiteY44" fmla="*/ 467678 h 493395"/>
                <a:gd name="connsiteX45" fmla="*/ 534353 w 693419"/>
                <a:gd name="connsiteY45" fmla="*/ 480060 h 493395"/>
                <a:gd name="connsiteX46" fmla="*/ 558165 w 693419"/>
                <a:gd name="connsiteY46" fmla="*/ 421005 h 493395"/>
                <a:gd name="connsiteX47" fmla="*/ 561975 w 693419"/>
                <a:gd name="connsiteY47" fmla="*/ 391478 h 493395"/>
                <a:gd name="connsiteX48" fmla="*/ 571500 w 693419"/>
                <a:gd name="connsiteY48" fmla="*/ 381953 h 493395"/>
                <a:gd name="connsiteX49" fmla="*/ 561975 w 693419"/>
                <a:gd name="connsiteY49" fmla="*/ 372428 h 493395"/>
                <a:gd name="connsiteX50" fmla="*/ 552450 w 693419"/>
                <a:gd name="connsiteY50" fmla="*/ 381953 h 493395"/>
                <a:gd name="connsiteX51" fmla="*/ 561975 w 693419"/>
                <a:gd name="connsiteY51" fmla="*/ 391478 h 493395"/>
                <a:gd name="connsiteX52" fmla="*/ 431483 w 693419"/>
                <a:gd name="connsiteY52" fmla="*/ 481965 h 493395"/>
                <a:gd name="connsiteX53" fmla="*/ 438150 w 693419"/>
                <a:gd name="connsiteY53" fmla="*/ 493395 h 493395"/>
                <a:gd name="connsiteX54" fmla="*/ 445770 w 693419"/>
                <a:gd name="connsiteY54" fmla="*/ 487680 h 493395"/>
                <a:gd name="connsiteX55" fmla="*/ 461963 w 693419"/>
                <a:gd name="connsiteY55" fmla="*/ 445770 h 493395"/>
                <a:gd name="connsiteX56" fmla="*/ 490538 w 693419"/>
                <a:gd name="connsiteY56" fmla="*/ 427672 h 493395"/>
                <a:gd name="connsiteX57" fmla="*/ 491490 w 693419"/>
                <a:gd name="connsiteY57" fmla="*/ 436245 h 493395"/>
                <a:gd name="connsiteX58" fmla="*/ 467678 w 693419"/>
                <a:gd name="connsiteY58" fmla="*/ 482917 h 493395"/>
                <a:gd name="connsiteX59" fmla="*/ 473393 w 693419"/>
                <a:gd name="connsiteY59" fmla="*/ 493395 h 493395"/>
                <a:gd name="connsiteX60" fmla="*/ 504825 w 693419"/>
                <a:gd name="connsiteY60" fmla="*/ 467678 h 493395"/>
                <a:gd name="connsiteX61" fmla="*/ 501015 w 693419"/>
                <a:gd name="connsiteY61" fmla="*/ 467678 h 493395"/>
                <a:gd name="connsiteX62" fmla="*/ 484822 w 693419"/>
                <a:gd name="connsiteY62" fmla="*/ 480060 h 493395"/>
                <a:gd name="connsiteX63" fmla="*/ 505778 w 693419"/>
                <a:gd name="connsiteY63" fmla="*/ 438150 h 493395"/>
                <a:gd name="connsiteX64" fmla="*/ 509588 w 693419"/>
                <a:gd name="connsiteY64" fmla="*/ 423863 h 493395"/>
                <a:gd name="connsiteX65" fmla="*/ 498158 w 693419"/>
                <a:gd name="connsiteY65" fmla="*/ 412433 h 493395"/>
                <a:gd name="connsiteX66" fmla="*/ 464820 w 693419"/>
                <a:gd name="connsiteY66" fmla="*/ 438150 h 493395"/>
                <a:gd name="connsiteX67" fmla="*/ 464820 w 693419"/>
                <a:gd name="connsiteY67" fmla="*/ 426720 h 493395"/>
                <a:gd name="connsiteX68" fmla="*/ 455295 w 693419"/>
                <a:gd name="connsiteY68" fmla="*/ 411480 h 493395"/>
                <a:gd name="connsiteX69" fmla="*/ 442913 w 693419"/>
                <a:gd name="connsiteY69" fmla="*/ 421005 h 493395"/>
                <a:gd name="connsiteX70" fmla="*/ 442913 w 693419"/>
                <a:gd name="connsiteY70" fmla="*/ 422910 h 493395"/>
                <a:gd name="connsiteX71" fmla="*/ 448628 w 693419"/>
                <a:gd name="connsiteY71" fmla="*/ 445770 h 493395"/>
                <a:gd name="connsiteX72" fmla="*/ 431483 w 693419"/>
                <a:gd name="connsiteY72" fmla="*/ 481965 h 493395"/>
                <a:gd name="connsiteX73" fmla="*/ 431483 w 693419"/>
                <a:gd name="connsiteY73" fmla="*/ 430530 h 493395"/>
                <a:gd name="connsiteX74" fmla="*/ 425768 w 693419"/>
                <a:gd name="connsiteY74" fmla="*/ 412433 h 493395"/>
                <a:gd name="connsiteX75" fmla="*/ 405765 w 693419"/>
                <a:gd name="connsiteY75" fmla="*/ 438150 h 493395"/>
                <a:gd name="connsiteX76" fmla="*/ 405765 w 693419"/>
                <a:gd name="connsiteY76" fmla="*/ 426720 h 493395"/>
                <a:gd name="connsiteX77" fmla="*/ 396240 w 693419"/>
                <a:gd name="connsiteY77" fmla="*/ 411480 h 493395"/>
                <a:gd name="connsiteX78" fmla="*/ 374333 w 693419"/>
                <a:gd name="connsiteY78" fmla="*/ 437197 h 493395"/>
                <a:gd name="connsiteX79" fmla="*/ 378143 w 693419"/>
                <a:gd name="connsiteY79" fmla="*/ 437197 h 493395"/>
                <a:gd name="connsiteX80" fmla="*/ 388620 w 693419"/>
                <a:gd name="connsiteY80" fmla="*/ 427672 h 493395"/>
                <a:gd name="connsiteX81" fmla="*/ 388620 w 693419"/>
                <a:gd name="connsiteY81" fmla="*/ 445770 h 493395"/>
                <a:gd name="connsiteX82" fmla="*/ 372428 w 693419"/>
                <a:gd name="connsiteY82" fmla="*/ 481013 h 493395"/>
                <a:gd name="connsiteX83" fmla="*/ 379095 w 693419"/>
                <a:gd name="connsiteY83" fmla="*/ 492442 h 493395"/>
                <a:gd name="connsiteX84" fmla="*/ 386715 w 693419"/>
                <a:gd name="connsiteY84" fmla="*/ 486728 h 493395"/>
                <a:gd name="connsiteX85" fmla="*/ 402908 w 693419"/>
                <a:gd name="connsiteY85" fmla="*/ 444817 h 493395"/>
                <a:gd name="connsiteX86" fmla="*/ 416243 w 693419"/>
                <a:gd name="connsiteY86" fmla="*/ 429578 h 493395"/>
                <a:gd name="connsiteX87" fmla="*/ 431483 w 693419"/>
                <a:gd name="connsiteY87" fmla="*/ 429578 h 493395"/>
                <a:gd name="connsiteX88" fmla="*/ 340043 w 693419"/>
                <a:gd name="connsiteY88" fmla="*/ 422910 h 493395"/>
                <a:gd name="connsiteX89" fmla="*/ 347663 w 693419"/>
                <a:gd name="connsiteY89" fmla="*/ 437197 h 493395"/>
                <a:gd name="connsiteX90" fmla="*/ 321945 w 693419"/>
                <a:gd name="connsiteY90" fmla="*/ 442913 h 493395"/>
                <a:gd name="connsiteX91" fmla="*/ 340043 w 693419"/>
                <a:gd name="connsiteY91" fmla="*/ 422910 h 493395"/>
                <a:gd name="connsiteX92" fmla="*/ 354330 w 693419"/>
                <a:gd name="connsiteY92" fmla="*/ 464820 h 493395"/>
                <a:gd name="connsiteX93" fmla="*/ 349568 w 693419"/>
                <a:gd name="connsiteY93" fmla="*/ 464820 h 493395"/>
                <a:gd name="connsiteX94" fmla="*/ 329565 w 693419"/>
                <a:gd name="connsiteY94" fmla="*/ 478155 h 493395"/>
                <a:gd name="connsiteX95" fmla="*/ 319088 w 693419"/>
                <a:gd name="connsiteY95" fmla="*/ 464820 h 493395"/>
                <a:gd name="connsiteX96" fmla="*/ 320040 w 693419"/>
                <a:gd name="connsiteY96" fmla="*/ 453390 h 493395"/>
                <a:gd name="connsiteX97" fmla="*/ 360997 w 693419"/>
                <a:gd name="connsiteY97" fmla="*/ 440055 h 493395"/>
                <a:gd name="connsiteX98" fmla="*/ 347663 w 693419"/>
                <a:gd name="connsiteY98" fmla="*/ 412433 h 493395"/>
                <a:gd name="connsiteX99" fmla="*/ 305753 w 693419"/>
                <a:gd name="connsiteY99" fmla="*/ 473392 h 493395"/>
                <a:gd name="connsiteX100" fmla="*/ 320993 w 693419"/>
                <a:gd name="connsiteY100" fmla="*/ 493395 h 493395"/>
                <a:gd name="connsiteX101" fmla="*/ 354330 w 693419"/>
                <a:gd name="connsiteY101" fmla="*/ 464820 h 493395"/>
                <a:gd name="connsiteX102" fmla="*/ 257175 w 693419"/>
                <a:gd name="connsiteY102" fmla="*/ 423863 h 493395"/>
                <a:gd name="connsiteX103" fmla="*/ 270510 w 693419"/>
                <a:gd name="connsiteY103" fmla="*/ 423863 h 493395"/>
                <a:gd name="connsiteX104" fmla="*/ 248603 w 693419"/>
                <a:gd name="connsiteY104" fmla="*/ 482917 h 493395"/>
                <a:gd name="connsiteX105" fmla="*/ 254318 w 693419"/>
                <a:gd name="connsiteY105" fmla="*/ 493395 h 493395"/>
                <a:gd name="connsiteX106" fmla="*/ 293370 w 693419"/>
                <a:gd name="connsiteY106" fmla="*/ 464820 h 493395"/>
                <a:gd name="connsiteX107" fmla="*/ 289560 w 693419"/>
                <a:gd name="connsiteY107" fmla="*/ 464820 h 493395"/>
                <a:gd name="connsiteX108" fmla="*/ 264795 w 693419"/>
                <a:gd name="connsiteY108" fmla="*/ 480060 h 493395"/>
                <a:gd name="connsiteX109" fmla="*/ 284798 w 693419"/>
                <a:gd name="connsiteY109" fmla="*/ 424815 h 493395"/>
                <a:gd name="connsiteX110" fmla="*/ 304800 w 693419"/>
                <a:gd name="connsiteY110" fmla="*/ 424815 h 493395"/>
                <a:gd name="connsiteX111" fmla="*/ 307658 w 693419"/>
                <a:gd name="connsiteY111" fmla="*/ 416242 h 493395"/>
                <a:gd name="connsiteX112" fmla="*/ 287655 w 693419"/>
                <a:gd name="connsiteY112" fmla="*/ 416242 h 493395"/>
                <a:gd name="connsiteX113" fmla="*/ 295275 w 693419"/>
                <a:gd name="connsiteY113" fmla="*/ 395288 h 493395"/>
                <a:gd name="connsiteX114" fmla="*/ 287655 w 693419"/>
                <a:gd name="connsiteY114" fmla="*/ 395288 h 493395"/>
                <a:gd name="connsiteX115" fmla="*/ 273368 w 693419"/>
                <a:gd name="connsiteY115" fmla="*/ 416242 h 493395"/>
                <a:gd name="connsiteX116" fmla="*/ 256223 w 693419"/>
                <a:gd name="connsiteY116" fmla="*/ 418147 h 493395"/>
                <a:gd name="connsiteX117" fmla="*/ 256223 w 693419"/>
                <a:gd name="connsiteY117" fmla="*/ 423863 h 493395"/>
                <a:gd name="connsiteX118" fmla="*/ 181928 w 693419"/>
                <a:gd name="connsiteY118" fmla="*/ 469583 h 493395"/>
                <a:gd name="connsiteX119" fmla="*/ 213360 w 693419"/>
                <a:gd name="connsiteY119" fmla="*/ 426720 h 493395"/>
                <a:gd name="connsiteX120" fmla="*/ 220028 w 693419"/>
                <a:gd name="connsiteY120" fmla="*/ 427672 h 493395"/>
                <a:gd name="connsiteX121" fmla="*/ 208598 w 693419"/>
                <a:gd name="connsiteY121" fmla="*/ 459105 h 493395"/>
                <a:gd name="connsiteX122" fmla="*/ 186690 w 693419"/>
                <a:gd name="connsiteY122" fmla="*/ 477203 h 493395"/>
                <a:gd name="connsiteX123" fmla="*/ 181928 w 693419"/>
                <a:gd name="connsiteY123" fmla="*/ 469583 h 493395"/>
                <a:gd name="connsiteX124" fmla="*/ 244793 w 693419"/>
                <a:gd name="connsiteY124" fmla="*/ 408622 h 493395"/>
                <a:gd name="connsiteX125" fmla="*/ 238125 w 693419"/>
                <a:gd name="connsiteY125" fmla="*/ 408622 h 493395"/>
                <a:gd name="connsiteX126" fmla="*/ 231458 w 693419"/>
                <a:gd name="connsiteY126" fmla="*/ 415290 h 493395"/>
                <a:gd name="connsiteX127" fmla="*/ 229553 w 693419"/>
                <a:gd name="connsiteY127" fmla="*/ 415290 h 493395"/>
                <a:gd name="connsiteX128" fmla="*/ 166688 w 693419"/>
                <a:gd name="connsiteY128" fmla="*/ 481013 h 493395"/>
                <a:gd name="connsiteX129" fmla="*/ 179070 w 693419"/>
                <a:gd name="connsiteY129" fmla="*/ 493395 h 493395"/>
                <a:gd name="connsiteX130" fmla="*/ 205740 w 693419"/>
                <a:gd name="connsiteY130" fmla="*/ 467678 h 493395"/>
                <a:gd name="connsiteX131" fmla="*/ 205740 w 693419"/>
                <a:gd name="connsiteY131" fmla="*/ 472440 h 493395"/>
                <a:gd name="connsiteX132" fmla="*/ 216218 w 693419"/>
                <a:gd name="connsiteY132" fmla="*/ 493395 h 493395"/>
                <a:gd name="connsiteX133" fmla="*/ 238125 w 693419"/>
                <a:gd name="connsiteY133" fmla="*/ 467678 h 493395"/>
                <a:gd name="connsiteX134" fmla="*/ 234315 w 693419"/>
                <a:gd name="connsiteY134" fmla="*/ 467678 h 493395"/>
                <a:gd name="connsiteX135" fmla="*/ 223838 w 693419"/>
                <a:gd name="connsiteY135" fmla="*/ 477203 h 493395"/>
                <a:gd name="connsiteX136" fmla="*/ 223838 w 693419"/>
                <a:gd name="connsiteY136" fmla="*/ 459105 h 493395"/>
                <a:gd name="connsiteX137" fmla="*/ 244793 w 693419"/>
                <a:gd name="connsiteY137" fmla="*/ 408622 h 493395"/>
                <a:gd name="connsiteX138" fmla="*/ 172403 w 693419"/>
                <a:gd name="connsiteY138" fmla="*/ 430530 h 493395"/>
                <a:gd name="connsiteX139" fmla="*/ 166688 w 693419"/>
                <a:gd name="connsiteY139" fmla="*/ 412433 h 493395"/>
                <a:gd name="connsiteX140" fmla="*/ 146685 w 693419"/>
                <a:gd name="connsiteY140" fmla="*/ 438150 h 493395"/>
                <a:gd name="connsiteX141" fmla="*/ 146685 w 693419"/>
                <a:gd name="connsiteY141" fmla="*/ 426720 h 493395"/>
                <a:gd name="connsiteX142" fmla="*/ 137160 w 693419"/>
                <a:gd name="connsiteY142" fmla="*/ 411480 h 493395"/>
                <a:gd name="connsiteX143" fmla="*/ 115253 w 693419"/>
                <a:gd name="connsiteY143" fmla="*/ 437197 h 493395"/>
                <a:gd name="connsiteX144" fmla="*/ 119063 w 693419"/>
                <a:gd name="connsiteY144" fmla="*/ 437197 h 493395"/>
                <a:gd name="connsiteX145" fmla="*/ 129540 w 693419"/>
                <a:gd name="connsiteY145" fmla="*/ 427672 h 493395"/>
                <a:gd name="connsiteX146" fmla="*/ 129540 w 693419"/>
                <a:gd name="connsiteY146" fmla="*/ 445770 h 493395"/>
                <a:gd name="connsiteX147" fmla="*/ 113348 w 693419"/>
                <a:gd name="connsiteY147" fmla="*/ 481013 h 493395"/>
                <a:gd name="connsiteX148" fmla="*/ 120015 w 693419"/>
                <a:gd name="connsiteY148" fmla="*/ 492442 h 493395"/>
                <a:gd name="connsiteX149" fmla="*/ 127635 w 693419"/>
                <a:gd name="connsiteY149" fmla="*/ 486728 h 493395"/>
                <a:gd name="connsiteX150" fmla="*/ 143828 w 693419"/>
                <a:gd name="connsiteY150" fmla="*/ 444817 h 493395"/>
                <a:gd name="connsiteX151" fmla="*/ 157163 w 693419"/>
                <a:gd name="connsiteY151" fmla="*/ 429578 h 493395"/>
                <a:gd name="connsiteX152" fmla="*/ 172403 w 693419"/>
                <a:gd name="connsiteY152" fmla="*/ 429578 h 493395"/>
                <a:gd name="connsiteX153" fmla="*/ 59055 w 693419"/>
                <a:gd name="connsiteY153" fmla="*/ 489585 h 493395"/>
                <a:gd name="connsiteX154" fmla="*/ 60960 w 693419"/>
                <a:gd name="connsiteY154" fmla="*/ 484822 h 493395"/>
                <a:gd name="connsiteX155" fmla="*/ 46673 w 693419"/>
                <a:gd name="connsiteY155" fmla="*/ 460058 h 493395"/>
                <a:gd name="connsiteX156" fmla="*/ 54293 w 693419"/>
                <a:gd name="connsiteY156" fmla="*/ 438150 h 493395"/>
                <a:gd name="connsiteX157" fmla="*/ 76200 w 693419"/>
                <a:gd name="connsiteY157" fmla="*/ 438150 h 493395"/>
                <a:gd name="connsiteX158" fmla="*/ 84773 w 693419"/>
                <a:gd name="connsiteY158" fmla="*/ 452438 h 493395"/>
                <a:gd name="connsiteX159" fmla="*/ 90488 w 693419"/>
                <a:gd name="connsiteY159" fmla="*/ 452438 h 493395"/>
                <a:gd name="connsiteX160" fmla="*/ 103823 w 693419"/>
                <a:gd name="connsiteY160" fmla="*/ 416242 h 493395"/>
                <a:gd name="connsiteX161" fmla="*/ 98107 w 693419"/>
                <a:gd name="connsiteY161" fmla="*/ 416242 h 493395"/>
                <a:gd name="connsiteX162" fmla="*/ 79057 w 693419"/>
                <a:gd name="connsiteY162" fmla="*/ 430530 h 493395"/>
                <a:gd name="connsiteX163" fmla="*/ 57150 w 693419"/>
                <a:gd name="connsiteY163" fmla="*/ 430530 h 493395"/>
                <a:gd name="connsiteX164" fmla="*/ 68580 w 693419"/>
                <a:gd name="connsiteY164" fmla="*/ 399097 h 493395"/>
                <a:gd name="connsiteX165" fmla="*/ 87630 w 693419"/>
                <a:gd name="connsiteY165" fmla="*/ 386715 h 493395"/>
                <a:gd name="connsiteX166" fmla="*/ 97155 w 693419"/>
                <a:gd name="connsiteY166" fmla="*/ 386715 h 493395"/>
                <a:gd name="connsiteX167" fmla="*/ 112395 w 693419"/>
                <a:gd name="connsiteY167" fmla="*/ 404813 h 493395"/>
                <a:gd name="connsiteX168" fmla="*/ 118110 w 693419"/>
                <a:gd name="connsiteY168" fmla="*/ 404813 h 493395"/>
                <a:gd name="connsiteX169" fmla="*/ 122873 w 693419"/>
                <a:gd name="connsiteY169" fmla="*/ 380047 h 493395"/>
                <a:gd name="connsiteX170" fmla="*/ 40957 w 693419"/>
                <a:gd name="connsiteY170" fmla="*/ 380047 h 493395"/>
                <a:gd name="connsiteX171" fmla="*/ 39053 w 693419"/>
                <a:gd name="connsiteY171" fmla="*/ 384810 h 493395"/>
                <a:gd name="connsiteX172" fmla="*/ 48578 w 693419"/>
                <a:gd name="connsiteY172" fmla="*/ 409575 h 493395"/>
                <a:gd name="connsiteX173" fmla="*/ 30480 w 693419"/>
                <a:gd name="connsiteY173" fmla="*/ 458153 h 493395"/>
                <a:gd name="connsiteX174" fmla="*/ 1905 w 693419"/>
                <a:gd name="connsiteY174" fmla="*/ 482917 h 493395"/>
                <a:gd name="connsiteX175" fmla="*/ 953 w 693419"/>
                <a:gd name="connsiteY175" fmla="*/ 487680 h 493395"/>
                <a:gd name="connsiteX176" fmla="*/ 59055 w 693419"/>
                <a:gd name="connsiteY176" fmla="*/ 487680 h 493395"/>
                <a:gd name="connsiteX177" fmla="*/ 460058 w 693419"/>
                <a:gd name="connsiteY177" fmla="*/ 238125 h 493395"/>
                <a:gd name="connsiteX178" fmla="*/ 467678 w 693419"/>
                <a:gd name="connsiteY178" fmla="*/ 252413 h 493395"/>
                <a:gd name="connsiteX179" fmla="*/ 441960 w 693419"/>
                <a:gd name="connsiteY179" fmla="*/ 258128 h 493395"/>
                <a:gd name="connsiteX180" fmla="*/ 460058 w 693419"/>
                <a:gd name="connsiteY180" fmla="*/ 238125 h 493395"/>
                <a:gd name="connsiteX181" fmla="*/ 474345 w 693419"/>
                <a:gd name="connsiteY181" fmla="*/ 279083 h 493395"/>
                <a:gd name="connsiteX182" fmla="*/ 469583 w 693419"/>
                <a:gd name="connsiteY182" fmla="*/ 279083 h 493395"/>
                <a:gd name="connsiteX183" fmla="*/ 449580 w 693419"/>
                <a:gd name="connsiteY183" fmla="*/ 292417 h 493395"/>
                <a:gd name="connsiteX184" fmla="*/ 439103 w 693419"/>
                <a:gd name="connsiteY184" fmla="*/ 279083 h 493395"/>
                <a:gd name="connsiteX185" fmla="*/ 440055 w 693419"/>
                <a:gd name="connsiteY185" fmla="*/ 267653 h 493395"/>
                <a:gd name="connsiteX186" fmla="*/ 481013 w 693419"/>
                <a:gd name="connsiteY186" fmla="*/ 254317 h 493395"/>
                <a:gd name="connsiteX187" fmla="*/ 467678 w 693419"/>
                <a:gd name="connsiteY187" fmla="*/ 226695 h 493395"/>
                <a:gd name="connsiteX188" fmla="*/ 425768 w 693419"/>
                <a:gd name="connsiteY188" fmla="*/ 287655 h 493395"/>
                <a:gd name="connsiteX189" fmla="*/ 441008 w 693419"/>
                <a:gd name="connsiteY189" fmla="*/ 307658 h 493395"/>
                <a:gd name="connsiteX190" fmla="*/ 474345 w 693419"/>
                <a:gd name="connsiteY190" fmla="*/ 279083 h 493395"/>
                <a:gd name="connsiteX191" fmla="*/ 466725 w 693419"/>
                <a:gd name="connsiteY191" fmla="*/ 219075 h 493395"/>
                <a:gd name="connsiteX192" fmla="*/ 495300 w 693419"/>
                <a:gd name="connsiteY192" fmla="*/ 192405 h 493395"/>
                <a:gd name="connsiteX193" fmla="*/ 495300 w 693419"/>
                <a:gd name="connsiteY193" fmla="*/ 189547 h 493395"/>
                <a:gd name="connsiteX194" fmla="*/ 480060 w 693419"/>
                <a:gd name="connsiteY194" fmla="*/ 189547 h 493395"/>
                <a:gd name="connsiteX195" fmla="*/ 461963 w 693419"/>
                <a:gd name="connsiteY195" fmla="*/ 220028 h 493395"/>
                <a:gd name="connsiteX196" fmla="*/ 466725 w 693419"/>
                <a:gd name="connsiteY196" fmla="*/ 220028 h 493395"/>
                <a:gd name="connsiteX197" fmla="*/ 378143 w 693419"/>
                <a:gd name="connsiteY197" fmla="*/ 238125 h 493395"/>
                <a:gd name="connsiteX198" fmla="*/ 391478 w 693419"/>
                <a:gd name="connsiteY198" fmla="*/ 238125 h 493395"/>
                <a:gd name="connsiteX199" fmla="*/ 369570 w 693419"/>
                <a:gd name="connsiteY199" fmla="*/ 297180 h 493395"/>
                <a:gd name="connsiteX200" fmla="*/ 375285 w 693419"/>
                <a:gd name="connsiteY200" fmla="*/ 307658 h 493395"/>
                <a:gd name="connsiteX201" fmla="*/ 414338 w 693419"/>
                <a:gd name="connsiteY201" fmla="*/ 279083 h 493395"/>
                <a:gd name="connsiteX202" fmla="*/ 410528 w 693419"/>
                <a:gd name="connsiteY202" fmla="*/ 279083 h 493395"/>
                <a:gd name="connsiteX203" fmla="*/ 385763 w 693419"/>
                <a:gd name="connsiteY203" fmla="*/ 294322 h 493395"/>
                <a:gd name="connsiteX204" fmla="*/ 405765 w 693419"/>
                <a:gd name="connsiteY204" fmla="*/ 239078 h 493395"/>
                <a:gd name="connsiteX205" fmla="*/ 425768 w 693419"/>
                <a:gd name="connsiteY205" fmla="*/ 239078 h 493395"/>
                <a:gd name="connsiteX206" fmla="*/ 428625 w 693419"/>
                <a:gd name="connsiteY206" fmla="*/ 230505 h 493395"/>
                <a:gd name="connsiteX207" fmla="*/ 408622 w 693419"/>
                <a:gd name="connsiteY207" fmla="*/ 230505 h 493395"/>
                <a:gd name="connsiteX208" fmla="*/ 416243 w 693419"/>
                <a:gd name="connsiteY208" fmla="*/ 209550 h 493395"/>
                <a:gd name="connsiteX209" fmla="*/ 408622 w 693419"/>
                <a:gd name="connsiteY209" fmla="*/ 209550 h 493395"/>
                <a:gd name="connsiteX210" fmla="*/ 394335 w 693419"/>
                <a:gd name="connsiteY210" fmla="*/ 230505 h 493395"/>
                <a:gd name="connsiteX211" fmla="*/ 377190 w 693419"/>
                <a:gd name="connsiteY211" fmla="*/ 232410 h 493395"/>
                <a:gd name="connsiteX212" fmla="*/ 377190 w 693419"/>
                <a:gd name="connsiteY212" fmla="*/ 238125 h 493395"/>
                <a:gd name="connsiteX213" fmla="*/ 359093 w 693419"/>
                <a:gd name="connsiteY213" fmla="*/ 235267 h 493395"/>
                <a:gd name="connsiteX214" fmla="*/ 354330 w 693419"/>
                <a:gd name="connsiteY214" fmla="*/ 226695 h 493395"/>
                <a:gd name="connsiteX215" fmla="*/ 322898 w 693419"/>
                <a:gd name="connsiteY215" fmla="*/ 252413 h 493395"/>
                <a:gd name="connsiteX216" fmla="*/ 326708 w 693419"/>
                <a:gd name="connsiteY216" fmla="*/ 252413 h 493395"/>
                <a:gd name="connsiteX217" fmla="*/ 342900 w 693419"/>
                <a:gd name="connsiteY217" fmla="*/ 240030 h 493395"/>
                <a:gd name="connsiteX218" fmla="*/ 320040 w 693419"/>
                <a:gd name="connsiteY218" fmla="*/ 299085 h 493395"/>
                <a:gd name="connsiteX219" fmla="*/ 324803 w 693419"/>
                <a:gd name="connsiteY219" fmla="*/ 307658 h 493395"/>
                <a:gd name="connsiteX220" fmla="*/ 355283 w 693419"/>
                <a:gd name="connsiteY220" fmla="*/ 281940 h 493395"/>
                <a:gd name="connsiteX221" fmla="*/ 351472 w 693419"/>
                <a:gd name="connsiteY221" fmla="*/ 281940 h 493395"/>
                <a:gd name="connsiteX222" fmla="*/ 335280 w 693419"/>
                <a:gd name="connsiteY222" fmla="*/ 294322 h 493395"/>
                <a:gd name="connsiteX223" fmla="*/ 359093 w 693419"/>
                <a:gd name="connsiteY223" fmla="*/ 235267 h 493395"/>
                <a:gd name="connsiteX224" fmla="*/ 363855 w 693419"/>
                <a:gd name="connsiteY224" fmla="*/ 205740 h 493395"/>
                <a:gd name="connsiteX225" fmla="*/ 373380 w 693419"/>
                <a:gd name="connsiteY225" fmla="*/ 196215 h 493395"/>
                <a:gd name="connsiteX226" fmla="*/ 363855 w 693419"/>
                <a:gd name="connsiteY226" fmla="*/ 186690 h 493395"/>
                <a:gd name="connsiteX227" fmla="*/ 354330 w 693419"/>
                <a:gd name="connsiteY227" fmla="*/ 196215 h 493395"/>
                <a:gd name="connsiteX228" fmla="*/ 363855 w 693419"/>
                <a:gd name="connsiteY228" fmla="*/ 205740 h 493395"/>
                <a:gd name="connsiteX229" fmla="*/ 284798 w 693419"/>
                <a:gd name="connsiteY229" fmla="*/ 294322 h 493395"/>
                <a:gd name="connsiteX230" fmla="*/ 325755 w 693419"/>
                <a:gd name="connsiteY230" fmla="*/ 185738 h 493395"/>
                <a:gd name="connsiteX231" fmla="*/ 324803 w 693419"/>
                <a:gd name="connsiteY231" fmla="*/ 183833 h 493395"/>
                <a:gd name="connsiteX232" fmla="*/ 299085 w 693419"/>
                <a:gd name="connsiteY232" fmla="*/ 186690 h 493395"/>
                <a:gd name="connsiteX233" fmla="*/ 299085 w 693419"/>
                <a:gd name="connsiteY233" fmla="*/ 189547 h 493395"/>
                <a:gd name="connsiteX234" fmla="*/ 303848 w 693419"/>
                <a:gd name="connsiteY234" fmla="*/ 193358 h 493395"/>
                <a:gd name="connsiteX235" fmla="*/ 302895 w 693419"/>
                <a:gd name="connsiteY235" fmla="*/ 211455 h 493395"/>
                <a:gd name="connsiteX236" fmla="*/ 270510 w 693419"/>
                <a:gd name="connsiteY236" fmla="*/ 296228 h 493395"/>
                <a:gd name="connsiteX237" fmla="*/ 276225 w 693419"/>
                <a:gd name="connsiteY237" fmla="*/ 306705 h 493395"/>
                <a:gd name="connsiteX238" fmla="*/ 306705 w 693419"/>
                <a:gd name="connsiteY238" fmla="*/ 280988 h 493395"/>
                <a:gd name="connsiteX239" fmla="*/ 302895 w 693419"/>
                <a:gd name="connsiteY239" fmla="*/ 280988 h 493395"/>
                <a:gd name="connsiteX240" fmla="*/ 284798 w 693419"/>
                <a:gd name="connsiteY240" fmla="*/ 294322 h 493395"/>
                <a:gd name="connsiteX241" fmla="*/ 205740 w 693419"/>
                <a:gd name="connsiteY241" fmla="*/ 284797 h 493395"/>
                <a:gd name="connsiteX242" fmla="*/ 237173 w 693419"/>
                <a:gd name="connsiteY242" fmla="*/ 241935 h 493395"/>
                <a:gd name="connsiteX243" fmla="*/ 243840 w 693419"/>
                <a:gd name="connsiteY243" fmla="*/ 242888 h 493395"/>
                <a:gd name="connsiteX244" fmla="*/ 232410 w 693419"/>
                <a:gd name="connsiteY244" fmla="*/ 274320 h 493395"/>
                <a:gd name="connsiteX245" fmla="*/ 210503 w 693419"/>
                <a:gd name="connsiteY245" fmla="*/ 292417 h 493395"/>
                <a:gd name="connsiteX246" fmla="*/ 205740 w 693419"/>
                <a:gd name="connsiteY246" fmla="*/ 284797 h 493395"/>
                <a:gd name="connsiteX247" fmla="*/ 268605 w 693419"/>
                <a:gd name="connsiteY247" fmla="*/ 223838 h 493395"/>
                <a:gd name="connsiteX248" fmla="*/ 261938 w 693419"/>
                <a:gd name="connsiteY248" fmla="*/ 223838 h 493395"/>
                <a:gd name="connsiteX249" fmla="*/ 255270 w 693419"/>
                <a:gd name="connsiteY249" fmla="*/ 230505 h 493395"/>
                <a:gd name="connsiteX250" fmla="*/ 253365 w 693419"/>
                <a:gd name="connsiteY250" fmla="*/ 230505 h 493395"/>
                <a:gd name="connsiteX251" fmla="*/ 190500 w 693419"/>
                <a:gd name="connsiteY251" fmla="*/ 296228 h 493395"/>
                <a:gd name="connsiteX252" fmla="*/ 202883 w 693419"/>
                <a:gd name="connsiteY252" fmla="*/ 308610 h 493395"/>
                <a:gd name="connsiteX253" fmla="*/ 229553 w 693419"/>
                <a:gd name="connsiteY253" fmla="*/ 282892 h 493395"/>
                <a:gd name="connsiteX254" fmla="*/ 229553 w 693419"/>
                <a:gd name="connsiteY254" fmla="*/ 287655 h 493395"/>
                <a:gd name="connsiteX255" fmla="*/ 240030 w 693419"/>
                <a:gd name="connsiteY255" fmla="*/ 308610 h 493395"/>
                <a:gd name="connsiteX256" fmla="*/ 261938 w 693419"/>
                <a:gd name="connsiteY256" fmla="*/ 282892 h 493395"/>
                <a:gd name="connsiteX257" fmla="*/ 258128 w 693419"/>
                <a:gd name="connsiteY257" fmla="*/ 282892 h 493395"/>
                <a:gd name="connsiteX258" fmla="*/ 247650 w 693419"/>
                <a:gd name="connsiteY258" fmla="*/ 292417 h 493395"/>
                <a:gd name="connsiteX259" fmla="*/ 247650 w 693419"/>
                <a:gd name="connsiteY259" fmla="*/ 274320 h 493395"/>
                <a:gd name="connsiteX260" fmla="*/ 268605 w 693419"/>
                <a:gd name="connsiteY260" fmla="*/ 223838 h 493395"/>
                <a:gd name="connsiteX261" fmla="*/ 117157 w 693419"/>
                <a:gd name="connsiteY261" fmla="*/ 321945 h 493395"/>
                <a:gd name="connsiteX262" fmla="*/ 135255 w 693419"/>
                <a:gd name="connsiteY262" fmla="*/ 304800 h 493395"/>
                <a:gd name="connsiteX263" fmla="*/ 151448 w 693419"/>
                <a:gd name="connsiteY263" fmla="*/ 310515 h 493395"/>
                <a:gd name="connsiteX264" fmla="*/ 166688 w 693419"/>
                <a:gd name="connsiteY264" fmla="*/ 319088 h 493395"/>
                <a:gd name="connsiteX265" fmla="*/ 137160 w 693419"/>
                <a:gd name="connsiteY265" fmla="*/ 331470 h 493395"/>
                <a:gd name="connsiteX266" fmla="*/ 117157 w 693419"/>
                <a:gd name="connsiteY266" fmla="*/ 321945 h 493395"/>
                <a:gd name="connsiteX267" fmla="*/ 147638 w 693419"/>
                <a:gd name="connsiteY267" fmla="*/ 274320 h 493395"/>
                <a:gd name="connsiteX268" fmla="*/ 140970 w 693419"/>
                <a:gd name="connsiteY268" fmla="*/ 265747 h 493395"/>
                <a:gd name="connsiteX269" fmla="*/ 159068 w 693419"/>
                <a:gd name="connsiteY269" fmla="*/ 233363 h 493395"/>
                <a:gd name="connsiteX270" fmla="*/ 165735 w 693419"/>
                <a:gd name="connsiteY270" fmla="*/ 241935 h 493395"/>
                <a:gd name="connsiteX271" fmla="*/ 147638 w 693419"/>
                <a:gd name="connsiteY271" fmla="*/ 274320 h 493395"/>
                <a:gd name="connsiteX272" fmla="*/ 180023 w 693419"/>
                <a:gd name="connsiteY272" fmla="*/ 314325 h 493395"/>
                <a:gd name="connsiteX273" fmla="*/ 158115 w 693419"/>
                <a:gd name="connsiteY273" fmla="*/ 297180 h 493395"/>
                <a:gd name="connsiteX274" fmla="*/ 140970 w 693419"/>
                <a:gd name="connsiteY274" fmla="*/ 288608 h 493395"/>
                <a:gd name="connsiteX275" fmla="*/ 148590 w 693419"/>
                <a:gd name="connsiteY275" fmla="*/ 279083 h 493395"/>
                <a:gd name="connsiteX276" fmla="*/ 180975 w 693419"/>
                <a:gd name="connsiteY276" fmla="*/ 245745 h 493395"/>
                <a:gd name="connsiteX277" fmla="*/ 179070 w 693419"/>
                <a:gd name="connsiteY277" fmla="*/ 237172 h 493395"/>
                <a:gd name="connsiteX278" fmla="*/ 195263 w 693419"/>
                <a:gd name="connsiteY278" fmla="*/ 237172 h 493395"/>
                <a:gd name="connsiteX279" fmla="*/ 198120 w 693419"/>
                <a:gd name="connsiteY279" fmla="*/ 228600 h 493395"/>
                <a:gd name="connsiteX280" fmla="*/ 172403 w 693419"/>
                <a:gd name="connsiteY280" fmla="*/ 228600 h 493395"/>
                <a:gd name="connsiteX281" fmla="*/ 161925 w 693419"/>
                <a:gd name="connsiteY281" fmla="*/ 225742 h 493395"/>
                <a:gd name="connsiteX282" fmla="*/ 127635 w 693419"/>
                <a:gd name="connsiteY282" fmla="*/ 258128 h 493395"/>
                <a:gd name="connsiteX283" fmla="*/ 143828 w 693419"/>
                <a:gd name="connsiteY283" fmla="*/ 278130 h 493395"/>
                <a:gd name="connsiteX284" fmla="*/ 128588 w 693419"/>
                <a:gd name="connsiteY284" fmla="*/ 293370 h 493395"/>
                <a:gd name="connsiteX285" fmla="*/ 132398 w 693419"/>
                <a:gd name="connsiteY285" fmla="*/ 300990 h 493395"/>
                <a:gd name="connsiteX286" fmla="*/ 100965 w 693419"/>
                <a:gd name="connsiteY286" fmla="*/ 325755 h 493395"/>
                <a:gd name="connsiteX287" fmla="*/ 130493 w 693419"/>
                <a:gd name="connsiteY287" fmla="*/ 340042 h 493395"/>
                <a:gd name="connsiteX288" fmla="*/ 180023 w 693419"/>
                <a:gd name="connsiteY288" fmla="*/ 314325 h 493395"/>
                <a:gd name="connsiteX289" fmla="*/ 76200 w 693419"/>
                <a:gd name="connsiteY289" fmla="*/ 251460 h 493395"/>
                <a:gd name="connsiteX290" fmla="*/ 84773 w 693419"/>
                <a:gd name="connsiteY290" fmla="*/ 265747 h 493395"/>
                <a:gd name="connsiteX291" fmla="*/ 90488 w 693419"/>
                <a:gd name="connsiteY291" fmla="*/ 265747 h 493395"/>
                <a:gd name="connsiteX292" fmla="*/ 103823 w 693419"/>
                <a:gd name="connsiteY292" fmla="*/ 229553 h 493395"/>
                <a:gd name="connsiteX293" fmla="*/ 98107 w 693419"/>
                <a:gd name="connsiteY293" fmla="*/ 229553 h 493395"/>
                <a:gd name="connsiteX294" fmla="*/ 79057 w 693419"/>
                <a:gd name="connsiteY294" fmla="*/ 243840 h 493395"/>
                <a:gd name="connsiteX295" fmla="*/ 57150 w 693419"/>
                <a:gd name="connsiteY295" fmla="*/ 243840 h 493395"/>
                <a:gd name="connsiteX296" fmla="*/ 67628 w 693419"/>
                <a:gd name="connsiteY296" fmla="*/ 214313 h 493395"/>
                <a:gd name="connsiteX297" fmla="*/ 86678 w 693419"/>
                <a:gd name="connsiteY297" fmla="*/ 202883 h 493395"/>
                <a:gd name="connsiteX298" fmla="*/ 96203 w 693419"/>
                <a:gd name="connsiteY298" fmla="*/ 202883 h 493395"/>
                <a:gd name="connsiteX299" fmla="*/ 111443 w 693419"/>
                <a:gd name="connsiteY299" fmla="*/ 220028 h 493395"/>
                <a:gd name="connsiteX300" fmla="*/ 117157 w 693419"/>
                <a:gd name="connsiteY300" fmla="*/ 220028 h 493395"/>
                <a:gd name="connsiteX301" fmla="*/ 121920 w 693419"/>
                <a:gd name="connsiteY301" fmla="*/ 195263 h 493395"/>
                <a:gd name="connsiteX302" fmla="*/ 40005 w 693419"/>
                <a:gd name="connsiteY302" fmla="*/ 195263 h 493395"/>
                <a:gd name="connsiteX303" fmla="*/ 38100 w 693419"/>
                <a:gd name="connsiteY303" fmla="*/ 200025 h 493395"/>
                <a:gd name="connsiteX304" fmla="*/ 47625 w 693419"/>
                <a:gd name="connsiteY304" fmla="*/ 224790 h 493395"/>
                <a:gd name="connsiteX305" fmla="*/ 29528 w 693419"/>
                <a:gd name="connsiteY305" fmla="*/ 273367 h 493395"/>
                <a:gd name="connsiteX306" fmla="*/ 953 w 693419"/>
                <a:gd name="connsiteY306" fmla="*/ 298133 h 493395"/>
                <a:gd name="connsiteX307" fmla="*/ 0 w 693419"/>
                <a:gd name="connsiteY307" fmla="*/ 302895 h 493395"/>
                <a:gd name="connsiteX308" fmla="*/ 91440 w 693419"/>
                <a:gd name="connsiteY308" fmla="*/ 302895 h 493395"/>
                <a:gd name="connsiteX309" fmla="*/ 107632 w 693419"/>
                <a:gd name="connsiteY309" fmla="*/ 277178 h 493395"/>
                <a:gd name="connsiteX310" fmla="*/ 101918 w 693419"/>
                <a:gd name="connsiteY310" fmla="*/ 277178 h 493395"/>
                <a:gd name="connsiteX311" fmla="*/ 60007 w 693419"/>
                <a:gd name="connsiteY311" fmla="*/ 296228 h 493395"/>
                <a:gd name="connsiteX312" fmla="*/ 45720 w 693419"/>
                <a:gd name="connsiteY312" fmla="*/ 273367 h 493395"/>
                <a:gd name="connsiteX313" fmla="*/ 54293 w 693419"/>
                <a:gd name="connsiteY313" fmla="*/ 249555 h 493395"/>
                <a:gd name="connsiteX314" fmla="*/ 76200 w 693419"/>
                <a:gd name="connsiteY314" fmla="*/ 249555 h 493395"/>
                <a:gd name="connsiteX315" fmla="*/ 88582 w 693419"/>
                <a:gd name="connsiteY315" fmla="*/ 188595 h 493395"/>
                <a:gd name="connsiteX316" fmla="*/ 117157 w 693419"/>
                <a:gd name="connsiteY316" fmla="*/ 168592 h 493395"/>
                <a:gd name="connsiteX317" fmla="*/ 117157 w 693419"/>
                <a:gd name="connsiteY317" fmla="*/ 165735 h 493395"/>
                <a:gd name="connsiteX318" fmla="*/ 100013 w 693419"/>
                <a:gd name="connsiteY318" fmla="*/ 165735 h 493395"/>
                <a:gd name="connsiteX319" fmla="*/ 83820 w 693419"/>
                <a:gd name="connsiteY319" fmla="*/ 188595 h 493395"/>
                <a:gd name="connsiteX320" fmla="*/ 88582 w 693419"/>
                <a:gd name="connsiteY320" fmla="*/ 188595 h 493395"/>
                <a:gd name="connsiteX321" fmla="*/ 450533 w 693419"/>
                <a:gd name="connsiteY321" fmla="*/ 52388 h 493395"/>
                <a:gd name="connsiteX322" fmla="*/ 458153 w 693419"/>
                <a:gd name="connsiteY322" fmla="*/ 66675 h 493395"/>
                <a:gd name="connsiteX323" fmla="*/ 432435 w 693419"/>
                <a:gd name="connsiteY323" fmla="*/ 72390 h 493395"/>
                <a:gd name="connsiteX324" fmla="*/ 450533 w 693419"/>
                <a:gd name="connsiteY324" fmla="*/ 52388 h 493395"/>
                <a:gd name="connsiteX325" fmla="*/ 464820 w 693419"/>
                <a:gd name="connsiteY325" fmla="*/ 93345 h 493395"/>
                <a:gd name="connsiteX326" fmla="*/ 460058 w 693419"/>
                <a:gd name="connsiteY326" fmla="*/ 93345 h 493395"/>
                <a:gd name="connsiteX327" fmla="*/ 440055 w 693419"/>
                <a:gd name="connsiteY327" fmla="*/ 106680 h 493395"/>
                <a:gd name="connsiteX328" fmla="*/ 429578 w 693419"/>
                <a:gd name="connsiteY328" fmla="*/ 93345 h 493395"/>
                <a:gd name="connsiteX329" fmla="*/ 430530 w 693419"/>
                <a:gd name="connsiteY329" fmla="*/ 81915 h 493395"/>
                <a:gd name="connsiteX330" fmla="*/ 471488 w 693419"/>
                <a:gd name="connsiteY330" fmla="*/ 68580 h 493395"/>
                <a:gd name="connsiteX331" fmla="*/ 458153 w 693419"/>
                <a:gd name="connsiteY331" fmla="*/ 40958 h 493395"/>
                <a:gd name="connsiteX332" fmla="*/ 416243 w 693419"/>
                <a:gd name="connsiteY332" fmla="*/ 101917 h 493395"/>
                <a:gd name="connsiteX333" fmla="*/ 431483 w 693419"/>
                <a:gd name="connsiteY333" fmla="*/ 121920 h 493395"/>
                <a:gd name="connsiteX334" fmla="*/ 464820 w 693419"/>
                <a:gd name="connsiteY334" fmla="*/ 93345 h 493395"/>
                <a:gd name="connsiteX335" fmla="*/ 457200 w 693419"/>
                <a:gd name="connsiteY335" fmla="*/ 33338 h 493395"/>
                <a:gd name="connsiteX336" fmla="*/ 485775 w 693419"/>
                <a:gd name="connsiteY336" fmla="*/ 6667 h 493395"/>
                <a:gd name="connsiteX337" fmla="*/ 485775 w 693419"/>
                <a:gd name="connsiteY337" fmla="*/ 3810 h 493395"/>
                <a:gd name="connsiteX338" fmla="*/ 470535 w 693419"/>
                <a:gd name="connsiteY338" fmla="*/ 3810 h 493395"/>
                <a:gd name="connsiteX339" fmla="*/ 452438 w 693419"/>
                <a:gd name="connsiteY339" fmla="*/ 34290 h 493395"/>
                <a:gd name="connsiteX340" fmla="*/ 457200 w 693419"/>
                <a:gd name="connsiteY340" fmla="*/ 34290 h 493395"/>
                <a:gd name="connsiteX341" fmla="*/ 371475 w 693419"/>
                <a:gd name="connsiteY341" fmla="*/ 52388 h 493395"/>
                <a:gd name="connsiteX342" fmla="*/ 381953 w 693419"/>
                <a:gd name="connsiteY342" fmla="*/ 52388 h 493395"/>
                <a:gd name="connsiteX343" fmla="*/ 360045 w 693419"/>
                <a:gd name="connsiteY343" fmla="*/ 111442 h 493395"/>
                <a:gd name="connsiteX344" fmla="*/ 365760 w 693419"/>
                <a:gd name="connsiteY344" fmla="*/ 121920 h 493395"/>
                <a:gd name="connsiteX345" fmla="*/ 404813 w 693419"/>
                <a:gd name="connsiteY345" fmla="*/ 93345 h 493395"/>
                <a:gd name="connsiteX346" fmla="*/ 401003 w 693419"/>
                <a:gd name="connsiteY346" fmla="*/ 93345 h 493395"/>
                <a:gd name="connsiteX347" fmla="*/ 376238 w 693419"/>
                <a:gd name="connsiteY347" fmla="*/ 108585 h 493395"/>
                <a:gd name="connsiteX348" fmla="*/ 396240 w 693419"/>
                <a:gd name="connsiteY348" fmla="*/ 53340 h 493395"/>
                <a:gd name="connsiteX349" fmla="*/ 416243 w 693419"/>
                <a:gd name="connsiteY349" fmla="*/ 53340 h 493395"/>
                <a:gd name="connsiteX350" fmla="*/ 419100 w 693419"/>
                <a:gd name="connsiteY350" fmla="*/ 44767 h 493395"/>
                <a:gd name="connsiteX351" fmla="*/ 399097 w 693419"/>
                <a:gd name="connsiteY351" fmla="*/ 44767 h 493395"/>
                <a:gd name="connsiteX352" fmla="*/ 406718 w 693419"/>
                <a:gd name="connsiteY352" fmla="*/ 23813 h 493395"/>
                <a:gd name="connsiteX353" fmla="*/ 399097 w 693419"/>
                <a:gd name="connsiteY353" fmla="*/ 23813 h 493395"/>
                <a:gd name="connsiteX354" fmla="*/ 384810 w 693419"/>
                <a:gd name="connsiteY354" fmla="*/ 44767 h 493395"/>
                <a:gd name="connsiteX355" fmla="*/ 370522 w 693419"/>
                <a:gd name="connsiteY355" fmla="*/ 46672 h 493395"/>
                <a:gd name="connsiteX356" fmla="*/ 370522 w 693419"/>
                <a:gd name="connsiteY356" fmla="*/ 52388 h 493395"/>
                <a:gd name="connsiteX357" fmla="*/ 360997 w 693419"/>
                <a:gd name="connsiteY357" fmla="*/ 59055 h 493395"/>
                <a:gd name="connsiteX358" fmla="*/ 355283 w 693419"/>
                <a:gd name="connsiteY358" fmla="*/ 40958 h 493395"/>
                <a:gd name="connsiteX359" fmla="*/ 335280 w 693419"/>
                <a:gd name="connsiteY359" fmla="*/ 66675 h 493395"/>
                <a:gd name="connsiteX360" fmla="*/ 335280 w 693419"/>
                <a:gd name="connsiteY360" fmla="*/ 55245 h 493395"/>
                <a:gd name="connsiteX361" fmla="*/ 325755 w 693419"/>
                <a:gd name="connsiteY361" fmla="*/ 40005 h 493395"/>
                <a:gd name="connsiteX362" fmla="*/ 303848 w 693419"/>
                <a:gd name="connsiteY362" fmla="*/ 65722 h 493395"/>
                <a:gd name="connsiteX363" fmla="*/ 307658 w 693419"/>
                <a:gd name="connsiteY363" fmla="*/ 65722 h 493395"/>
                <a:gd name="connsiteX364" fmla="*/ 318135 w 693419"/>
                <a:gd name="connsiteY364" fmla="*/ 56197 h 493395"/>
                <a:gd name="connsiteX365" fmla="*/ 318135 w 693419"/>
                <a:gd name="connsiteY365" fmla="*/ 74295 h 493395"/>
                <a:gd name="connsiteX366" fmla="*/ 301943 w 693419"/>
                <a:gd name="connsiteY366" fmla="*/ 109538 h 493395"/>
                <a:gd name="connsiteX367" fmla="*/ 308610 w 693419"/>
                <a:gd name="connsiteY367" fmla="*/ 120967 h 493395"/>
                <a:gd name="connsiteX368" fmla="*/ 316230 w 693419"/>
                <a:gd name="connsiteY368" fmla="*/ 115253 h 493395"/>
                <a:gd name="connsiteX369" fmla="*/ 332423 w 693419"/>
                <a:gd name="connsiteY369" fmla="*/ 73342 h 493395"/>
                <a:gd name="connsiteX370" fmla="*/ 345758 w 693419"/>
                <a:gd name="connsiteY370" fmla="*/ 58103 h 493395"/>
                <a:gd name="connsiteX371" fmla="*/ 360997 w 693419"/>
                <a:gd name="connsiteY371" fmla="*/ 58103 h 493395"/>
                <a:gd name="connsiteX372" fmla="*/ 269558 w 693419"/>
                <a:gd name="connsiteY372" fmla="*/ 52388 h 493395"/>
                <a:gd name="connsiteX373" fmla="*/ 277178 w 693419"/>
                <a:gd name="connsiteY373" fmla="*/ 66675 h 493395"/>
                <a:gd name="connsiteX374" fmla="*/ 251460 w 693419"/>
                <a:gd name="connsiteY374" fmla="*/ 72390 h 493395"/>
                <a:gd name="connsiteX375" fmla="*/ 269558 w 693419"/>
                <a:gd name="connsiteY375" fmla="*/ 52388 h 493395"/>
                <a:gd name="connsiteX376" fmla="*/ 283845 w 693419"/>
                <a:gd name="connsiteY376" fmla="*/ 93345 h 493395"/>
                <a:gd name="connsiteX377" fmla="*/ 279083 w 693419"/>
                <a:gd name="connsiteY377" fmla="*/ 93345 h 493395"/>
                <a:gd name="connsiteX378" fmla="*/ 259080 w 693419"/>
                <a:gd name="connsiteY378" fmla="*/ 106680 h 493395"/>
                <a:gd name="connsiteX379" fmla="*/ 248603 w 693419"/>
                <a:gd name="connsiteY379" fmla="*/ 93345 h 493395"/>
                <a:gd name="connsiteX380" fmla="*/ 249555 w 693419"/>
                <a:gd name="connsiteY380" fmla="*/ 81915 h 493395"/>
                <a:gd name="connsiteX381" fmla="*/ 290513 w 693419"/>
                <a:gd name="connsiteY381" fmla="*/ 68580 h 493395"/>
                <a:gd name="connsiteX382" fmla="*/ 277178 w 693419"/>
                <a:gd name="connsiteY382" fmla="*/ 40958 h 493395"/>
                <a:gd name="connsiteX383" fmla="*/ 235268 w 693419"/>
                <a:gd name="connsiteY383" fmla="*/ 101917 h 493395"/>
                <a:gd name="connsiteX384" fmla="*/ 250508 w 693419"/>
                <a:gd name="connsiteY384" fmla="*/ 121920 h 493395"/>
                <a:gd name="connsiteX385" fmla="*/ 283845 w 693419"/>
                <a:gd name="connsiteY385" fmla="*/ 93345 h 493395"/>
                <a:gd name="connsiteX386" fmla="*/ 182880 w 693419"/>
                <a:gd name="connsiteY386" fmla="*/ 110490 h 493395"/>
                <a:gd name="connsiteX387" fmla="*/ 173355 w 693419"/>
                <a:gd name="connsiteY387" fmla="*/ 103822 h 493395"/>
                <a:gd name="connsiteX388" fmla="*/ 177165 w 693419"/>
                <a:gd name="connsiteY388" fmla="*/ 92392 h 493395"/>
                <a:gd name="connsiteX389" fmla="*/ 183833 w 693419"/>
                <a:gd name="connsiteY389" fmla="*/ 74295 h 493395"/>
                <a:gd name="connsiteX390" fmla="*/ 207645 w 693419"/>
                <a:gd name="connsiteY390" fmla="*/ 57150 h 493395"/>
                <a:gd name="connsiteX391" fmla="*/ 214313 w 693419"/>
                <a:gd name="connsiteY391" fmla="*/ 64770 h 493395"/>
                <a:gd name="connsiteX392" fmla="*/ 182880 w 693419"/>
                <a:gd name="connsiteY392" fmla="*/ 110490 h 493395"/>
                <a:gd name="connsiteX393" fmla="*/ 230505 w 693419"/>
                <a:gd name="connsiteY393" fmla="*/ 58103 h 493395"/>
                <a:gd name="connsiteX394" fmla="*/ 218123 w 693419"/>
                <a:gd name="connsiteY394" fmla="*/ 41910 h 493395"/>
                <a:gd name="connsiteX395" fmla="*/ 188595 w 693419"/>
                <a:gd name="connsiteY395" fmla="*/ 66675 h 493395"/>
                <a:gd name="connsiteX396" fmla="*/ 213360 w 693419"/>
                <a:gd name="connsiteY396" fmla="*/ 1905 h 493395"/>
                <a:gd name="connsiteX397" fmla="*/ 212408 w 693419"/>
                <a:gd name="connsiteY397" fmla="*/ 0 h 493395"/>
                <a:gd name="connsiteX398" fmla="*/ 186690 w 693419"/>
                <a:gd name="connsiteY398" fmla="*/ 2858 h 493395"/>
                <a:gd name="connsiteX399" fmla="*/ 186690 w 693419"/>
                <a:gd name="connsiteY399" fmla="*/ 5715 h 493395"/>
                <a:gd name="connsiteX400" fmla="*/ 191453 w 693419"/>
                <a:gd name="connsiteY400" fmla="*/ 9525 h 493395"/>
                <a:gd name="connsiteX401" fmla="*/ 190500 w 693419"/>
                <a:gd name="connsiteY401" fmla="*/ 27622 h 493395"/>
                <a:gd name="connsiteX402" fmla="*/ 163830 w 693419"/>
                <a:gd name="connsiteY402" fmla="*/ 96203 h 493395"/>
                <a:gd name="connsiteX403" fmla="*/ 159068 w 693419"/>
                <a:gd name="connsiteY403" fmla="*/ 108585 h 493395"/>
                <a:gd name="connsiteX404" fmla="*/ 177165 w 693419"/>
                <a:gd name="connsiteY404" fmla="*/ 121920 h 493395"/>
                <a:gd name="connsiteX405" fmla="*/ 230505 w 693419"/>
                <a:gd name="connsiteY405" fmla="*/ 58103 h 493395"/>
                <a:gd name="connsiteX406" fmla="*/ 149543 w 693419"/>
                <a:gd name="connsiteY406" fmla="*/ 49530 h 493395"/>
                <a:gd name="connsiteX407" fmla="*/ 144780 w 693419"/>
                <a:gd name="connsiteY407" fmla="*/ 40958 h 493395"/>
                <a:gd name="connsiteX408" fmla="*/ 113348 w 693419"/>
                <a:gd name="connsiteY408" fmla="*/ 66675 h 493395"/>
                <a:gd name="connsiteX409" fmla="*/ 117157 w 693419"/>
                <a:gd name="connsiteY409" fmla="*/ 66675 h 493395"/>
                <a:gd name="connsiteX410" fmla="*/ 133350 w 693419"/>
                <a:gd name="connsiteY410" fmla="*/ 54292 h 493395"/>
                <a:gd name="connsiteX411" fmla="*/ 110490 w 693419"/>
                <a:gd name="connsiteY411" fmla="*/ 113347 h 493395"/>
                <a:gd name="connsiteX412" fmla="*/ 115253 w 693419"/>
                <a:gd name="connsiteY412" fmla="*/ 121920 h 493395"/>
                <a:gd name="connsiteX413" fmla="*/ 145733 w 693419"/>
                <a:gd name="connsiteY413" fmla="*/ 96203 h 493395"/>
                <a:gd name="connsiteX414" fmla="*/ 141923 w 693419"/>
                <a:gd name="connsiteY414" fmla="*/ 96203 h 493395"/>
                <a:gd name="connsiteX415" fmla="*/ 125730 w 693419"/>
                <a:gd name="connsiteY415" fmla="*/ 108585 h 493395"/>
                <a:gd name="connsiteX416" fmla="*/ 149543 w 693419"/>
                <a:gd name="connsiteY416" fmla="*/ 49530 h 493395"/>
                <a:gd name="connsiteX417" fmla="*/ 153353 w 693419"/>
                <a:gd name="connsiteY417" fmla="*/ 20003 h 493395"/>
                <a:gd name="connsiteX418" fmla="*/ 162878 w 693419"/>
                <a:gd name="connsiteY418" fmla="*/ 10478 h 493395"/>
                <a:gd name="connsiteX419" fmla="*/ 153353 w 693419"/>
                <a:gd name="connsiteY419" fmla="*/ 953 h 493395"/>
                <a:gd name="connsiteX420" fmla="*/ 143828 w 693419"/>
                <a:gd name="connsiteY420" fmla="*/ 10478 h 493395"/>
                <a:gd name="connsiteX421" fmla="*/ 153353 w 693419"/>
                <a:gd name="connsiteY421" fmla="*/ 20003 h 493395"/>
                <a:gd name="connsiteX422" fmla="*/ 93345 w 693419"/>
                <a:gd name="connsiteY422" fmla="*/ 10478 h 493395"/>
                <a:gd name="connsiteX423" fmla="*/ 39053 w 693419"/>
                <a:gd name="connsiteY423" fmla="*/ 10478 h 493395"/>
                <a:gd name="connsiteX424" fmla="*/ 37148 w 693419"/>
                <a:gd name="connsiteY424" fmla="*/ 15240 h 493395"/>
                <a:gd name="connsiteX425" fmla="*/ 46673 w 693419"/>
                <a:gd name="connsiteY425" fmla="*/ 40005 h 493395"/>
                <a:gd name="connsiteX426" fmla="*/ 29528 w 693419"/>
                <a:gd name="connsiteY426" fmla="*/ 88583 h 493395"/>
                <a:gd name="connsiteX427" fmla="*/ 953 w 693419"/>
                <a:gd name="connsiteY427" fmla="*/ 113347 h 493395"/>
                <a:gd name="connsiteX428" fmla="*/ 0 w 693419"/>
                <a:gd name="connsiteY428" fmla="*/ 118110 h 493395"/>
                <a:gd name="connsiteX429" fmla="*/ 82868 w 693419"/>
                <a:gd name="connsiteY429" fmla="*/ 118110 h 493395"/>
                <a:gd name="connsiteX430" fmla="*/ 100965 w 693419"/>
                <a:gd name="connsiteY430" fmla="*/ 86678 h 493395"/>
                <a:gd name="connsiteX431" fmla="*/ 94298 w 693419"/>
                <a:gd name="connsiteY431" fmla="*/ 86678 h 493395"/>
                <a:gd name="connsiteX432" fmla="*/ 54293 w 693419"/>
                <a:gd name="connsiteY432" fmla="*/ 111442 h 493395"/>
                <a:gd name="connsiteX433" fmla="*/ 46673 w 693419"/>
                <a:gd name="connsiteY433" fmla="*/ 88583 h 493395"/>
                <a:gd name="connsiteX434" fmla="*/ 63818 w 693419"/>
                <a:gd name="connsiteY434" fmla="*/ 40005 h 493395"/>
                <a:gd name="connsiteX435" fmla="*/ 92393 w 693419"/>
                <a:gd name="connsiteY435" fmla="*/ 15240 h 493395"/>
                <a:gd name="connsiteX436" fmla="*/ 93345 w 693419"/>
                <a:gd name="connsiteY436" fmla="*/ 10478 h 49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</a:cxnLst>
              <a:rect l="l" t="t" r="r" b="b"/>
              <a:pathLst>
                <a:path w="693419" h="493395">
                  <a:moveTo>
                    <a:pt x="659130" y="422910"/>
                  </a:moveTo>
                  <a:cubicBezTo>
                    <a:pt x="664845" y="422910"/>
                    <a:pt x="669608" y="426720"/>
                    <a:pt x="666750" y="437197"/>
                  </a:cubicBezTo>
                  <a:lnTo>
                    <a:pt x="641033" y="442913"/>
                  </a:lnTo>
                  <a:cubicBezTo>
                    <a:pt x="645795" y="432435"/>
                    <a:pt x="653415" y="422910"/>
                    <a:pt x="659130" y="422910"/>
                  </a:cubicBezTo>
                  <a:moveTo>
                    <a:pt x="673418" y="464820"/>
                  </a:moveTo>
                  <a:lnTo>
                    <a:pt x="668655" y="464820"/>
                  </a:lnTo>
                  <a:cubicBezTo>
                    <a:pt x="661988" y="472440"/>
                    <a:pt x="655320" y="478155"/>
                    <a:pt x="648653" y="478155"/>
                  </a:cubicBezTo>
                  <a:cubicBezTo>
                    <a:pt x="641985" y="478155"/>
                    <a:pt x="638175" y="474345"/>
                    <a:pt x="638175" y="464820"/>
                  </a:cubicBezTo>
                  <a:cubicBezTo>
                    <a:pt x="638175" y="461010"/>
                    <a:pt x="638175" y="457200"/>
                    <a:pt x="639128" y="453390"/>
                  </a:cubicBezTo>
                  <a:lnTo>
                    <a:pt x="680085" y="440055"/>
                  </a:lnTo>
                  <a:cubicBezTo>
                    <a:pt x="687705" y="421005"/>
                    <a:pt x="678180" y="412433"/>
                    <a:pt x="666750" y="412433"/>
                  </a:cubicBezTo>
                  <a:cubicBezTo>
                    <a:pt x="647700" y="412433"/>
                    <a:pt x="624840" y="444817"/>
                    <a:pt x="624840" y="473392"/>
                  </a:cubicBezTo>
                  <a:cubicBezTo>
                    <a:pt x="624840" y="485775"/>
                    <a:pt x="630555" y="493395"/>
                    <a:pt x="640080" y="493395"/>
                  </a:cubicBezTo>
                  <a:cubicBezTo>
                    <a:pt x="652463" y="493395"/>
                    <a:pt x="663893" y="481965"/>
                    <a:pt x="673418" y="464820"/>
                  </a:cubicBezTo>
                  <a:moveTo>
                    <a:pt x="664845" y="404813"/>
                  </a:moveTo>
                  <a:lnTo>
                    <a:pt x="693420" y="378142"/>
                  </a:lnTo>
                  <a:lnTo>
                    <a:pt x="693420" y="375285"/>
                  </a:lnTo>
                  <a:lnTo>
                    <a:pt x="678180" y="375285"/>
                  </a:lnTo>
                  <a:lnTo>
                    <a:pt x="660083" y="405765"/>
                  </a:lnTo>
                  <a:lnTo>
                    <a:pt x="664845" y="405765"/>
                  </a:lnTo>
                  <a:close/>
                  <a:moveTo>
                    <a:pt x="576263" y="423863"/>
                  </a:moveTo>
                  <a:lnTo>
                    <a:pt x="589598" y="423863"/>
                  </a:lnTo>
                  <a:lnTo>
                    <a:pt x="567690" y="482917"/>
                  </a:lnTo>
                  <a:cubicBezTo>
                    <a:pt x="565785" y="487680"/>
                    <a:pt x="568643" y="493395"/>
                    <a:pt x="573405" y="493395"/>
                  </a:cubicBezTo>
                  <a:cubicBezTo>
                    <a:pt x="585788" y="493395"/>
                    <a:pt x="605790" y="481013"/>
                    <a:pt x="612458" y="464820"/>
                  </a:cubicBezTo>
                  <a:lnTo>
                    <a:pt x="608648" y="464820"/>
                  </a:lnTo>
                  <a:cubicBezTo>
                    <a:pt x="602933" y="470535"/>
                    <a:pt x="592455" y="478155"/>
                    <a:pt x="583883" y="480060"/>
                  </a:cubicBezTo>
                  <a:lnTo>
                    <a:pt x="603885" y="424815"/>
                  </a:lnTo>
                  <a:lnTo>
                    <a:pt x="623888" y="424815"/>
                  </a:lnTo>
                  <a:lnTo>
                    <a:pt x="626745" y="416242"/>
                  </a:lnTo>
                  <a:lnTo>
                    <a:pt x="606743" y="416242"/>
                  </a:lnTo>
                  <a:lnTo>
                    <a:pt x="614363" y="395288"/>
                  </a:lnTo>
                  <a:lnTo>
                    <a:pt x="606743" y="395288"/>
                  </a:lnTo>
                  <a:lnTo>
                    <a:pt x="592455" y="416242"/>
                  </a:lnTo>
                  <a:lnTo>
                    <a:pt x="575310" y="418147"/>
                  </a:lnTo>
                  <a:lnTo>
                    <a:pt x="575310" y="423863"/>
                  </a:lnTo>
                  <a:close/>
                  <a:moveTo>
                    <a:pt x="558165" y="421005"/>
                  </a:moveTo>
                  <a:cubicBezTo>
                    <a:pt x="560070" y="415290"/>
                    <a:pt x="556260" y="412433"/>
                    <a:pt x="553403" y="412433"/>
                  </a:cubicBezTo>
                  <a:cubicBezTo>
                    <a:pt x="541973" y="412433"/>
                    <a:pt x="527685" y="422910"/>
                    <a:pt x="521970" y="438150"/>
                  </a:cubicBezTo>
                  <a:lnTo>
                    <a:pt x="525780" y="438150"/>
                  </a:lnTo>
                  <a:cubicBezTo>
                    <a:pt x="529590" y="432435"/>
                    <a:pt x="536258" y="426720"/>
                    <a:pt x="541973" y="425767"/>
                  </a:cubicBezTo>
                  <a:lnTo>
                    <a:pt x="519113" y="484822"/>
                  </a:lnTo>
                  <a:cubicBezTo>
                    <a:pt x="517208" y="490538"/>
                    <a:pt x="521018" y="493395"/>
                    <a:pt x="523875" y="493395"/>
                  </a:cubicBezTo>
                  <a:cubicBezTo>
                    <a:pt x="535305" y="493395"/>
                    <a:pt x="548640" y="482917"/>
                    <a:pt x="554355" y="467678"/>
                  </a:cubicBezTo>
                  <a:lnTo>
                    <a:pt x="550545" y="467678"/>
                  </a:lnTo>
                  <a:cubicBezTo>
                    <a:pt x="546735" y="473392"/>
                    <a:pt x="540068" y="479108"/>
                    <a:pt x="534353" y="480060"/>
                  </a:cubicBezTo>
                  <a:lnTo>
                    <a:pt x="558165" y="421005"/>
                  </a:lnTo>
                  <a:close/>
                  <a:moveTo>
                    <a:pt x="561975" y="391478"/>
                  </a:moveTo>
                  <a:cubicBezTo>
                    <a:pt x="567690" y="391478"/>
                    <a:pt x="571500" y="386715"/>
                    <a:pt x="571500" y="381953"/>
                  </a:cubicBezTo>
                  <a:cubicBezTo>
                    <a:pt x="571500" y="376238"/>
                    <a:pt x="566738" y="372428"/>
                    <a:pt x="561975" y="372428"/>
                  </a:cubicBezTo>
                  <a:cubicBezTo>
                    <a:pt x="556260" y="372428"/>
                    <a:pt x="552450" y="377190"/>
                    <a:pt x="552450" y="381953"/>
                  </a:cubicBezTo>
                  <a:cubicBezTo>
                    <a:pt x="552450" y="386715"/>
                    <a:pt x="556260" y="391478"/>
                    <a:pt x="561975" y="391478"/>
                  </a:cubicBezTo>
                  <a:moveTo>
                    <a:pt x="431483" y="481965"/>
                  </a:moveTo>
                  <a:cubicBezTo>
                    <a:pt x="428625" y="488633"/>
                    <a:pt x="431483" y="493395"/>
                    <a:pt x="438150" y="493395"/>
                  </a:cubicBezTo>
                  <a:cubicBezTo>
                    <a:pt x="441960" y="493395"/>
                    <a:pt x="443865" y="492442"/>
                    <a:pt x="445770" y="487680"/>
                  </a:cubicBezTo>
                  <a:lnTo>
                    <a:pt x="461963" y="445770"/>
                  </a:lnTo>
                  <a:cubicBezTo>
                    <a:pt x="469583" y="437197"/>
                    <a:pt x="483870" y="427672"/>
                    <a:pt x="490538" y="427672"/>
                  </a:cubicBezTo>
                  <a:cubicBezTo>
                    <a:pt x="495300" y="427672"/>
                    <a:pt x="494347" y="431483"/>
                    <a:pt x="491490" y="436245"/>
                  </a:cubicBezTo>
                  <a:lnTo>
                    <a:pt x="467678" y="482917"/>
                  </a:lnTo>
                  <a:cubicBezTo>
                    <a:pt x="465772" y="487680"/>
                    <a:pt x="468630" y="493395"/>
                    <a:pt x="473393" y="493395"/>
                  </a:cubicBezTo>
                  <a:cubicBezTo>
                    <a:pt x="484822" y="493395"/>
                    <a:pt x="499110" y="482917"/>
                    <a:pt x="504825" y="467678"/>
                  </a:cubicBezTo>
                  <a:lnTo>
                    <a:pt x="501015" y="467678"/>
                  </a:lnTo>
                  <a:cubicBezTo>
                    <a:pt x="497205" y="473392"/>
                    <a:pt x="490538" y="479108"/>
                    <a:pt x="484822" y="480060"/>
                  </a:cubicBezTo>
                  <a:lnTo>
                    <a:pt x="505778" y="438150"/>
                  </a:lnTo>
                  <a:cubicBezTo>
                    <a:pt x="508635" y="432435"/>
                    <a:pt x="509588" y="427672"/>
                    <a:pt x="509588" y="423863"/>
                  </a:cubicBezTo>
                  <a:cubicBezTo>
                    <a:pt x="509588" y="417195"/>
                    <a:pt x="505778" y="412433"/>
                    <a:pt x="498158" y="412433"/>
                  </a:cubicBezTo>
                  <a:cubicBezTo>
                    <a:pt x="487680" y="412433"/>
                    <a:pt x="477203" y="423863"/>
                    <a:pt x="464820" y="438150"/>
                  </a:cubicBezTo>
                  <a:lnTo>
                    <a:pt x="464820" y="426720"/>
                  </a:lnTo>
                  <a:cubicBezTo>
                    <a:pt x="464820" y="419100"/>
                    <a:pt x="461963" y="411480"/>
                    <a:pt x="455295" y="411480"/>
                  </a:cubicBezTo>
                  <a:cubicBezTo>
                    <a:pt x="450533" y="411480"/>
                    <a:pt x="446722" y="415290"/>
                    <a:pt x="442913" y="421005"/>
                  </a:cubicBezTo>
                  <a:lnTo>
                    <a:pt x="442913" y="422910"/>
                  </a:lnTo>
                  <a:cubicBezTo>
                    <a:pt x="450533" y="422910"/>
                    <a:pt x="454343" y="434340"/>
                    <a:pt x="448628" y="445770"/>
                  </a:cubicBezTo>
                  <a:lnTo>
                    <a:pt x="431483" y="481965"/>
                  </a:lnTo>
                  <a:close/>
                  <a:moveTo>
                    <a:pt x="431483" y="430530"/>
                  </a:moveTo>
                  <a:cubicBezTo>
                    <a:pt x="434340" y="421005"/>
                    <a:pt x="432435" y="412433"/>
                    <a:pt x="425768" y="412433"/>
                  </a:cubicBezTo>
                  <a:cubicBezTo>
                    <a:pt x="417195" y="412433"/>
                    <a:pt x="414338" y="419100"/>
                    <a:pt x="405765" y="438150"/>
                  </a:cubicBezTo>
                  <a:lnTo>
                    <a:pt x="405765" y="426720"/>
                  </a:lnTo>
                  <a:cubicBezTo>
                    <a:pt x="405765" y="419100"/>
                    <a:pt x="402908" y="411480"/>
                    <a:pt x="396240" y="411480"/>
                  </a:cubicBezTo>
                  <a:cubicBezTo>
                    <a:pt x="387668" y="411480"/>
                    <a:pt x="380047" y="424815"/>
                    <a:pt x="374333" y="437197"/>
                  </a:cubicBezTo>
                  <a:lnTo>
                    <a:pt x="378143" y="437197"/>
                  </a:lnTo>
                  <a:cubicBezTo>
                    <a:pt x="381953" y="431483"/>
                    <a:pt x="385763" y="427672"/>
                    <a:pt x="388620" y="427672"/>
                  </a:cubicBezTo>
                  <a:cubicBezTo>
                    <a:pt x="392430" y="427672"/>
                    <a:pt x="394335" y="433388"/>
                    <a:pt x="388620" y="445770"/>
                  </a:cubicBezTo>
                  <a:lnTo>
                    <a:pt x="372428" y="481013"/>
                  </a:lnTo>
                  <a:cubicBezTo>
                    <a:pt x="369570" y="487680"/>
                    <a:pt x="372428" y="492442"/>
                    <a:pt x="379095" y="492442"/>
                  </a:cubicBezTo>
                  <a:cubicBezTo>
                    <a:pt x="382905" y="492442"/>
                    <a:pt x="384810" y="491490"/>
                    <a:pt x="386715" y="486728"/>
                  </a:cubicBezTo>
                  <a:lnTo>
                    <a:pt x="402908" y="444817"/>
                  </a:lnTo>
                  <a:cubicBezTo>
                    <a:pt x="407670" y="439103"/>
                    <a:pt x="411480" y="434340"/>
                    <a:pt x="416243" y="429578"/>
                  </a:cubicBezTo>
                  <a:lnTo>
                    <a:pt x="431483" y="429578"/>
                  </a:lnTo>
                  <a:close/>
                  <a:moveTo>
                    <a:pt x="340043" y="422910"/>
                  </a:moveTo>
                  <a:cubicBezTo>
                    <a:pt x="345758" y="422910"/>
                    <a:pt x="350520" y="426720"/>
                    <a:pt x="347663" y="437197"/>
                  </a:cubicBezTo>
                  <a:lnTo>
                    <a:pt x="321945" y="442913"/>
                  </a:lnTo>
                  <a:cubicBezTo>
                    <a:pt x="326708" y="432435"/>
                    <a:pt x="334328" y="422910"/>
                    <a:pt x="340043" y="422910"/>
                  </a:cubicBezTo>
                  <a:moveTo>
                    <a:pt x="354330" y="464820"/>
                  </a:moveTo>
                  <a:lnTo>
                    <a:pt x="349568" y="464820"/>
                  </a:lnTo>
                  <a:cubicBezTo>
                    <a:pt x="342900" y="472440"/>
                    <a:pt x="336233" y="478155"/>
                    <a:pt x="329565" y="478155"/>
                  </a:cubicBezTo>
                  <a:cubicBezTo>
                    <a:pt x="322898" y="478155"/>
                    <a:pt x="319088" y="474345"/>
                    <a:pt x="319088" y="464820"/>
                  </a:cubicBezTo>
                  <a:cubicBezTo>
                    <a:pt x="319088" y="461010"/>
                    <a:pt x="319088" y="457200"/>
                    <a:pt x="320040" y="453390"/>
                  </a:cubicBezTo>
                  <a:lnTo>
                    <a:pt x="360997" y="440055"/>
                  </a:lnTo>
                  <a:cubicBezTo>
                    <a:pt x="368618" y="421005"/>
                    <a:pt x="359093" y="412433"/>
                    <a:pt x="347663" y="412433"/>
                  </a:cubicBezTo>
                  <a:cubicBezTo>
                    <a:pt x="328613" y="412433"/>
                    <a:pt x="305753" y="444817"/>
                    <a:pt x="305753" y="473392"/>
                  </a:cubicBezTo>
                  <a:cubicBezTo>
                    <a:pt x="305753" y="485775"/>
                    <a:pt x="311468" y="493395"/>
                    <a:pt x="320993" y="493395"/>
                  </a:cubicBezTo>
                  <a:cubicBezTo>
                    <a:pt x="333375" y="493395"/>
                    <a:pt x="344805" y="481965"/>
                    <a:pt x="354330" y="464820"/>
                  </a:cubicBezTo>
                  <a:moveTo>
                    <a:pt x="257175" y="423863"/>
                  </a:moveTo>
                  <a:lnTo>
                    <a:pt x="270510" y="423863"/>
                  </a:lnTo>
                  <a:lnTo>
                    <a:pt x="248603" y="482917"/>
                  </a:lnTo>
                  <a:cubicBezTo>
                    <a:pt x="246698" y="487680"/>
                    <a:pt x="249555" y="493395"/>
                    <a:pt x="254318" y="493395"/>
                  </a:cubicBezTo>
                  <a:cubicBezTo>
                    <a:pt x="266700" y="493395"/>
                    <a:pt x="286703" y="481013"/>
                    <a:pt x="293370" y="464820"/>
                  </a:cubicBezTo>
                  <a:lnTo>
                    <a:pt x="289560" y="464820"/>
                  </a:lnTo>
                  <a:cubicBezTo>
                    <a:pt x="283845" y="470535"/>
                    <a:pt x="273368" y="478155"/>
                    <a:pt x="264795" y="480060"/>
                  </a:cubicBezTo>
                  <a:lnTo>
                    <a:pt x="284798" y="424815"/>
                  </a:lnTo>
                  <a:lnTo>
                    <a:pt x="304800" y="424815"/>
                  </a:lnTo>
                  <a:lnTo>
                    <a:pt x="307658" y="416242"/>
                  </a:lnTo>
                  <a:lnTo>
                    <a:pt x="287655" y="416242"/>
                  </a:lnTo>
                  <a:lnTo>
                    <a:pt x="295275" y="395288"/>
                  </a:lnTo>
                  <a:lnTo>
                    <a:pt x="287655" y="395288"/>
                  </a:lnTo>
                  <a:lnTo>
                    <a:pt x="273368" y="416242"/>
                  </a:lnTo>
                  <a:lnTo>
                    <a:pt x="256223" y="418147"/>
                  </a:lnTo>
                  <a:lnTo>
                    <a:pt x="256223" y="423863"/>
                  </a:lnTo>
                  <a:close/>
                  <a:moveTo>
                    <a:pt x="181928" y="469583"/>
                  </a:moveTo>
                  <a:cubicBezTo>
                    <a:pt x="181928" y="451485"/>
                    <a:pt x="201930" y="426720"/>
                    <a:pt x="213360" y="426720"/>
                  </a:cubicBezTo>
                  <a:cubicBezTo>
                    <a:pt x="216218" y="426720"/>
                    <a:pt x="218123" y="426720"/>
                    <a:pt x="220028" y="427672"/>
                  </a:cubicBezTo>
                  <a:lnTo>
                    <a:pt x="208598" y="459105"/>
                  </a:lnTo>
                  <a:cubicBezTo>
                    <a:pt x="201930" y="467678"/>
                    <a:pt x="191453" y="477203"/>
                    <a:pt x="186690" y="477203"/>
                  </a:cubicBezTo>
                  <a:cubicBezTo>
                    <a:pt x="183833" y="478155"/>
                    <a:pt x="181928" y="475297"/>
                    <a:pt x="181928" y="469583"/>
                  </a:cubicBezTo>
                  <a:moveTo>
                    <a:pt x="244793" y="408622"/>
                  </a:moveTo>
                  <a:lnTo>
                    <a:pt x="238125" y="408622"/>
                  </a:lnTo>
                  <a:lnTo>
                    <a:pt x="231458" y="415290"/>
                  </a:lnTo>
                  <a:lnTo>
                    <a:pt x="229553" y="415290"/>
                  </a:lnTo>
                  <a:cubicBezTo>
                    <a:pt x="195263" y="415290"/>
                    <a:pt x="166688" y="453390"/>
                    <a:pt x="166688" y="481013"/>
                  </a:cubicBezTo>
                  <a:cubicBezTo>
                    <a:pt x="166688" y="488633"/>
                    <a:pt x="171450" y="493395"/>
                    <a:pt x="179070" y="493395"/>
                  </a:cubicBezTo>
                  <a:cubicBezTo>
                    <a:pt x="187643" y="493395"/>
                    <a:pt x="196215" y="481013"/>
                    <a:pt x="205740" y="467678"/>
                  </a:cubicBezTo>
                  <a:lnTo>
                    <a:pt x="205740" y="472440"/>
                  </a:lnTo>
                  <a:cubicBezTo>
                    <a:pt x="204788" y="485775"/>
                    <a:pt x="208598" y="493395"/>
                    <a:pt x="216218" y="493395"/>
                  </a:cubicBezTo>
                  <a:cubicBezTo>
                    <a:pt x="224790" y="493395"/>
                    <a:pt x="232410" y="480060"/>
                    <a:pt x="238125" y="467678"/>
                  </a:cubicBezTo>
                  <a:lnTo>
                    <a:pt x="234315" y="467678"/>
                  </a:lnTo>
                  <a:cubicBezTo>
                    <a:pt x="230505" y="473392"/>
                    <a:pt x="226695" y="477203"/>
                    <a:pt x="223838" y="477203"/>
                  </a:cubicBezTo>
                  <a:cubicBezTo>
                    <a:pt x="220980" y="477203"/>
                    <a:pt x="218123" y="471488"/>
                    <a:pt x="223838" y="459105"/>
                  </a:cubicBezTo>
                  <a:lnTo>
                    <a:pt x="244793" y="408622"/>
                  </a:lnTo>
                  <a:close/>
                  <a:moveTo>
                    <a:pt x="172403" y="430530"/>
                  </a:moveTo>
                  <a:cubicBezTo>
                    <a:pt x="175260" y="421005"/>
                    <a:pt x="173355" y="412433"/>
                    <a:pt x="166688" y="412433"/>
                  </a:cubicBezTo>
                  <a:cubicBezTo>
                    <a:pt x="158115" y="412433"/>
                    <a:pt x="155258" y="419100"/>
                    <a:pt x="146685" y="438150"/>
                  </a:cubicBezTo>
                  <a:lnTo>
                    <a:pt x="146685" y="426720"/>
                  </a:lnTo>
                  <a:cubicBezTo>
                    <a:pt x="146685" y="419100"/>
                    <a:pt x="143828" y="411480"/>
                    <a:pt x="137160" y="411480"/>
                  </a:cubicBezTo>
                  <a:cubicBezTo>
                    <a:pt x="128588" y="411480"/>
                    <a:pt x="120968" y="424815"/>
                    <a:pt x="115253" y="437197"/>
                  </a:cubicBezTo>
                  <a:lnTo>
                    <a:pt x="119063" y="437197"/>
                  </a:lnTo>
                  <a:cubicBezTo>
                    <a:pt x="122873" y="431483"/>
                    <a:pt x="126682" y="427672"/>
                    <a:pt x="129540" y="427672"/>
                  </a:cubicBezTo>
                  <a:cubicBezTo>
                    <a:pt x="133350" y="427672"/>
                    <a:pt x="135255" y="433388"/>
                    <a:pt x="129540" y="445770"/>
                  </a:cubicBezTo>
                  <a:lnTo>
                    <a:pt x="113348" y="481013"/>
                  </a:lnTo>
                  <a:cubicBezTo>
                    <a:pt x="110490" y="487680"/>
                    <a:pt x="113348" y="492442"/>
                    <a:pt x="120015" y="492442"/>
                  </a:cubicBezTo>
                  <a:cubicBezTo>
                    <a:pt x="123825" y="492442"/>
                    <a:pt x="125730" y="491490"/>
                    <a:pt x="127635" y="486728"/>
                  </a:cubicBezTo>
                  <a:lnTo>
                    <a:pt x="143828" y="444817"/>
                  </a:lnTo>
                  <a:cubicBezTo>
                    <a:pt x="148590" y="439103"/>
                    <a:pt x="152400" y="434340"/>
                    <a:pt x="157163" y="429578"/>
                  </a:cubicBezTo>
                  <a:lnTo>
                    <a:pt x="172403" y="429578"/>
                  </a:lnTo>
                  <a:close/>
                  <a:moveTo>
                    <a:pt x="59055" y="489585"/>
                  </a:moveTo>
                  <a:lnTo>
                    <a:pt x="60960" y="484822"/>
                  </a:lnTo>
                  <a:cubicBezTo>
                    <a:pt x="40957" y="481013"/>
                    <a:pt x="39053" y="481013"/>
                    <a:pt x="46673" y="460058"/>
                  </a:cubicBezTo>
                  <a:lnTo>
                    <a:pt x="54293" y="438150"/>
                  </a:lnTo>
                  <a:lnTo>
                    <a:pt x="76200" y="438150"/>
                  </a:lnTo>
                  <a:cubicBezTo>
                    <a:pt x="85725" y="438150"/>
                    <a:pt x="85725" y="441960"/>
                    <a:pt x="84773" y="452438"/>
                  </a:cubicBezTo>
                  <a:lnTo>
                    <a:pt x="90488" y="452438"/>
                  </a:lnTo>
                  <a:lnTo>
                    <a:pt x="103823" y="416242"/>
                  </a:lnTo>
                  <a:lnTo>
                    <a:pt x="98107" y="416242"/>
                  </a:lnTo>
                  <a:cubicBezTo>
                    <a:pt x="93345" y="424815"/>
                    <a:pt x="89535" y="430530"/>
                    <a:pt x="79057" y="430530"/>
                  </a:cubicBezTo>
                  <a:lnTo>
                    <a:pt x="57150" y="430530"/>
                  </a:lnTo>
                  <a:lnTo>
                    <a:pt x="68580" y="399097"/>
                  </a:lnTo>
                  <a:cubicBezTo>
                    <a:pt x="72390" y="389572"/>
                    <a:pt x="74295" y="386715"/>
                    <a:pt x="87630" y="386715"/>
                  </a:cubicBezTo>
                  <a:lnTo>
                    <a:pt x="97155" y="386715"/>
                  </a:lnTo>
                  <a:cubicBezTo>
                    <a:pt x="110490" y="386715"/>
                    <a:pt x="112395" y="390525"/>
                    <a:pt x="112395" y="404813"/>
                  </a:cubicBezTo>
                  <a:lnTo>
                    <a:pt x="118110" y="404813"/>
                  </a:lnTo>
                  <a:lnTo>
                    <a:pt x="122873" y="380047"/>
                  </a:lnTo>
                  <a:lnTo>
                    <a:pt x="40957" y="380047"/>
                  </a:lnTo>
                  <a:lnTo>
                    <a:pt x="39053" y="384810"/>
                  </a:lnTo>
                  <a:cubicBezTo>
                    <a:pt x="55245" y="387667"/>
                    <a:pt x="56198" y="389572"/>
                    <a:pt x="48578" y="409575"/>
                  </a:cubicBezTo>
                  <a:lnTo>
                    <a:pt x="30480" y="458153"/>
                  </a:lnTo>
                  <a:cubicBezTo>
                    <a:pt x="22860" y="478155"/>
                    <a:pt x="20003" y="480060"/>
                    <a:pt x="1905" y="482917"/>
                  </a:cubicBezTo>
                  <a:lnTo>
                    <a:pt x="953" y="487680"/>
                  </a:lnTo>
                  <a:lnTo>
                    <a:pt x="59055" y="487680"/>
                  </a:lnTo>
                  <a:close/>
                  <a:moveTo>
                    <a:pt x="460058" y="238125"/>
                  </a:moveTo>
                  <a:cubicBezTo>
                    <a:pt x="465772" y="238125"/>
                    <a:pt x="470535" y="241935"/>
                    <a:pt x="467678" y="252413"/>
                  </a:cubicBezTo>
                  <a:lnTo>
                    <a:pt x="441960" y="258128"/>
                  </a:lnTo>
                  <a:cubicBezTo>
                    <a:pt x="446722" y="246697"/>
                    <a:pt x="454343" y="238125"/>
                    <a:pt x="460058" y="238125"/>
                  </a:cubicBezTo>
                  <a:moveTo>
                    <a:pt x="474345" y="279083"/>
                  </a:moveTo>
                  <a:lnTo>
                    <a:pt x="469583" y="279083"/>
                  </a:lnTo>
                  <a:cubicBezTo>
                    <a:pt x="462915" y="286703"/>
                    <a:pt x="456247" y="292417"/>
                    <a:pt x="449580" y="292417"/>
                  </a:cubicBezTo>
                  <a:cubicBezTo>
                    <a:pt x="442913" y="292417"/>
                    <a:pt x="439103" y="288608"/>
                    <a:pt x="439103" y="279083"/>
                  </a:cubicBezTo>
                  <a:cubicBezTo>
                    <a:pt x="439103" y="275272"/>
                    <a:pt x="439103" y="271463"/>
                    <a:pt x="440055" y="267653"/>
                  </a:cubicBezTo>
                  <a:lnTo>
                    <a:pt x="481013" y="254317"/>
                  </a:lnTo>
                  <a:cubicBezTo>
                    <a:pt x="488633" y="235267"/>
                    <a:pt x="479108" y="226695"/>
                    <a:pt x="467678" y="226695"/>
                  </a:cubicBezTo>
                  <a:cubicBezTo>
                    <a:pt x="448628" y="226695"/>
                    <a:pt x="425768" y="259080"/>
                    <a:pt x="425768" y="287655"/>
                  </a:cubicBezTo>
                  <a:cubicBezTo>
                    <a:pt x="425768" y="300038"/>
                    <a:pt x="431483" y="307658"/>
                    <a:pt x="441008" y="307658"/>
                  </a:cubicBezTo>
                  <a:cubicBezTo>
                    <a:pt x="453390" y="307658"/>
                    <a:pt x="464820" y="297180"/>
                    <a:pt x="474345" y="279083"/>
                  </a:cubicBezTo>
                  <a:moveTo>
                    <a:pt x="466725" y="219075"/>
                  </a:moveTo>
                  <a:lnTo>
                    <a:pt x="495300" y="192405"/>
                  </a:lnTo>
                  <a:lnTo>
                    <a:pt x="495300" y="189547"/>
                  </a:lnTo>
                  <a:lnTo>
                    <a:pt x="480060" y="189547"/>
                  </a:lnTo>
                  <a:lnTo>
                    <a:pt x="461963" y="220028"/>
                  </a:lnTo>
                  <a:lnTo>
                    <a:pt x="466725" y="220028"/>
                  </a:lnTo>
                  <a:close/>
                  <a:moveTo>
                    <a:pt x="378143" y="238125"/>
                  </a:moveTo>
                  <a:lnTo>
                    <a:pt x="391478" y="238125"/>
                  </a:lnTo>
                  <a:lnTo>
                    <a:pt x="369570" y="297180"/>
                  </a:lnTo>
                  <a:cubicBezTo>
                    <a:pt x="367665" y="301942"/>
                    <a:pt x="370522" y="307658"/>
                    <a:pt x="375285" y="307658"/>
                  </a:cubicBezTo>
                  <a:cubicBezTo>
                    <a:pt x="387668" y="307658"/>
                    <a:pt x="407670" y="295275"/>
                    <a:pt x="414338" y="279083"/>
                  </a:cubicBezTo>
                  <a:lnTo>
                    <a:pt x="410528" y="279083"/>
                  </a:lnTo>
                  <a:cubicBezTo>
                    <a:pt x="404813" y="284797"/>
                    <a:pt x="394335" y="292417"/>
                    <a:pt x="385763" y="294322"/>
                  </a:cubicBezTo>
                  <a:lnTo>
                    <a:pt x="405765" y="239078"/>
                  </a:lnTo>
                  <a:lnTo>
                    <a:pt x="425768" y="239078"/>
                  </a:lnTo>
                  <a:lnTo>
                    <a:pt x="428625" y="230505"/>
                  </a:lnTo>
                  <a:lnTo>
                    <a:pt x="408622" y="230505"/>
                  </a:lnTo>
                  <a:lnTo>
                    <a:pt x="416243" y="209550"/>
                  </a:lnTo>
                  <a:lnTo>
                    <a:pt x="408622" y="209550"/>
                  </a:lnTo>
                  <a:lnTo>
                    <a:pt x="394335" y="230505"/>
                  </a:lnTo>
                  <a:lnTo>
                    <a:pt x="377190" y="232410"/>
                  </a:lnTo>
                  <a:lnTo>
                    <a:pt x="377190" y="238125"/>
                  </a:lnTo>
                  <a:close/>
                  <a:moveTo>
                    <a:pt x="359093" y="235267"/>
                  </a:moveTo>
                  <a:cubicBezTo>
                    <a:pt x="360997" y="229553"/>
                    <a:pt x="357188" y="226695"/>
                    <a:pt x="354330" y="226695"/>
                  </a:cubicBezTo>
                  <a:cubicBezTo>
                    <a:pt x="342900" y="226695"/>
                    <a:pt x="328613" y="237172"/>
                    <a:pt x="322898" y="252413"/>
                  </a:cubicBezTo>
                  <a:lnTo>
                    <a:pt x="326708" y="252413"/>
                  </a:lnTo>
                  <a:cubicBezTo>
                    <a:pt x="330518" y="246697"/>
                    <a:pt x="337185" y="240983"/>
                    <a:pt x="342900" y="240030"/>
                  </a:cubicBezTo>
                  <a:lnTo>
                    <a:pt x="320040" y="299085"/>
                  </a:lnTo>
                  <a:cubicBezTo>
                    <a:pt x="318135" y="304800"/>
                    <a:pt x="321945" y="307658"/>
                    <a:pt x="324803" y="307658"/>
                  </a:cubicBezTo>
                  <a:cubicBezTo>
                    <a:pt x="336233" y="307658"/>
                    <a:pt x="349568" y="297180"/>
                    <a:pt x="355283" y="281940"/>
                  </a:cubicBezTo>
                  <a:lnTo>
                    <a:pt x="351472" y="281940"/>
                  </a:lnTo>
                  <a:cubicBezTo>
                    <a:pt x="347663" y="287655"/>
                    <a:pt x="340995" y="293370"/>
                    <a:pt x="335280" y="294322"/>
                  </a:cubicBezTo>
                  <a:lnTo>
                    <a:pt x="359093" y="235267"/>
                  </a:lnTo>
                  <a:close/>
                  <a:moveTo>
                    <a:pt x="363855" y="205740"/>
                  </a:moveTo>
                  <a:cubicBezTo>
                    <a:pt x="369570" y="205740"/>
                    <a:pt x="373380" y="200978"/>
                    <a:pt x="373380" y="196215"/>
                  </a:cubicBezTo>
                  <a:cubicBezTo>
                    <a:pt x="373380" y="190500"/>
                    <a:pt x="368618" y="186690"/>
                    <a:pt x="363855" y="186690"/>
                  </a:cubicBezTo>
                  <a:cubicBezTo>
                    <a:pt x="358140" y="186690"/>
                    <a:pt x="354330" y="191453"/>
                    <a:pt x="354330" y="196215"/>
                  </a:cubicBezTo>
                  <a:cubicBezTo>
                    <a:pt x="353378" y="201930"/>
                    <a:pt x="358140" y="205740"/>
                    <a:pt x="363855" y="205740"/>
                  </a:cubicBezTo>
                  <a:moveTo>
                    <a:pt x="284798" y="294322"/>
                  </a:moveTo>
                  <a:lnTo>
                    <a:pt x="325755" y="185738"/>
                  </a:lnTo>
                  <a:lnTo>
                    <a:pt x="324803" y="183833"/>
                  </a:lnTo>
                  <a:lnTo>
                    <a:pt x="299085" y="186690"/>
                  </a:lnTo>
                  <a:lnTo>
                    <a:pt x="299085" y="189547"/>
                  </a:lnTo>
                  <a:lnTo>
                    <a:pt x="303848" y="193358"/>
                  </a:lnTo>
                  <a:cubicBezTo>
                    <a:pt x="308610" y="197167"/>
                    <a:pt x="306705" y="200025"/>
                    <a:pt x="302895" y="211455"/>
                  </a:cubicBezTo>
                  <a:lnTo>
                    <a:pt x="270510" y="296228"/>
                  </a:lnTo>
                  <a:cubicBezTo>
                    <a:pt x="268605" y="300990"/>
                    <a:pt x="271463" y="306705"/>
                    <a:pt x="276225" y="306705"/>
                  </a:cubicBezTo>
                  <a:cubicBezTo>
                    <a:pt x="287655" y="306705"/>
                    <a:pt x="300990" y="296228"/>
                    <a:pt x="306705" y="280988"/>
                  </a:cubicBezTo>
                  <a:lnTo>
                    <a:pt x="302895" y="280988"/>
                  </a:lnTo>
                  <a:cubicBezTo>
                    <a:pt x="299085" y="287655"/>
                    <a:pt x="290513" y="293370"/>
                    <a:pt x="284798" y="294322"/>
                  </a:cubicBezTo>
                  <a:moveTo>
                    <a:pt x="205740" y="284797"/>
                  </a:moveTo>
                  <a:cubicBezTo>
                    <a:pt x="205740" y="266700"/>
                    <a:pt x="225743" y="241935"/>
                    <a:pt x="237173" y="241935"/>
                  </a:cubicBezTo>
                  <a:cubicBezTo>
                    <a:pt x="240030" y="241935"/>
                    <a:pt x="241935" y="241935"/>
                    <a:pt x="243840" y="242888"/>
                  </a:cubicBezTo>
                  <a:lnTo>
                    <a:pt x="232410" y="274320"/>
                  </a:lnTo>
                  <a:cubicBezTo>
                    <a:pt x="225743" y="282892"/>
                    <a:pt x="215265" y="292417"/>
                    <a:pt x="210503" y="292417"/>
                  </a:cubicBezTo>
                  <a:cubicBezTo>
                    <a:pt x="207645" y="292417"/>
                    <a:pt x="205740" y="289560"/>
                    <a:pt x="205740" y="284797"/>
                  </a:cubicBezTo>
                  <a:moveTo>
                    <a:pt x="268605" y="223838"/>
                  </a:moveTo>
                  <a:lnTo>
                    <a:pt x="261938" y="223838"/>
                  </a:lnTo>
                  <a:lnTo>
                    <a:pt x="255270" y="230505"/>
                  </a:lnTo>
                  <a:lnTo>
                    <a:pt x="253365" y="230505"/>
                  </a:lnTo>
                  <a:cubicBezTo>
                    <a:pt x="219075" y="230505"/>
                    <a:pt x="190500" y="268605"/>
                    <a:pt x="190500" y="296228"/>
                  </a:cubicBezTo>
                  <a:cubicBezTo>
                    <a:pt x="190500" y="303847"/>
                    <a:pt x="195263" y="308610"/>
                    <a:pt x="202883" y="308610"/>
                  </a:cubicBezTo>
                  <a:cubicBezTo>
                    <a:pt x="211455" y="308610"/>
                    <a:pt x="220028" y="296228"/>
                    <a:pt x="229553" y="282892"/>
                  </a:cubicBezTo>
                  <a:lnTo>
                    <a:pt x="229553" y="287655"/>
                  </a:lnTo>
                  <a:cubicBezTo>
                    <a:pt x="228600" y="300990"/>
                    <a:pt x="232410" y="308610"/>
                    <a:pt x="240030" y="308610"/>
                  </a:cubicBezTo>
                  <a:cubicBezTo>
                    <a:pt x="248603" y="308610"/>
                    <a:pt x="256223" y="295275"/>
                    <a:pt x="261938" y="282892"/>
                  </a:cubicBezTo>
                  <a:lnTo>
                    <a:pt x="258128" y="282892"/>
                  </a:lnTo>
                  <a:cubicBezTo>
                    <a:pt x="254318" y="288608"/>
                    <a:pt x="250508" y="292417"/>
                    <a:pt x="247650" y="292417"/>
                  </a:cubicBezTo>
                  <a:cubicBezTo>
                    <a:pt x="244793" y="292417"/>
                    <a:pt x="241935" y="286703"/>
                    <a:pt x="247650" y="274320"/>
                  </a:cubicBezTo>
                  <a:lnTo>
                    <a:pt x="268605" y="223838"/>
                  </a:lnTo>
                  <a:close/>
                  <a:moveTo>
                    <a:pt x="117157" y="321945"/>
                  </a:moveTo>
                  <a:cubicBezTo>
                    <a:pt x="117157" y="314325"/>
                    <a:pt x="124778" y="309563"/>
                    <a:pt x="135255" y="304800"/>
                  </a:cubicBezTo>
                  <a:cubicBezTo>
                    <a:pt x="139065" y="306705"/>
                    <a:pt x="143828" y="308610"/>
                    <a:pt x="151448" y="310515"/>
                  </a:cubicBezTo>
                  <a:cubicBezTo>
                    <a:pt x="162878" y="314325"/>
                    <a:pt x="166688" y="315278"/>
                    <a:pt x="166688" y="319088"/>
                  </a:cubicBezTo>
                  <a:cubicBezTo>
                    <a:pt x="166688" y="326708"/>
                    <a:pt x="154305" y="331470"/>
                    <a:pt x="137160" y="331470"/>
                  </a:cubicBezTo>
                  <a:cubicBezTo>
                    <a:pt x="123825" y="332422"/>
                    <a:pt x="117157" y="329565"/>
                    <a:pt x="117157" y="321945"/>
                  </a:cubicBezTo>
                  <a:moveTo>
                    <a:pt x="147638" y="274320"/>
                  </a:moveTo>
                  <a:cubicBezTo>
                    <a:pt x="142875" y="274320"/>
                    <a:pt x="140970" y="270510"/>
                    <a:pt x="140970" y="265747"/>
                  </a:cubicBezTo>
                  <a:cubicBezTo>
                    <a:pt x="140970" y="252413"/>
                    <a:pt x="147638" y="233363"/>
                    <a:pt x="159068" y="233363"/>
                  </a:cubicBezTo>
                  <a:cubicBezTo>
                    <a:pt x="163830" y="233363"/>
                    <a:pt x="165735" y="237172"/>
                    <a:pt x="165735" y="241935"/>
                  </a:cubicBezTo>
                  <a:cubicBezTo>
                    <a:pt x="166688" y="254317"/>
                    <a:pt x="159068" y="274320"/>
                    <a:pt x="147638" y="274320"/>
                  </a:cubicBezTo>
                  <a:moveTo>
                    <a:pt x="180023" y="314325"/>
                  </a:moveTo>
                  <a:cubicBezTo>
                    <a:pt x="180023" y="304800"/>
                    <a:pt x="171450" y="300990"/>
                    <a:pt x="158115" y="297180"/>
                  </a:cubicBezTo>
                  <a:cubicBezTo>
                    <a:pt x="146685" y="293370"/>
                    <a:pt x="140970" y="292417"/>
                    <a:pt x="140970" y="288608"/>
                  </a:cubicBezTo>
                  <a:cubicBezTo>
                    <a:pt x="140970" y="285750"/>
                    <a:pt x="143828" y="281940"/>
                    <a:pt x="148590" y="279083"/>
                  </a:cubicBezTo>
                  <a:cubicBezTo>
                    <a:pt x="167640" y="278130"/>
                    <a:pt x="180975" y="260985"/>
                    <a:pt x="180975" y="245745"/>
                  </a:cubicBezTo>
                  <a:cubicBezTo>
                    <a:pt x="180975" y="242888"/>
                    <a:pt x="180023" y="240030"/>
                    <a:pt x="179070" y="237172"/>
                  </a:cubicBezTo>
                  <a:lnTo>
                    <a:pt x="195263" y="237172"/>
                  </a:lnTo>
                  <a:lnTo>
                    <a:pt x="198120" y="228600"/>
                  </a:lnTo>
                  <a:lnTo>
                    <a:pt x="172403" y="228600"/>
                  </a:lnTo>
                  <a:cubicBezTo>
                    <a:pt x="169545" y="226695"/>
                    <a:pt x="165735" y="225742"/>
                    <a:pt x="161925" y="225742"/>
                  </a:cubicBezTo>
                  <a:cubicBezTo>
                    <a:pt x="140970" y="225742"/>
                    <a:pt x="127635" y="243840"/>
                    <a:pt x="127635" y="258128"/>
                  </a:cubicBezTo>
                  <a:cubicBezTo>
                    <a:pt x="127635" y="269558"/>
                    <a:pt x="134303" y="276225"/>
                    <a:pt x="143828" y="278130"/>
                  </a:cubicBezTo>
                  <a:cubicBezTo>
                    <a:pt x="134303" y="282892"/>
                    <a:pt x="128588" y="287655"/>
                    <a:pt x="128588" y="293370"/>
                  </a:cubicBezTo>
                  <a:cubicBezTo>
                    <a:pt x="128588" y="297180"/>
                    <a:pt x="129540" y="299085"/>
                    <a:pt x="132398" y="300990"/>
                  </a:cubicBezTo>
                  <a:cubicBezTo>
                    <a:pt x="110490" y="307658"/>
                    <a:pt x="100965" y="315278"/>
                    <a:pt x="100965" y="325755"/>
                  </a:cubicBezTo>
                  <a:cubicBezTo>
                    <a:pt x="100965" y="336233"/>
                    <a:pt x="114300" y="340042"/>
                    <a:pt x="130493" y="340042"/>
                  </a:cubicBezTo>
                  <a:cubicBezTo>
                    <a:pt x="157163" y="341947"/>
                    <a:pt x="180023" y="326708"/>
                    <a:pt x="180023" y="314325"/>
                  </a:cubicBezTo>
                  <a:moveTo>
                    <a:pt x="76200" y="251460"/>
                  </a:moveTo>
                  <a:cubicBezTo>
                    <a:pt x="85725" y="251460"/>
                    <a:pt x="85725" y="255270"/>
                    <a:pt x="84773" y="265747"/>
                  </a:cubicBezTo>
                  <a:lnTo>
                    <a:pt x="90488" y="265747"/>
                  </a:lnTo>
                  <a:lnTo>
                    <a:pt x="103823" y="229553"/>
                  </a:lnTo>
                  <a:lnTo>
                    <a:pt x="98107" y="229553"/>
                  </a:lnTo>
                  <a:cubicBezTo>
                    <a:pt x="93345" y="238125"/>
                    <a:pt x="89535" y="243840"/>
                    <a:pt x="79057" y="243840"/>
                  </a:cubicBezTo>
                  <a:lnTo>
                    <a:pt x="57150" y="243840"/>
                  </a:lnTo>
                  <a:lnTo>
                    <a:pt x="67628" y="214313"/>
                  </a:lnTo>
                  <a:cubicBezTo>
                    <a:pt x="71438" y="204788"/>
                    <a:pt x="73343" y="202883"/>
                    <a:pt x="86678" y="202883"/>
                  </a:cubicBezTo>
                  <a:lnTo>
                    <a:pt x="96203" y="202883"/>
                  </a:lnTo>
                  <a:cubicBezTo>
                    <a:pt x="109538" y="202883"/>
                    <a:pt x="111443" y="206692"/>
                    <a:pt x="111443" y="220028"/>
                  </a:cubicBezTo>
                  <a:lnTo>
                    <a:pt x="117157" y="220028"/>
                  </a:lnTo>
                  <a:lnTo>
                    <a:pt x="121920" y="195263"/>
                  </a:lnTo>
                  <a:lnTo>
                    <a:pt x="40005" y="195263"/>
                  </a:lnTo>
                  <a:lnTo>
                    <a:pt x="38100" y="200025"/>
                  </a:lnTo>
                  <a:cubicBezTo>
                    <a:pt x="54293" y="202883"/>
                    <a:pt x="55245" y="204788"/>
                    <a:pt x="47625" y="224790"/>
                  </a:cubicBezTo>
                  <a:lnTo>
                    <a:pt x="29528" y="273367"/>
                  </a:lnTo>
                  <a:cubicBezTo>
                    <a:pt x="21908" y="293370"/>
                    <a:pt x="19050" y="295275"/>
                    <a:pt x="953" y="298133"/>
                  </a:cubicBezTo>
                  <a:lnTo>
                    <a:pt x="0" y="302895"/>
                  </a:lnTo>
                  <a:lnTo>
                    <a:pt x="91440" y="302895"/>
                  </a:lnTo>
                  <a:lnTo>
                    <a:pt x="107632" y="277178"/>
                  </a:lnTo>
                  <a:lnTo>
                    <a:pt x="101918" y="277178"/>
                  </a:lnTo>
                  <a:cubicBezTo>
                    <a:pt x="91440" y="286703"/>
                    <a:pt x="78105" y="296228"/>
                    <a:pt x="60007" y="296228"/>
                  </a:cubicBezTo>
                  <a:cubicBezTo>
                    <a:pt x="36195" y="296228"/>
                    <a:pt x="38100" y="295275"/>
                    <a:pt x="45720" y="273367"/>
                  </a:cubicBezTo>
                  <a:lnTo>
                    <a:pt x="54293" y="249555"/>
                  </a:lnTo>
                  <a:lnTo>
                    <a:pt x="76200" y="249555"/>
                  </a:lnTo>
                  <a:close/>
                  <a:moveTo>
                    <a:pt x="88582" y="188595"/>
                  </a:moveTo>
                  <a:lnTo>
                    <a:pt x="117157" y="168592"/>
                  </a:lnTo>
                  <a:lnTo>
                    <a:pt x="117157" y="165735"/>
                  </a:lnTo>
                  <a:lnTo>
                    <a:pt x="100013" y="165735"/>
                  </a:lnTo>
                  <a:lnTo>
                    <a:pt x="83820" y="188595"/>
                  </a:lnTo>
                  <a:lnTo>
                    <a:pt x="88582" y="188595"/>
                  </a:lnTo>
                  <a:close/>
                  <a:moveTo>
                    <a:pt x="450533" y="52388"/>
                  </a:moveTo>
                  <a:cubicBezTo>
                    <a:pt x="456247" y="52388"/>
                    <a:pt x="461010" y="56197"/>
                    <a:pt x="458153" y="66675"/>
                  </a:cubicBezTo>
                  <a:lnTo>
                    <a:pt x="432435" y="72390"/>
                  </a:lnTo>
                  <a:cubicBezTo>
                    <a:pt x="437197" y="60960"/>
                    <a:pt x="444818" y="52388"/>
                    <a:pt x="450533" y="52388"/>
                  </a:cubicBezTo>
                  <a:moveTo>
                    <a:pt x="464820" y="93345"/>
                  </a:moveTo>
                  <a:lnTo>
                    <a:pt x="460058" y="93345"/>
                  </a:lnTo>
                  <a:cubicBezTo>
                    <a:pt x="453390" y="100965"/>
                    <a:pt x="446722" y="106680"/>
                    <a:pt x="440055" y="106680"/>
                  </a:cubicBezTo>
                  <a:cubicBezTo>
                    <a:pt x="433388" y="106680"/>
                    <a:pt x="429578" y="102870"/>
                    <a:pt x="429578" y="93345"/>
                  </a:cubicBezTo>
                  <a:cubicBezTo>
                    <a:pt x="429578" y="89535"/>
                    <a:pt x="429578" y="85725"/>
                    <a:pt x="430530" y="81915"/>
                  </a:cubicBezTo>
                  <a:lnTo>
                    <a:pt x="471488" y="68580"/>
                  </a:lnTo>
                  <a:cubicBezTo>
                    <a:pt x="479108" y="49530"/>
                    <a:pt x="469583" y="40958"/>
                    <a:pt x="458153" y="40958"/>
                  </a:cubicBezTo>
                  <a:cubicBezTo>
                    <a:pt x="439103" y="40958"/>
                    <a:pt x="416243" y="73342"/>
                    <a:pt x="416243" y="101917"/>
                  </a:cubicBezTo>
                  <a:cubicBezTo>
                    <a:pt x="416243" y="114300"/>
                    <a:pt x="421958" y="121920"/>
                    <a:pt x="431483" y="121920"/>
                  </a:cubicBezTo>
                  <a:cubicBezTo>
                    <a:pt x="443865" y="121920"/>
                    <a:pt x="455295" y="111442"/>
                    <a:pt x="464820" y="93345"/>
                  </a:cubicBezTo>
                  <a:moveTo>
                    <a:pt x="457200" y="33338"/>
                  </a:moveTo>
                  <a:lnTo>
                    <a:pt x="485775" y="6667"/>
                  </a:lnTo>
                  <a:lnTo>
                    <a:pt x="485775" y="3810"/>
                  </a:lnTo>
                  <a:lnTo>
                    <a:pt x="470535" y="3810"/>
                  </a:lnTo>
                  <a:lnTo>
                    <a:pt x="452438" y="34290"/>
                  </a:lnTo>
                  <a:lnTo>
                    <a:pt x="457200" y="34290"/>
                  </a:lnTo>
                  <a:close/>
                  <a:moveTo>
                    <a:pt x="371475" y="52388"/>
                  </a:moveTo>
                  <a:lnTo>
                    <a:pt x="381953" y="52388"/>
                  </a:lnTo>
                  <a:lnTo>
                    <a:pt x="360045" y="111442"/>
                  </a:lnTo>
                  <a:cubicBezTo>
                    <a:pt x="358140" y="116205"/>
                    <a:pt x="360997" y="121920"/>
                    <a:pt x="365760" y="121920"/>
                  </a:cubicBezTo>
                  <a:cubicBezTo>
                    <a:pt x="378143" y="121920"/>
                    <a:pt x="398145" y="109538"/>
                    <a:pt x="404813" y="93345"/>
                  </a:cubicBezTo>
                  <a:lnTo>
                    <a:pt x="401003" y="93345"/>
                  </a:lnTo>
                  <a:cubicBezTo>
                    <a:pt x="395288" y="99060"/>
                    <a:pt x="384810" y="106680"/>
                    <a:pt x="376238" y="108585"/>
                  </a:cubicBezTo>
                  <a:lnTo>
                    <a:pt x="396240" y="53340"/>
                  </a:lnTo>
                  <a:lnTo>
                    <a:pt x="416243" y="53340"/>
                  </a:lnTo>
                  <a:lnTo>
                    <a:pt x="419100" y="44767"/>
                  </a:lnTo>
                  <a:lnTo>
                    <a:pt x="399097" y="44767"/>
                  </a:lnTo>
                  <a:lnTo>
                    <a:pt x="406718" y="23813"/>
                  </a:lnTo>
                  <a:lnTo>
                    <a:pt x="399097" y="23813"/>
                  </a:lnTo>
                  <a:lnTo>
                    <a:pt x="384810" y="44767"/>
                  </a:lnTo>
                  <a:lnTo>
                    <a:pt x="370522" y="46672"/>
                  </a:lnTo>
                  <a:lnTo>
                    <a:pt x="370522" y="52388"/>
                  </a:lnTo>
                  <a:close/>
                  <a:moveTo>
                    <a:pt x="360997" y="59055"/>
                  </a:moveTo>
                  <a:cubicBezTo>
                    <a:pt x="363855" y="49530"/>
                    <a:pt x="361950" y="40958"/>
                    <a:pt x="355283" y="40958"/>
                  </a:cubicBezTo>
                  <a:cubicBezTo>
                    <a:pt x="346710" y="40958"/>
                    <a:pt x="343853" y="47625"/>
                    <a:pt x="335280" y="66675"/>
                  </a:cubicBezTo>
                  <a:lnTo>
                    <a:pt x="335280" y="55245"/>
                  </a:lnTo>
                  <a:cubicBezTo>
                    <a:pt x="335280" y="47625"/>
                    <a:pt x="332423" y="40005"/>
                    <a:pt x="325755" y="40005"/>
                  </a:cubicBezTo>
                  <a:cubicBezTo>
                    <a:pt x="317183" y="40005"/>
                    <a:pt x="309563" y="53340"/>
                    <a:pt x="303848" y="65722"/>
                  </a:cubicBezTo>
                  <a:lnTo>
                    <a:pt x="307658" y="65722"/>
                  </a:lnTo>
                  <a:cubicBezTo>
                    <a:pt x="311468" y="60008"/>
                    <a:pt x="315278" y="56197"/>
                    <a:pt x="318135" y="56197"/>
                  </a:cubicBezTo>
                  <a:cubicBezTo>
                    <a:pt x="321945" y="56197"/>
                    <a:pt x="323850" y="61913"/>
                    <a:pt x="318135" y="74295"/>
                  </a:cubicBezTo>
                  <a:lnTo>
                    <a:pt x="301943" y="109538"/>
                  </a:lnTo>
                  <a:cubicBezTo>
                    <a:pt x="299085" y="116205"/>
                    <a:pt x="301943" y="120967"/>
                    <a:pt x="308610" y="120967"/>
                  </a:cubicBezTo>
                  <a:cubicBezTo>
                    <a:pt x="312420" y="120967"/>
                    <a:pt x="314325" y="120015"/>
                    <a:pt x="316230" y="115253"/>
                  </a:cubicBezTo>
                  <a:lnTo>
                    <a:pt x="332423" y="73342"/>
                  </a:lnTo>
                  <a:cubicBezTo>
                    <a:pt x="337185" y="67628"/>
                    <a:pt x="340995" y="62865"/>
                    <a:pt x="345758" y="58103"/>
                  </a:cubicBezTo>
                  <a:lnTo>
                    <a:pt x="360997" y="58103"/>
                  </a:lnTo>
                  <a:close/>
                  <a:moveTo>
                    <a:pt x="269558" y="52388"/>
                  </a:moveTo>
                  <a:cubicBezTo>
                    <a:pt x="275273" y="52388"/>
                    <a:pt x="280035" y="56197"/>
                    <a:pt x="277178" y="66675"/>
                  </a:cubicBezTo>
                  <a:lnTo>
                    <a:pt x="251460" y="72390"/>
                  </a:lnTo>
                  <a:cubicBezTo>
                    <a:pt x="256223" y="60960"/>
                    <a:pt x="263843" y="52388"/>
                    <a:pt x="269558" y="52388"/>
                  </a:cubicBezTo>
                  <a:moveTo>
                    <a:pt x="283845" y="93345"/>
                  </a:moveTo>
                  <a:lnTo>
                    <a:pt x="279083" y="93345"/>
                  </a:lnTo>
                  <a:cubicBezTo>
                    <a:pt x="272415" y="100965"/>
                    <a:pt x="265748" y="106680"/>
                    <a:pt x="259080" y="106680"/>
                  </a:cubicBezTo>
                  <a:cubicBezTo>
                    <a:pt x="252413" y="106680"/>
                    <a:pt x="248603" y="102870"/>
                    <a:pt x="248603" y="93345"/>
                  </a:cubicBezTo>
                  <a:cubicBezTo>
                    <a:pt x="248603" y="89535"/>
                    <a:pt x="248603" y="85725"/>
                    <a:pt x="249555" y="81915"/>
                  </a:cubicBezTo>
                  <a:lnTo>
                    <a:pt x="290513" y="68580"/>
                  </a:lnTo>
                  <a:cubicBezTo>
                    <a:pt x="298133" y="49530"/>
                    <a:pt x="288608" y="40958"/>
                    <a:pt x="277178" y="40958"/>
                  </a:cubicBezTo>
                  <a:cubicBezTo>
                    <a:pt x="258128" y="40958"/>
                    <a:pt x="235268" y="73342"/>
                    <a:pt x="235268" y="101917"/>
                  </a:cubicBezTo>
                  <a:cubicBezTo>
                    <a:pt x="235268" y="114300"/>
                    <a:pt x="240983" y="121920"/>
                    <a:pt x="250508" y="121920"/>
                  </a:cubicBezTo>
                  <a:cubicBezTo>
                    <a:pt x="262890" y="121920"/>
                    <a:pt x="274320" y="111442"/>
                    <a:pt x="283845" y="93345"/>
                  </a:cubicBezTo>
                  <a:moveTo>
                    <a:pt x="182880" y="110490"/>
                  </a:moveTo>
                  <a:cubicBezTo>
                    <a:pt x="179070" y="110490"/>
                    <a:pt x="173355" y="106680"/>
                    <a:pt x="173355" y="103822"/>
                  </a:cubicBezTo>
                  <a:cubicBezTo>
                    <a:pt x="173355" y="102870"/>
                    <a:pt x="175260" y="98108"/>
                    <a:pt x="177165" y="92392"/>
                  </a:cubicBezTo>
                  <a:lnTo>
                    <a:pt x="183833" y="74295"/>
                  </a:lnTo>
                  <a:cubicBezTo>
                    <a:pt x="190500" y="65722"/>
                    <a:pt x="201930" y="57150"/>
                    <a:pt x="207645" y="57150"/>
                  </a:cubicBezTo>
                  <a:cubicBezTo>
                    <a:pt x="211455" y="57150"/>
                    <a:pt x="214313" y="59055"/>
                    <a:pt x="214313" y="64770"/>
                  </a:cubicBezTo>
                  <a:cubicBezTo>
                    <a:pt x="215265" y="80963"/>
                    <a:pt x="200025" y="110490"/>
                    <a:pt x="182880" y="110490"/>
                  </a:cubicBezTo>
                  <a:moveTo>
                    <a:pt x="230505" y="58103"/>
                  </a:moveTo>
                  <a:cubicBezTo>
                    <a:pt x="230505" y="45720"/>
                    <a:pt x="225743" y="41910"/>
                    <a:pt x="218123" y="41910"/>
                  </a:cubicBezTo>
                  <a:cubicBezTo>
                    <a:pt x="207645" y="41910"/>
                    <a:pt x="198120" y="53340"/>
                    <a:pt x="188595" y="66675"/>
                  </a:cubicBezTo>
                  <a:lnTo>
                    <a:pt x="213360" y="1905"/>
                  </a:lnTo>
                  <a:lnTo>
                    <a:pt x="212408" y="0"/>
                  </a:lnTo>
                  <a:lnTo>
                    <a:pt x="186690" y="2858"/>
                  </a:lnTo>
                  <a:lnTo>
                    <a:pt x="186690" y="5715"/>
                  </a:lnTo>
                  <a:lnTo>
                    <a:pt x="191453" y="9525"/>
                  </a:lnTo>
                  <a:cubicBezTo>
                    <a:pt x="196215" y="13335"/>
                    <a:pt x="194310" y="17145"/>
                    <a:pt x="190500" y="27622"/>
                  </a:cubicBezTo>
                  <a:lnTo>
                    <a:pt x="163830" y="96203"/>
                  </a:lnTo>
                  <a:cubicBezTo>
                    <a:pt x="161925" y="100965"/>
                    <a:pt x="159068" y="107633"/>
                    <a:pt x="159068" y="108585"/>
                  </a:cubicBezTo>
                  <a:cubicBezTo>
                    <a:pt x="159068" y="115253"/>
                    <a:pt x="168593" y="121920"/>
                    <a:pt x="177165" y="121920"/>
                  </a:cubicBezTo>
                  <a:cubicBezTo>
                    <a:pt x="196215" y="121920"/>
                    <a:pt x="230505" y="85725"/>
                    <a:pt x="230505" y="58103"/>
                  </a:cubicBezTo>
                  <a:moveTo>
                    <a:pt x="149543" y="49530"/>
                  </a:moveTo>
                  <a:cubicBezTo>
                    <a:pt x="151448" y="43815"/>
                    <a:pt x="147638" y="40958"/>
                    <a:pt x="144780" y="40958"/>
                  </a:cubicBezTo>
                  <a:cubicBezTo>
                    <a:pt x="133350" y="40958"/>
                    <a:pt x="119063" y="51435"/>
                    <a:pt x="113348" y="66675"/>
                  </a:cubicBezTo>
                  <a:lnTo>
                    <a:pt x="117157" y="66675"/>
                  </a:lnTo>
                  <a:cubicBezTo>
                    <a:pt x="120968" y="60960"/>
                    <a:pt x="127635" y="55245"/>
                    <a:pt x="133350" y="54292"/>
                  </a:cubicBezTo>
                  <a:lnTo>
                    <a:pt x="110490" y="113347"/>
                  </a:lnTo>
                  <a:cubicBezTo>
                    <a:pt x="108585" y="119063"/>
                    <a:pt x="112395" y="121920"/>
                    <a:pt x="115253" y="121920"/>
                  </a:cubicBezTo>
                  <a:cubicBezTo>
                    <a:pt x="126682" y="121920"/>
                    <a:pt x="140018" y="111442"/>
                    <a:pt x="145733" y="96203"/>
                  </a:cubicBezTo>
                  <a:lnTo>
                    <a:pt x="141923" y="96203"/>
                  </a:lnTo>
                  <a:cubicBezTo>
                    <a:pt x="138113" y="101917"/>
                    <a:pt x="131445" y="107633"/>
                    <a:pt x="125730" y="108585"/>
                  </a:cubicBezTo>
                  <a:lnTo>
                    <a:pt x="149543" y="49530"/>
                  </a:lnTo>
                  <a:close/>
                  <a:moveTo>
                    <a:pt x="153353" y="20003"/>
                  </a:moveTo>
                  <a:cubicBezTo>
                    <a:pt x="159068" y="20003"/>
                    <a:pt x="162878" y="15240"/>
                    <a:pt x="162878" y="10478"/>
                  </a:cubicBezTo>
                  <a:cubicBezTo>
                    <a:pt x="162878" y="4763"/>
                    <a:pt x="158115" y="953"/>
                    <a:pt x="153353" y="953"/>
                  </a:cubicBezTo>
                  <a:cubicBezTo>
                    <a:pt x="147638" y="953"/>
                    <a:pt x="143828" y="5715"/>
                    <a:pt x="143828" y="10478"/>
                  </a:cubicBezTo>
                  <a:cubicBezTo>
                    <a:pt x="143828" y="16192"/>
                    <a:pt x="147638" y="20003"/>
                    <a:pt x="153353" y="20003"/>
                  </a:cubicBezTo>
                  <a:moveTo>
                    <a:pt x="93345" y="10478"/>
                  </a:moveTo>
                  <a:lnTo>
                    <a:pt x="39053" y="10478"/>
                  </a:lnTo>
                  <a:lnTo>
                    <a:pt x="37148" y="15240"/>
                  </a:lnTo>
                  <a:cubicBezTo>
                    <a:pt x="53340" y="18097"/>
                    <a:pt x="54293" y="20003"/>
                    <a:pt x="46673" y="40005"/>
                  </a:cubicBezTo>
                  <a:lnTo>
                    <a:pt x="29528" y="88583"/>
                  </a:lnTo>
                  <a:cubicBezTo>
                    <a:pt x="21908" y="108585"/>
                    <a:pt x="19050" y="110490"/>
                    <a:pt x="953" y="113347"/>
                  </a:cubicBezTo>
                  <a:lnTo>
                    <a:pt x="0" y="118110"/>
                  </a:lnTo>
                  <a:lnTo>
                    <a:pt x="82868" y="118110"/>
                  </a:lnTo>
                  <a:lnTo>
                    <a:pt x="100965" y="86678"/>
                  </a:lnTo>
                  <a:lnTo>
                    <a:pt x="94298" y="86678"/>
                  </a:lnTo>
                  <a:cubicBezTo>
                    <a:pt x="83820" y="98108"/>
                    <a:pt x="72390" y="111442"/>
                    <a:pt x="54293" y="111442"/>
                  </a:cubicBezTo>
                  <a:cubicBezTo>
                    <a:pt x="40957" y="111442"/>
                    <a:pt x="39053" y="109538"/>
                    <a:pt x="46673" y="88583"/>
                  </a:cubicBezTo>
                  <a:lnTo>
                    <a:pt x="63818" y="40005"/>
                  </a:lnTo>
                  <a:cubicBezTo>
                    <a:pt x="71438" y="20003"/>
                    <a:pt x="74295" y="18097"/>
                    <a:pt x="92393" y="15240"/>
                  </a:cubicBezTo>
                  <a:lnTo>
                    <a:pt x="93345" y="1047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31" name="Forme libre : forme 30">
              <a:extLst>
                <a:ext uri="{FF2B5EF4-FFF2-40B4-BE49-F238E27FC236}">
                  <a16:creationId xmlns:a16="http://schemas.microsoft.com/office/drawing/2014/main" id="{42F073CD-090A-471D-86EC-AEBE602B22A3}"/>
                </a:ext>
              </a:extLst>
            </p:cNvPr>
            <p:cNvSpPr/>
            <p:nvPr/>
          </p:nvSpPr>
          <p:spPr>
            <a:xfrm>
              <a:off x="270509" y="675322"/>
              <a:ext cx="1310640" cy="498157"/>
            </a:xfrm>
            <a:custGeom>
              <a:avLst/>
              <a:gdLst>
                <a:gd name="connsiteX0" fmla="*/ 0 w 1310640"/>
                <a:gd name="connsiteY0" fmla="*/ 196215 h 498157"/>
                <a:gd name="connsiteX1" fmla="*/ 0 w 1310640"/>
                <a:gd name="connsiteY1" fmla="*/ 0 h 498157"/>
                <a:gd name="connsiteX2" fmla="*/ 64770 w 1310640"/>
                <a:gd name="connsiteY2" fmla="*/ 0 h 498157"/>
                <a:gd name="connsiteX3" fmla="*/ 116205 w 1310640"/>
                <a:gd name="connsiteY3" fmla="*/ 16192 h 498157"/>
                <a:gd name="connsiteX4" fmla="*/ 135255 w 1310640"/>
                <a:gd name="connsiteY4" fmla="*/ 59055 h 498157"/>
                <a:gd name="connsiteX5" fmla="*/ 116205 w 1310640"/>
                <a:gd name="connsiteY5" fmla="*/ 101917 h 498157"/>
                <a:gd name="connsiteX6" fmla="*/ 64770 w 1310640"/>
                <a:gd name="connsiteY6" fmla="*/ 118110 h 498157"/>
                <a:gd name="connsiteX7" fmla="*/ 40005 w 1310640"/>
                <a:gd name="connsiteY7" fmla="*/ 118110 h 498157"/>
                <a:gd name="connsiteX8" fmla="*/ 40005 w 1310640"/>
                <a:gd name="connsiteY8" fmla="*/ 197167 h 498157"/>
                <a:gd name="connsiteX9" fmla="*/ 0 w 1310640"/>
                <a:gd name="connsiteY9" fmla="*/ 197167 h 498157"/>
                <a:gd name="connsiteX10" fmla="*/ 65723 w 1310640"/>
                <a:gd name="connsiteY10" fmla="*/ 33338 h 498157"/>
                <a:gd name="connsiteX11" fmla="*/ 39053 w 1310640"/>
                <a:gd name="connsiteY11" fmla="*/ 33338 h 498157"/>
                <a:gd name="connsiteX12" fmla="*/ 39053 w 1310640"/>
                <a:gd name="connsiteY12" fmla="*/ 82867 h 498157"/>
                <a:gd name="connsiteX13" fmla="*/ 65723 w 1310640"/>
                <a:gd name="connsiteY13" fmla="*/ 82867 h 498157"/>
                <a:gd name="connsiteX14" fmla="*/ 85725 w 1310640"/>
                <a:gd name="connsiteY14" fmla="*/ 76200 h 498157"/>
                <a:gd name="connsiteX15" fmla="*/ 93345 w 1310640"/>
                <a:gd name="connsiteY15" fmla="*/ 58102 h 498157"/>
                <a:gd name="connsiteX16" fmla="*/ 85725 w 1310640"/>
                <a:gd name="connsiteY16" fmla="*/ 40005 h 498157"/>
                <a:gd name="connsiteX17" fmla="*/ 65723 w 1310640"/>
                <a:gd name="connsiteY17" fmla="*/ 33338 h 498157"/>
                <a:gd name="connsiteX18" fmla="*/ 166688 w 1310640"/>
                <a:gd name="connsiteY18" fmla="*/ 196215 h 498157"/>
                <a:gd name="connsiteX19" fmla="*/ 166688 w 1310640"/>
                <a:gd name="connsiteY19" fmla="*/ 0 h 498157"/>
                <a:gd name="connsiteX20" fmla="*/ 226695 w 1310640"/>
                <a:gd name="connsiteY20" fmla="*/ 0 h 498157"/>
                <a:gd name="connsiteX21" fmla="*/ 278130 w 1310640"/>
                <a:gd name="connsiteY21" fmla="*/ 16192 h 498157"/>
                <a:gd name="connsiteX22" fmla="*/ 297180 w 1310640"/>
                <a:gd name="connsiteY22" fmla="*/ 59055 h 498157"/>
                <a:gd name="connsiteX23" fmla="*/ 288608 w 1310640"/>
                <a:gd name="connsiteY23" fmla="*/ 89535 h 498157"/>
                <a:gd name="connsiteX24" fmla="*/ 265748 w 1310640"/>
                <a:gd name="connsiteY24" fmla="*/ 109538 h 498157"/>
                <a:gd name="connsiteX25" fmla="*/ 327660 w 1310640"/>
                <a:gd name="connsiteY25" fmla="*/ 196215 h 498157"/>
                <a:gd name="connsiteX26" fmla="*/ 280035 w 1310640"/>
                <a:gd name="connsiteY26" fmla="*/ 196215 h 498157"/>
                <a:gd name="connsiteX27" fmla="*/ 227648 w 1310640"/>
                <a:gd name="connsiteY27" fmla="*/ 117157 h 498157"/>
                <a:gd name="connsiteX28" fmla="*/ 206692 w 1310640"/>
                <a:gd name="connsiteY28" fmla="*/ 117157 h 498157"/>
                <a:gd name="connsiteX29" fmla="*/ 206692 w 1310640"/>
                <a:gd name="connsiteY29" fmla="*/ 196215 h 498157"/>
                <a:gd name="connsiteX30" fmla="*/ 166688 w 1310640"/>
                <a:gd name="connsiteY30" fmla="*/ 196215 h 498157"/>
                <a:gd name="connsiteX31" fmla="*/ 229553 w 1310640"/>
                <a:gd name="connsiteY31" fmla="*/ 33338 h 498157"/>
                <a:gd name="connsiteX32" fmla="*/ 206692 w 1310640"/>
                <a:gd name="connsiteY32" fmla="*/ 33338 h 498157"/>
                <a:gd name="connsiteX33" fmla="*/ 206692 w 1310640"/>
                <a:gd name="connsiteY33" fmla="*/ 82867 h 498157"/>
                <a:gd name="connsiteX34" fmla="*/ 229553 w 1310640"/>
                <a:gd name="connsiteY34" fmla="*/ 82867 h 498157"/>
                <a:gd name="connsiteX35" fmla="*/ 249555 w 1310640"/>
                <a:gd name="connsiteY35" fmla="*/ 76200 h 498157"/>
                <a:gd name="connsiteX36" fmla="*/ 256223 w 1310640"/>
                <a:gd name="connsiteY36" fmla="*/ 58102 h 498157"/>
                <a:gd name="connsiteX37" fmla="*/ 249555 w 1310640"/>
                <a:gd name="connsiteY37" fmla="*/ 40005 h 498157"/>
                <a:gd name="connsiteX38" fmla="*/ 229553 w 1310640"/>
                <a:gd name="connsiteY38" fmla="*/ 33338 h 498157"/>
                <a:gd name="connsiteX39" fmla="*/ 352425 w 1310640"/>
                <a:gd name="connsiteY39" fmla="*/ 196215 h 498157"/>
                <a:gd name="connsiteX40" fmla="*/ 352425 w 1310640"/>
                <a:gd name="connsiteY40" fmla="*/ 0 h 498157"/>
                <a:gd name="connsiteX41" fmla="*/ 466725 w 1310640"/>
                <a:gd name="connsiteY41" fmla="*/ 0 h 498157"/>
                <a:gd name="connsiteX42" fmla="*/ 466725 w 1310640"/>
                <a:gd name="connsiteY42" fmla="*/ 34290 h 498157"/>
                <a:gd name="connsiteX43" fmla="*/ 392430 w 1310640"/>
                <a:gd name="connsiteY43" fmla="*/ 34290 h 498157"/>
                <a:gd name="connsiteX44" fmla="*/ 392430 w 1310640"/>
                <a:gd name="connsiteY44" fmla="*/ 80010 h 498157"/>
                <a:gd name="connsiteX45" fmla="*/ 456248 w 1310640"/>
                <a:gd name="connsiteY45" fmla="*/ 80010 h 498157"/>
                <a:gd name="connsiteX46" fmla="*/ 456248 w 1310640"/>
                <a:gd name="connsiteY46" fmla="*/ 114300 h 498157"/>
                <a:gd name="connsiteX47" fmla="*/ 392430 w 1310640"/>
                <a:gd name="connsiteY47" fmla="*/ 114300 h 498157"/>
                <a:gd name="connsiteX48" fmla="*/ 392430 w 1310640"/>
                <a:gd name="connsiteY48" fmla="*/ 163830 h 498157"/>
                <a:gd name="connsiteX49" fmla="*/ 466725 w 1310640"/>
                <a:gd name="connsiteY49" fmla="*/ 163830 h 498157"/>
                <a:gd name="connsiteX50" fmla="*/ 466725 w 1310640"/>
                <a:gd name="connsiteY50" fmla="*/ 198120 h 498157"/>
                <a:gd name="connsiteX51" fmla="*/ 352425 w 1310640"/>
                <a:gd name="connsiteY51" fmla="*/ 198120 h 498157"/>
                <a:gd name="connsiteX52" fmla="*/ 513398 w 1310640"/>
                <a:gd name="connsiteY52" fmla="*/ 196215 h 498157"/>
                <a:gd name="connsiteX53" fmla="*/ 513398 w 1310640"/>
                <a:gd name="connsiteY53" fmla="*/ 0 h 498157"/>
                <a:gd name="connsiteX54" fmla="*/ 563880 w 1310640"/>
                <a:gd name="connsiteY54" fmla="*/ 0 h 498157"/>
                <a:gd name="connsiteX55" fmla="*/ 611505 w 1310640"/>
                <a:gd name="connsiteY55" fmla="*/ 80963 h 498157"/>
                <a:gd name="connsiteX56" fmla="*/ 659130 w 1310640"/>
                <a:gd name="connsiteY56" fmla="*/ 0 h 498157"/>
                <a:gd name="connsiteX57" fmla="*/ 709613 w 1310640"/>
                <a:gd name="connsiteY57" fmla="*/ 0 h 498157"/>
                <a:gd name="connsiteX58" fmla="*/ 709613 w 1310640"/>
                <a:gd name="connsiteY58" fmla="*/ 197167 h 498157"/>
                <a:gd name="connsiteX59" fmla="*/ 669608 w 1310640"/>
                <a:gd name="connsiteY59" fmla="*/ 197167 h 498157"/>
                <a:gd name="connsiteX60" fmla="*/ 669608 w 1310640"/>
                <a:gd name="connsiteY60" fmla="*/ 56198 h 498157"/>
                <a:gd name="connsiteX61" fmla="*/ 624840 w 1310640"/>
                <a:gd name="connsiteY61" fmla="*/ 128588 h 498157"/>
                <a:gd name="connsiteX62" fmla="*/ 596265 w 1310640"/>
                <a:gd name="connsiteY62" fmla="*/ 128588 h 498157"/>
                <a:gd name="connsiteX63" fmla="*/ 552450 w 1310640"/>
                <a:gd name="connsiteY63" fmla="*/ 56198 h 498157"/>
                <a:gd name="connsiteX64" fmla="*/ 552450 w 1310640"/>
                <a:gd name="connsiteY64" fmla="*/ 196215 h 498157"/>
                <a:gd name="connsiteX65" fmla="*/ 513398 w 1310640"/>
                <a:gd name="connsiteY65" fmla="*/ 196215 h 498157"/>
                <a:gd name="connsiteX66" fmla="*/ 763905 w 1310640"/>
                <a:gd name="connsiteY66" fmla="*/ 196215 h 498157"/>
                <a:gd name="connsiteX67" fmla="*/ 763905 w 1310640"/>
                <a:gd name="connsiteY67" fmla="*/ 0 h 498157"/>
                <a:gd name="connsiteX68" fmla="*/ 803910 w 1310640"/>
                <a:gd name="connsiteY68" fmla="*/ 0 h 498157"/>
                <a:gd name="connsiteX69" fmla="*/ 803910 w 1310640"/>
                <a:gd name="connsiteY69" fmla="*/ 197167 h 498157"/>
                <a:gd name="connsiteX70" fmla="*/ 763905 w 1310640"/>
                <a:gd name="connsiteY70" fmla="*/ 197167 h 498157"/>
                <a:gd name="connsiteX71" fmla="*/ 858203 w 1310640"/>
                <a:gd name="connsiteY71" fmla="*/ 196215 h 498157"/>
                <a:gd name="connsiteX72" fmla="*/ 858203 w 1310640"/>
                <a:gd name="connsiteY72" fmla="*/ 0 h 498157"/>
                <a:gd name="connsiteX73" fmla="*/ 972503 w 1310640"/>
                <a:gd name="connsiteY73" fmla="*/ 0 h 498157"/>
                <a:gd name="connsiteX74" fmla="*/ 972503 w 1310640"/>
                <a:gd name="connsiteY74" fmla="*/ 34290 h 498157"/>
                <a:gd name="connsiteX75" fmla="*/ 898208 w 1310640"/>
                <a:gd name="connsiteY75" fmla="*/ 34290 h 498157"/>
                <a:gd name="connsiteX76" fmla="*/ 898208 w 1310640"/>
                <a:gd name="connsiteY76" fmla="*/ 80010 h 498157"/>
                <a:gd name="connsiteX77" fmla="*/ 962025 w 1310640"/>
                <a:gd name="connsiteY77" fmla="*/ 80010 h 498157"/>
                <a:gd name="connsiteX78" fmla="*/ 962025 w 1310640"/>
                <a:gd name="connsiteY78" fmla="*/ 114300 h 498157"/>
                <a:gd name="connsiteX79" fmla="*/ 898208 w 1310640"/>
                <a:gd name="connsiteY79" fmla="*/ 114300 h 498157"/>
                <a:gd name="connsiteX80" fmla="*/ 898208 w 1310640"/>
                <a:gd name="connsiteY80" fmla="*/ 163830 h 498157"/>
                <a:gd name="connsiteX81" fmla="*/ 972503 w 1310640"/>
                <a:gd name="connsiteY81" fmla="*/ 163830 h 498157"/>
                <a:gd name="connsiteX82" fmla="*/ 972503 w 1310640"/>
                <a:gd name="connsiteY82" fmla="*/ 198120 h 498157"/>
                <a:gd name="connsiteX83" fmla="*/ 858203 w 1310640"/>
                <a:gd name="connsiteY83" fmla="*/ 198120 h 498157"/>
                <a:gd name="connsiteX84" fmla="*/ 1019175 w 1310640"/>
                <a:gd name="connsiteY84" fmla="*/ 196215 h 498157"/>
                <a:gd name="connsiteX85" fmla="*/ 1019175 w 1310640"/>
                <a:gd name="connsiteY85" fmla="*/ 0 h 498157"/>
                <a:gd name="connsiteX86" fmla="*/ 1079183 w 1310640"/>
                <a:gd name="connsiteY86" fmla="*/ 0 h 498157"/>
                <a:gd name="connsiteX87" fmla="*/ 1130618 w 1310640"/>
                <a:gd name="connsiteY87" fmla="*/ 16192 h 498157"/>
                <a:gd name="connsiteX88" fmla="*/ 1149668 w 1310640"/>
                <a:gd name="connsiteY88" fmla="*/ 59055 h 498157"/>
                <a:gd name="connsiteX89" fmla="*/ 1141095 w 1310640"/>
                <a:gd name="connsiteY89" fmla="*/ 89535 h 498157"/>
                <a:gd name="connsiteX90" fmla="*/ 1118235 w 1310640"/>
                <a:gd name="connsiteY90" fmla="*/ 109538 h 498157"/>
                <a:gd name="connsiteX91" fmla="*/ 1180148 w 1310640"/>
                <a:gd name="connsiteY91" fmla="*/ 196215 h 498157"/>
                <a:gd name="connsiteX92" fmla="*/ 1132523 w 1310640"/>
                <a:gd name="connsiteY92" fmla="*/ 196215 h 498157"/>
                <a:gd name="connsiteX93" fmla="*/ 1080135 w 1310640"/>
                <a:gd name="connsiteY93" fmla="*/ 117157 h 498157"/>
                <a:gd name="connsiteX94" fmla="*/ 1059180 w 1310640"/>
                <a:gd name="connsiteY94" fmla="*/ 117157 h 498157"/>
                <a:gd name="connsiteX95" fmla="*/ 1059180 w 1310640"/>
                <a:gd name="connsiteY95" fmla="*/ 196215 h 498157"/>
                <a:gd name="connsiteX96" fmla="*/ 1019175 w 1310640"/>
                <a:gd name="connsiteY96" fmla="*/ 196215 h 498157"/>
                <a:gd name="connsiteX97" fmla="*/ 1082040 w 1310640"/>
                <a:gd name="connsiteY97" fmla="*/ 33338 h 498157"/>
                <a:gd name="connsiteX98" fmla="*/ 1059180 w 1310640"/>
                <a:gd name="connsiteY98" fmla="*/ 33338 h 498157"/>
                <a:gd name="connsiteX99" fmla="*/ 1059180 w 1310640"/>
                <a:gd name="connsiteY99" fmla="*/ 82867 h 498157"/>
                <a:gd name="connsiteX100" fmla="*/ 1082040 w 1310640"/>
                <a:gd name="connsiteY100" fmla="*/ 82867 h 498157"/>
                <a:gd name="connsiteX101" fmla="*/ 1102043 w 1310640"/>
                <a:gd name="connsiteY101" fmla="*/ 76200 h 498157"/>
                <a:gd name="connsiteX102" fmla="*/ 1108710 w 1310640"/>
                <a:gd name="connsiteY102" fmla="*/ 58102 h 498157"/>
                <a:gd name="connsiteX103" fmla="*/ 1102043 w 1310640"/>
                <a:gd name="connsiteY103" fmla="*/ 40005 h 498157"/>
                <a:gd name="connsiteX104" fmla="*/ 1082040 w 1310640"/>
                <a:gd name="connsiteY104" fmla="*/ 33338 h 498157"/>
                <a:gd name="connsiteX105" fmla="*/ 0 w 1310640"/>
                <a:gd name="connsiteY105" fmla="*/ 493395 h 498157"/>
                <a:gd name="connsiteX106" fmla="*/ 0 w 1310640"/>
                <a:gd name="connsiteY106" fmla="*/ 296228 h 498157"/>
                <a:gd name="connsiteX107" fmla="*/ 50483 w 1310640"/>
                <a:gd name="connsiteY107" fmla="*/ 296228 h 498157"/>
                <a:gd name="connsiteX108" fmla="*/ 98108 w 1310640"/>
                <a:gd name="connsiteY108" fmla="*/ 377190 h 498157"/>
                <a:gd name="connsiteX109" fmla="*/ 145733 w 1310640"/>
                <a:gd name="connsiteY109" fmla="*/ 296228 h 498157"/>
                <a:gd name="connsiteX110" fmla="*/ 196215 w 1310640"/>
                <a:gd name="connsiteY110" fmla="*/ 296228 h 498157"/>
                <a:gd name="connsiteX111" fmla="*/ 196215 w 1310640"/>
                <a:gd name="connsiteY111" fmla="*/ 493395 h 498157"/>
                <a:gd name="connsiteX112" fmla="*/ 156210 w 1310640"/>
                <a:gd name="connsiteY112" fmla="*/ 493395 h 498157"/>
                <a:gd name="connsiteX113" fmla="*/ 156210 w 1310640"/>
                <a:gd name="connsiteY113" fmla="*/ 353378 h 498157"/>
                <a:gd name="connsiteX114" fmla="*/ 112395 w 1310640"/>
                <a:gd name="connsiteY114" fmla="*/ 425767 h 498157"/>
                <a:gd name="connsiteX115" fmla="*/ 84773 w 1310640"/>
                <a:gd name="connsiteY115" fmla="*/ 425767 h 498157"/>
                <a:gd name="connsiteX116" fmla="*/ 40958 w 1310640"/>
                <a:gd name="connsiteY116" fmla="*/ 353378 h 498157"/>
                <a:gd name="connsiteX117" fmla="*/ 40958 w 1310640"/>
                <a:gd name="connsiteY117" fmla="*/ 493395 h 498157"/>
                <a:gd name="connsiteX118" fmla="*/ 0 w 1310640"/>
                <a:gd name="connsiteY118" fmla="*/ 493395 h 498157"/>
                <a:gd name="connsiteX119" fmla="*/ 249555 w 1310640"/>
                <a:gd name="connsiteY119" fmla="*/ 493395 h 498157"/>
                <a:gd name="connsiteX120" fmla="*/ 249555 w 1310640"/>
                <a:gd name="connsiteY120" fmla="*/ 296228 h 498157"/>
                <a:gd name="connsiteX121" fmla="*/ 289560 w 1310640"/>
                <a:gd name="connsiteY121" fmla="*/ 296228 h 498157"/>
                <a:gd name="connsiteX122" fmla="*/ 289560 w 1310640"/>
                <a:gd name="connsiteY122" fmla="*/ 493395 h 498157"/>
                <a:gd name="connsiteX123" fmla="*/ 249555 w 1310640"/>
                <a:gd name="connsiteY123" fmla="*/ 493395 h 498157"/>
                <a:gd name="connsiteX124" fmla="*/ 344805 w 1310640"/>
                <a:gd name="connsiteY124" fmla="*/ 493395 h 498157"/>
                <a:gd name="connsiteX125" fmla="*/ 344805 w 1310640"/>
                <a:gd name="connsiteY125" fmla="*/ 296228 h 498157"/>
                <a:gd name="connsiteX126" fmla="*/ 396240 w 1310640"/>
                <a:gd name="connsiteY126" fmla="*/ 296228 h 498157"/>
                <a:gd name="connsiteX127" fmla="*/ 483870 w 1310640"/>
                <a:gd name="connsiteY127" fmla="*/ 437198 h 498157"/>
                <a:gd name="connsiteX128" fmla="*/ 483870 w 1310640"/>
                <a:gd name="connsiteY128" fmla="*/ 296228 h 498157"/>
                <a:gd name="connsiteX129" fmla="*/ 523875 w 1310640"/>
                <a:gd name="connsiteY129" fmla="*/ 296228 h 498157"/>
                <a:gd name="connsiteX130" fmla="*/ 523875 w 1310640"/>
                <a:gd name="connsiteY130" fmla="*/ 493395 h 498157"/>
                <a:gd name="connsiteX131" fmla="*/ 472440 w 1310640"/>
                <a:gd name="connsiteY131" fmla="*/ 493395 h 498157"/>
                <a:gd name="connsiteX132" fmla="*/ 384810 w 1310640"/>
                <a:gd name="connsiteY132" fmla="*/ 352425 h 498157"/>
                <a:gd name="connsiteX133" fmla="*/ 384810 w 1310640"/>
                <a:gd name="connsiteY133" fmla="*/ 493395 h 498157"/>
                <a:gd name="connsiteX134" fmla="*/ 344805 w 1310640"/>
                <a:gd name="connsiteY134" fmla="*/ 493395 h 498157"/>
                <a:gd name="connsiteX135" fmla="*/ 579120 w 1310640"/>
                <a:gd name="connsiteY135" fmla="*/ 493395 h 498157"/>
                <a:gd name="connsiteX136" fmla="*/ 579120 w 1310640"/>
                <a:gd name="connsiteY136" fmla="*/ 296228 h 498157"/>
                <a:gd name="connsiteX137" fmla="*/ 619125 w 1310640"/>
                <a:gd name="connsiteY137" fmla="*/ 296228 h 498157"/>
                <a:gd name="connsiteX138" fmla="*/ 619125 w 1310640"/>
                <a:gd name="connsiteY138" fmla="*/ 493395 h 498157"/>
                <a:gd name="connsiteX139" fmla="*/ 579120 w 1310640"/>
                <a:gd name="connsiteY139" fmla="*/ 493395 h 498157"/>
                <a:gd name="connsiteX140" fmla="*/ 656273 w 1310640"/>
                <a:gd name="connsiteY140" fmla="*/ 466725 h 498157"/>
                <a:gd name="connsiteX141" fmla="*/ 684848 w 1310640"/>
                <a:gd name="connsiteY141" fmla="*/ 440055 h 498157"/>
                <a:gd name="connsiteX142" fmla="*/ 704850 w 1310640"/>
                <a:gd name="connsiteY142" fmla="*/ 458153 h 498157"/>
                <a:gd name="connsiteX143" fmla="*/ 728663 w 1310640"/>
                <a:gd name="connsiteY143" fmla="*/ 464820 h 498157"/>
                <a:gd name="connsiteX144" fmla="*/ 746760 w 1310640"/>
                <a:gd name="connsiteY144" fmla="*/ 459105 h 498157"/>
                <a:gd name="connsiteX145" fmla="*/ 753428 w 1310640"/>
                <a:gd name="connsiteY145" fmla="*/ 441960 h 498157"/>
                <a:gd name="connsiteX146" fmla="*/ 739140 w 1310640"/>
                <a:gd name="connsiteY146" fmla="*/ 421957 h 498157"/>
                <a:gd name="connsiteX147" fmla="*/ 708660 w 1310640"/>
                <a:gd name="connsiteY147" fmla="*/ 406717 h 498157"/>
                <a:gd name="connsiteX148" fmla="*/ 678180 w 1310640"/>
                <a:gd name="connsiteY148" fmla="*/ 385763 h 498157"/>
                <a:gd name="connsiteX149" fmla="*/ 663893 w 1310640"/>
                <a:gd name="connsiteY149" fmla="*/ 348615 h 498157"/>
                <a:gd name="connsiteX150" fmla="*/ 668655 w 1310640"/>
                <a:gd name="connsiteY150" fmla="*/ 326707 h 498157"/>
                <a:gd name="connsiteX151" fmla="*/ 681990 w 1310640"/>
                <a:gd name="connsiteY151" fmla="*/ 308610 h 498157"/>
                <a:gd name="connsiteX152" fmla="*/ 701993 w 1310640"/>
                <a:gd name="connsiteY152" fmla="*/ 296228 h 498157"/>
                <a:gd name="connsiteX153" fmla="*/ 727710 w 1310640"/>
                <a:gd name="connsiteY153" fmla="*/ 291465 h 498157"/>
                <a:gd name="connsiteX154" fmla="*/ 766763 w 1310640"/>
                <a:gd name="connsiteY154" fmla="*/ 300990 h 498157"/>
                <a:gd name="connsiteX155" fmla="*/ 796290 w 1310640"/>
                <a:gd name="connsiteY155" fmla="*/ 324803 h 498157"/>
                <a:gd name="connsiteX156" fmla="*/ 766763 w 1310640"/>
                <a:gd name="connsiteY156" fmla="*/ 350520 h 498157"/>
                <a:gd name="connsiteX157" fmla="*/ 748665 w 1310640"/>
                <a:gd name="connsiteY157" fmla="*/ 332423 h 498157"/>
                <a:gd name="connsiteX158" fmla="*/ 727710 w 1310640"/>
                <a:gd name="connsiteY158" fmla="*/ 325755 h 498157"/>
                <a:gd name="connsiteX159" fmla="*/ 711518 w 1310640"/>
                <a:gd name="connsiteY159" fmla="*/ 331470 h 498157"/>
                <a:gd name="connsiteX160" fmla="*/ 705803 w 1310640"/>
                <a:gd name="connsiteY160" fmla="*/ 345757 h 498157"/>
                <a:gd name="connsiteX161" fmla="*/ 720090 w 1310640"/>
                <a:gd name="connsiteY161" fmla="*/ 365760 h 498157"/>
                <a:gd name="connsiteX162" fmla="*/ 750570 w 1310640"/>
                <a:gd name="connsiteY162" fmla="*/ 381000 h 498157"/>
                <a:gd name="connsiteX163" fmla="*/ 781050 w 1310640"/>
                <a:gd name="connsiteY163" fmla="*/ 401955 h 498157"/>
                <a:gd name="connsiteX164" fmla="*/ 795338 w 1310640"/>
                <a:gd name="connsiteY164" fmla="*/ 440055 h 498157"/>
                <a:gd name="connsiteX165" fmla="*/ 789623 w 1310640"/>
                <a:gd name="connsiteY165" fmla="*/ 464820 h 498157"/>
                <a:gd name="connsiteX166" fmla="*/ 775335 w 1310640"/>
                <a:gd name="connsiteY166" fmla="*/ 482917 h 498157"/>
                <a:gd name="connsiteX167" fmla="*/ 754380 w 1310640"/>
                <a:gd name="connsiteY167" fmla="*/ 494348 h 498157"/>
                <a:gd name="connsiteX168" fmla="*/ 728663 w 1310640"/>
                <a:gd name="connsiteY168" fmla="*/ 498157 h 498157"/>
                <a:gd name="connsiteX169" fmla="*/ 685800 w 1310640"/>
                <a:gd name="connsiteY169" fmla="*/ 489585 h 498157"/>
                <a:gd name="connsiteX170" fmla="*/ 656273 w 1310640"/>
                <a:gd name="connsiteY170" fmla="*/ 466725 h 498157"/>
                <a:gd name="connsiteX171" fmla="*/ 814388 w 1310640"/>
                <a:gd name="connsiteY171" fmla="*/ 333375 h 498157"/>
                <a:gd name="connsiteX172" fmla="*/ 814388 w 1310640"/>
                <a:gd name="connsiteY172" fmla="*/ 297180 h 498157"/>
                <a:gd name="connsiteX173" fmla="*/ 975360 w 1310640"/>
                <a:gd name="connsiteY173" fmla="*/ 297180 h 498157"/>
                <a:gd name="connsiteX174" fmla="*/ 975360 w 1310640"/>
                <a:gd name="connsiteY174" fmla="*/ 333375 h 498157"/>
                <a:gd name="connsiteX175" fmla="*/ 914400 w 1310640"/>
                <a:gd name="connsiteY175" fmla="*/ 333375 h 498157"/>
                <a:gd name="connsiteX176" fmla="*/ 914400 w 1310640"/>
                <a:gd name="connsiteY176" fmla="*/ 493395 h 498157"/>
                <a:gd name="connsiteX177" fmla="*/ 874395 w 1310640"/>
                <a:gd name="connsiteY177" fmla="*/ 493395 h 498157"/>
                <a:gd name="connsiteX178" fmla="*/ 874395 w 1310640"/>
                <a:gd name="connsiteY178" fmla="*/ 333375 h 498157"/>
                <a:gd name="connsiteX179" fmla="*/ 814388 w 1310640"/>
                <a:gd name="connsiteY179" fmla="*/ 333375 h 498157"/>
                <a:gd name="connsiteX180" fmla="*/ 1011555 w 1310640"/>
                <a:gd name="connsiteY180" fmla="*/ 493395 h 498157"/>
                <a:gd name="connsiteX181" fmla="*/ 1011555 w 1310640"/>
                <a:gd name="connsiteY181" fmla="*/ 296228 h 498157"/>
                <a:gd name="connsiteX182" fmla="*/ 1071563 w 1310640"/>
                <a:gd name="connsiteY182" fmla="*/ 296228 h 498157"/>
                <a:gd name="connsiteX183" fmla="*/ 1122998 w 1310640"/>
                <a:gd name="connsiteY183" fmla="*/ 312420 h 498157"/>
                <a:gd name="connsiteX184" fmla="*/ 1142048 w 1310640"/>
                <a:gd name="connsiteY184" fmla="*/ 355282 h 498157"/>
                <a:gd name="connsiteX185" fmla="*/ 1133475 w 1310640"/>
                <a:gd name="connsiteY185" fmla="*/ 385763 h 498157"/>
                <a:gd name="connsiteX186" fmla="*/ 1110615 w 1310640"/>
                <a:gd name="connsiteY186" fmla="*/ 405765 h 498157"/>
                <a:gd name="connsiteX187" fmla="*/ 1172528 w 1310640"/>
                <a:gd name="connsiteY187" fmla="*/ 492442 h 498157"/>
                <a:gd name="connsiteX188" fmla="*/ 1124903 w 1310640"/>
                <a:gd name="connsiteY188" fmla="*/ 492442 h 498157"/>
                <a:gd name="connsiteX189" fmla="*/ 1072515 w 1310640"/>
                <a:gd name="connsiteY189" fmla="*/ 413385 h 498157"/>
                <a:gd name="connsiteX190" fmla="*/ 1051560 w 1310640"/>
                <a:gd name="connsiteY190" fmla="*/ 413385 h 498157"/>
                <a:gd name="connsiteX191" fmla="*/ 1051560 w 1310640"/>
                <a:gd name="connsiteY191" fmla="*/ 492442 h 498157"/>
                <a:gd name="connsiteX192" fmla="*/ 1011555 w 1310640"/>
                <a:gd name="connsiteY192" fmla="*/ 492442 h 498157"/>
                <a:gd name="connsiteX193" fmla="*/ 1073468 w 1310640"/>
                <a:gd name="connsiteY193" fmla="*/ 330517 h 498157"/>
                <a:gd name="connsiteX194" fmla="*/ 1050608 w 1310640"/>
                <a:gd name="connsiteY194" fmla="*/ 330517 h 498157"/>
                <a:gd name="connsiteX195" fmla="*/ 1050608 w 1310640"/>
                <a:gd name="connsiteY195" fmla="*/ 380048 h 498157"/>
                <a:gd name="connsiteX196" fmla="*/ 1073468 w 1310640"/>
                <a:gd name="connsiteY196" fmla="*/ 380048 h 498157"/>
                <a:gd name="connsiteX197" fmla="*/ 1093470 w 1310640"/>
                <a:gd name="connsiteY197" fmla="*/ 373380 h 498157"/>
                <a:gd name="connsiteX198" fmla="*/ 1100138 w 1310640"/>
                <a:gd name="connsiteY198" fmla="*/ 355282 h 498157"/>
                <a:gd name="connsiteX199" fmla="*/ 1093470 w 1310640"/>
                <a:gd name="connsiteY199" fmla="*/ 337185 h 498157"/>
                <a:gd name="connsiteX200" fmla="*/ 1073468 w 1310640"/>
                <a:gd name="connsiteY200" fmla="*/ 330517 h 498157"/>
                <a:gd name="connsiteX201" fmla="*/ 1196340 w 1310640"/>
                <a:gd name="connsiteY201" fmla="*/ 493395 h 498157"/>
                <a:gd name="connsiteX202" fmla="*/ 1196340 w 1310640"/>
                <a:gd name="connsiteY202" fmla="*/ 296228 h 498157"/>
                <a:gd name="connsiteX203" fmla="*/ 1310640 w 1310640"/>
                <a:gd name="connsiteY203" fmla="*/ 296228 h 498157"/>
                <a:gd name="connsiteX204" fmla="*/ 1310640 w 1310640"/>
                <a:gd name="connsiteY204" fmla="*/ 330517 h 498157"/>
                <a:gd name="connsiteX205" fmla="*/ 1236345 w 1310640"/>
                <a:gd name="connsiteY205" fmla="*/ 330517 h 498157"/>
                <a:gd name="connsiteX206" fmla="*/ 1236345 w 1310640"/>
                <a:gd name="connsiteY206" fmla="*/ 376238 h 498157"/>
                <a:gd name="connsiteX207" fmla="*/ 1300163 w 1310640"/>
                <a:gd name="connsiteY207" fmla="*/ 376238 h 498157"/>
                <a:gd name="connsiteX208" fmla="*/ 1300163 w 1310640"/>
                <a:gd name="connsiteY208" fmla="*/ 410528 h 498157"/>
                <a:gd name="connsiteX209" fmla="*/ 1236345 w 1310640"/>
                <a:gd name="connsiteY209" fmla="*/ 410528 h 498157"/>
                <a:gd name="connsiteX210" fmla="*/ 1236345 w 1310640"/>
                <a:gd name="connsiteY210" fmla="*/ 460057 h 498157"/>
                <a:gd name="connsiteX211" fmla="*/ 1310640 w 1310640"/>
                <a:gd name="connsiteY211" fmla="*/ 460057 h 498157"/>
                <a:gd name="connsiteX212" fmla="*/ 1310640 w 1310640"/>
                <a:gd name="connsiteY212" fmla="*/ 494348 h 498157"/>
                <a:gd name="connsiteX213" fmla="*/ 1196340 w 1310640"/>
                <a:gd name="connsiteY213" fmla="*/ 494348 h 49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</a:cxnLst>
              <a:rect l="l" t="t" r="r" b="b"/>
              <a:pathLst>
                <a:path w="1310640" h="498157">
                  <a:moveTo>
                    <a:pt x="0" y="196215"/>
                  </a:moveTo>
                  <a:lnTo>
                    <a:pt x="0" y="0"/>
                  </a:lnTo>
                  <a:lnTo>
                    <a:pt x="64770" y="0"/>
                  </a:lnTo>
                  <a:cubicBezTo>
                    <a:pt x="86678" y="0"/>
                    <a:pt x="102870" y="5715"/>
                    <a:pt x="116205" y="16192"/>
                  </a:cubicBezTo>
                  <a:cubicBezTo>
                    <a:pt x="128588" y="26670"/>
                    <a:pt x="135255" y="40957"/>
                    <a:pt x="135255" y="59055"/>
                  </a:cubicBezTo>
                  <a:cubicBezTo>
                    <a:pt x="135255" y="77152"/>
                    <a:pt x="128588" y="91440"/>
                    <a:pt x="116205" y="101917"/>
                  </a:cubicBezTo>
                  <a:cubicBezTo>
                    <a:pt x="103823" y="112395"/>
                    <a:pt x="86678" y="118110"/>
                    <a:pt x="64770" y="118110"/>
                  </a:cubicBezTo>
                  <a:lnTo>
                    <a:pt x="40005" y="118110"/>
                  </a:lnTo>
                  <a:lnTo>
                    <a:pt x="40005" y="197167"/>
                  </a:lnTo>
                  <a:lnTo>
                    <a:pt x="0" y="197167"/>
                  </a:lnTo>
                  <a:close/>
                  <a:moveTo>
                    <a:pt x="65723" y="33338"/>
                  </a:moveTo>
                  <a:lnTo>
                    <a:pt x="39053" y="33338"/>
                  </a:lnTo>
                  <a:lnTo>
                    <a:pt x="39053" y="82867"/>
                  </a:lnTo>
                  <a:lnTo>
                    <a:pt x="65723" y="82867"/>
                  </a:lnTo>
                  <a:cubicBezTo>
                    <a:pt x="74295" y="82867"/>
                    <a:pt x="80963" y="80963"/>
                    <a:pt x="85725" y="76200"/>
                  </a:cubicBezTo>
                  <a:cubicBezTo>
                    <a:pt x="90488" y="71438"/>
                    <a:pt x="93345" y="65723"/>
                    <a:pt x="93345" y="58102"/>
                  </a:cubicBezTo>
                  <a:cubicBezTo>
                    <a:pt x="93345" y="50482"/>
                    <a:pt x="90488" y="44767"/>
                    <a:pt x="85725" y="40005"/>
                  </a:cubicBezTo>
                  <a:cubicBezTo>
                    <a:pt x="80963" y="36195"/>
                    <a:pt x="74295" y="33338"/>
                    <a:pt x="65723" y="33338"/>
                  </a:cubicBezTo>
                  <a:close/>
                  <a:moveTo>
                    <a:pt x="166688" y="196215"/>
                  </a:moveTo>
                  <a:lnTo>
                    <a:pt x="166688" y="0"/>
                  </a:lnTo>
                  <a:lnTo>
                    <a:pt x="226695" y="0"/>
                  </a:lnTo>
                  <a:cubicBezTo>
                    <a:pt x="248603" y="0"/>
                    <a:pt x="265748" y="5715"/>
                    <a:pt x="278130" y="16192"/>
                  </a:cubicBezTo>
                  <a:cubicBezTo>
                    <a:pt x="290513" y="26670"/>
                    <a:pt x="297180" y="40957"/>
                    <a:pt x="297180" y="59055"/>
                  </a:cubicBezTo>
                  <a:cubicBezTo>
                    <a:pt x="297180" y="70485"/>
                    <a:pt x="294323" y="80963"/>
                    <a:pt x="288608" y="89535"/>
                  </a:cubicBezTo>
                  <a:cubicBezTo>
                    <a:pt x="282893" y="98107"/>
                    <a:pt x="275273" y="104775"/>
                    <a:pt x="265748" y="109538"/>
                  </a:cubicBezTo>
                  <a:lnTo>
                    <a:pt x="327660" y="196215"/>
                  </a:lnTo>
                  <a:lnTo>
                    <a:pt x="280035" y="196215"/>
                  </a:lnTo>
                  <a:lnTo>
                    <a:pt x="227648" y="117157"/>
                  </a:lnTo>
                  <a:lnTo>
                    <a:pt x="206692" y="117157"/>
                  </a:lnTo>
                  <a:lnTo>
                    <a:pt x="206692" y="196215"/>
                  </a:lnTo>
                  <a:lnTo>
                    <a:pt x="166688" y="196215"/>
                  </a:lnTo>
                  <a:close/>
                  <a:moveTo>
                    <a:pt x="229553" y="33338"/>
                  </a:moveTo>
                  <a:lnTo>
                    <a:pt x="206692" y="33338"/>
                  </a:lnTo>
                  <a:lnTo>
                    <a:pt x="206692" y="82867"/>
                  </a:lnTo>
                  <a:lnTo>
                    <a:pt x="229553" y="82867"/>
                  </a:lnTo>
                  <a:cubicBezTo>
                    <a:pt x="238125" y="82867"/>
                    <a:pt x="244792" y="80963"/>
                    <a:pt x="249555" y="76200"/>
                  </a:cubicBezTo>
                  <a:cubicBezTo>
                    <a:pt x="254317" y="71438"/>
                    <a:pt x="256223" y="65723"/>
                    <a:pt x="256223" y="58102"/>
                  </a:cubicBezTo>
                  <a:cubicBezTo>
                    <a:pt x="256223" y="50482"/>
                    <a:pt x="254317" y="44767"/>
                    <a:pt x="249555" y="40005"/>
                  </a:cubicBezTo>
                  <a:cubicBezTo>
                    <a:pt x="244792" y="36195"/>
                    <a:pt x="238125" y="33338"/>
                    <a:pt x="229553" y="33338"/>
                  </a:cubicBezTo>
                  <a:close/>
                  <a:moveTo>
                    <a:pt x="352425" y="196215"/>
                  </a:moveTo>
                  <a:lnTo>
                    <a:pt x="352425" y="0"/>
                  </a:lnTo>
                  <a:lnTo>
                    <a:pt x="466725" y="0"/>
                  </a:lnTo>
                  <a:lnTo>
                    <a:pt x="466725" y="34290"/>
                  </a:lnTo>
                  <a:lnTo>
                    <a:pt x="392430" y="34290"/>
                  </a:lnTo>
                  <a:lnTo>
                    <a:pt x="392430" y="80010"/>
                  </a:lnTo>
                  <a:lnTo>
                    <a:pt x="456248" y="80010"/>
                  </a:lnTo>
                  <a:lnTo>
                    <a:pt x="456248" y="114300"/>
                  </a:lnTo>
                  <a:lnTo>
                    <a:pt x="392430" y="114300"/>
                  </a:lnTo>
                  <a:lnTo>
                    <a:pt x="392430" y="163830"/>
                  </a:lnTo>
                  <a:lnTo>
                    <a:pt x="466725" y="163830"/>
                  </a:lnTo>
                  <a:lnTo>
                    <a:pt x="466725" y="198120"/>
                  </a:lnTo>
                  <a:lnTo>
                    <a:pt x="352425" y="198120"/>
                  </a:lnTo>
                  <a:close/>
                  <a:moveTo>
                    <a:pt x="513398" y="196215"/>
                  </a:moveTo>
                  <a:lnTo>
                    <a:pt x="513398" y="0"/>
                  </a:lnTo>
                  <a:lnTo>
                    <a:pt x="563880" y="0"/>
                  </a:lnTo>
                  <a:lnTo>
                    <a:pt x="611505" y="80963"/>
                  </a:lnTo>
                  <a:lnTo>
                    <a:pt x="659130" y="0"/>
                  </a:lnTo>
                  <a:lnTo>
                    <a:pt x="709613" y="0"/>
                  </a:lnTo>
                  <a:lnTo>
                    <a:pt x="709613" y="197167"/>
                  </a:lnTo>
                  <a:lnTo>
                    <a:pt x="669608" y="197167"/>
                  </a:lnTo>
                  <a:lnTo>
                    <a:pt x="669608" y="56198"/>
                  </a:lnTo>
                  <a:lnTo>
                    <a:pt x="624840" y="128588"/>
                  </a:lnTo>
                  <a:lnTo>
                    <a:pt x="596265" y="128588"/>
                  </a:lnTo>
                  <a:lnTo>
                    <a:pt x="552450" y="56198"/>
                  </a:lnTo>
                  <a:lnTo>
                    <a:pt x="552450" y="196215"/>
                  </a:lnTo>
                  <a:lnTo>
                    <a:pt x="513398" y="196215"/>
                  </a:lnTo>
                  <a:close/>
                  <a:moveTo>
                    <a:pt x="763905" y="196215"/>
                  </a:moveTo>
                  <a:lnTo>
                    <a:pt x="763905" y="0"/>
                  </a:lnTo>
                  <a:lnTo>
                    <a:pt x="803910" y="0"/>
                  </a:lnTo>
                  <a:lnTo>
                    <a:pt x="803910" y="197167"/>
                  </a:lnTo>
                  <a:lnTo>
                    <a:pt x="763905" y="197167"/>
                  </a:lnTo>
                  <a:close/>
                  <a:moveTo>
                    <a:pt x="858203" y="196215"/>
                  </a:moveTo>
                  <a:lnTo>
                    <a:pt x="858203" y="0"/>
                  </a:lnTo>
                  <a:lnTo>
                    <a:pt x="972503" y="0"/>
                  </a:lnTo>
                  <a:lnTo>
                    <a:pt x="972503" y="34290"/>
                  </a:lnTo>
                  <a:lnTo>
                    <a:pt x="898208" y="34290"/>
                  </a:lnTo>
                  <a:lnTo>
                    <a:pt x="898208" y="80010"/>
                  </a:lnTo>
                  <a:lnTo>
                    <a:pt x="962025" y="80010"/>
                  </a:lnTo>
                  <a:lnTo>
                    <a:pt x="962025" y="114300"/>
                  </a:lnTo>
                  <a:lnTo>
                    <a:pt x="898208" y="114300"/>
                  </a:lnTo>
                  <a:lnTo>
                    <a:pt x="898208" y="163830"/>
                  </a:lnTo>
                  <a:lnTo>
                    <a:pt x="972503" y="163830"/>
                  </a:lnTo>
                  <a:lnTo>
                    <a:pt x="972503" y="198120"/>
                  </a:lnTo>
                  <a:lnTo>
                    <a:pt x="858203" y="198120"/>
                  </a:lnTo>
                  <a:close/>
                  <a:moveTo>
                    <a:pt x="1019175" y="196215"/>
                  </a:moveTo>
                  <a:lnTo>
                    <a:pt x="1019175" y="0"/>
                  </a:lnTo>
                  <a:lnTo>
                    <a:pt x="1079183" y="0"/>
                  </a:lnTo>
                  <a:cubicBezTo>
                    <a:pt x="1101090" y="0"/>
                    <a:pt x="1118235" y="5715"/>
                    <a:pt x="1130618" y="16192"/>
                  </a:cubicBezTo>
                  <a:cubicBezTo>
                    <a:pt x="1143000" y="26670"/>
                    <a:pt x="1149668" y="40957"/>
                    <a:pt x="1149668" y="59055"/>
                  </a:cubicBezTo>
                  <a:cubicBezTo>
                    <a:pt x="1149668" y="70485"/>
                    <a:pt x="1146810" y="80963"/>
                    <a:pt x="1141095" y="89535"/>
                  </a:cubicBezTo>
                  <a:cubicBezTo>
                    <a:pt x="1135380" y="98107"/>
                    <a:pt x="1127760" y="104775"/>
                    <a:pt x="1118235" y="109538"/>
                  </a:cubicBezTo>
                  <a:lnTo>
                    <a:pt x="1180148" y="196215"/>
                  </a:lnTo>
                  <a:lnTo>
                    <a:pt x="1132523" y="196215"/>
                  </a:lnTo>
                  <a:lnTo>
                    <a:pt x="1080135" y="117157"/>
                  </a:lnTo>
                  <a:lnTo>
                    <a:pt x="1059180" y="117157"/>
                  </a:lnTo>
                  <a:lnTo>
                    <a:pt x="1059180" y="196215"/>
                  </a:lnTo>
                  <a:lnTo>
                    <a:pt x="1019175" y="196215"/>
                  </a:lnTo>
                  <a:close/>
                  <a:moveTo>
                    <a:pt x="1082040" y="33338"/>
                  </a:moveTo>
                  <a:lnTo>
                    <a:pt x="1059180" y="33338"/>
                  </a:lnTo>
                  <a:lnTo>
                    <a:pt x="1059180" y="82867"/>
                  </a:lnTo>
                  <a:lnTo>
                    <a:pt x="1082040" y="82867"/>
                  </a:lnTo>
                  <a:cubicBezTo>
                    <a:pt x="1090613" y="82867"/>
                    <a:pt x="1097280" y="80963"/>
                    <a:pt x="1102043" y="76200"/>
                  </a:cubicBezTo>
                  <a:cubicBezTo>
                    <a:pt x="1106805" y="71438"/>
                    <a:pt x="1108710" y="65723"/>
                    <a:pt x="1108710" y="58102"/>
                  </a:cubicBezTo>
                  <a:cubicBezTo>
                    <a:pt x="1108710" y="50482"/>
                    <a:pt x="1106805" y="44767"/>
                    <a:pt x="1102043" y="40005"/>
                  </a:cubicBezTo>
                  <a:cubicBezTo>
                    <a:pt x="1097280" y="36195"/>
                    <a:pt x="1090613" y="33338"/>
                    <a:pt x="1082040" y="33338"/>
                  </a:cubicBezTo>
                  <a:close/>
                  <a:moveTo>
                    <a:pt x="0" y="493395"/>
                  </a:moveTo>
                  <a:lnTo>
                    <a:pt x="0" y="296228"/>
                  </a:lnTo>
                  <a:lnTo>
                    <a:pt x="50483" y="296228"/>
                  </a:lnTo>
                  <a:lnTo>
                    <a:pt x="98108" y="377190"/>
                  </a:lnTo>
                  <a:lnTo>
                    <a:pt x="145733" y="296228"/>
                  </a:lnTo>
                  <a:lnTo>
                    <a:pt x="196215" y="296228"/>
                  </a:lnTo>
                  <a:lnTo>
                    <a:pt x="196215" y="493395"/>
                  </a:lnTo>
                  <a:lnTo>
                    <a:pt x="156210" y="493395"/>
                  </a:lnTo>
                  <a:lnTo>
                    <a:pt x="156210" y="353378"/>
                  </a:lnTo>
                  <a:lnTo>
                    <a:pt x="112395" y="425767"/>
                  </a:lnTo>
                  <a:lnTo>
                    <a:pt x="84773" y="425767"/>
                  </a:lnTo>
                  <a:lnTo>
                    <a:pt x="40958" y="353378"/>
                  </a:lnTo>
                  <a:lnTo>
                    <a:pt x="40958" y="493395"/>
                  </a:lnTo>
                  <a:lnTo>
                    <a:pt x="0" y="493395"/>
                  </a:lnTo>
                  <a:close/>
                  <a:moveTo>
                    <a:pt x="249555" y="493395"/>
                  </a:moveTo>
                  <a:lnTo>
                    <a:pt x="249555" y="296228"/>
                  </a:lnTo>
                  <a:lnTo>
                    <a:pt x="289560" y="296228"/>
                  </a:lnTo>
                  <a:lnTo>
                    <a:pt x="289560" y="493395"/>
                  </a:lnTo>
                  <a:lnTo>
                    <a:pt x="249555" y="493395"/>
                  </a:lnTo>
                  <a:close/>
                  <a:moveTo>
                    <a:pt x="344805" y="493395"/>
                  </a:moveTo>
                  <a:lnTo>
                    <a:pt x="344805" y="296228"/>
                  </a:lnTo>
                  <a:lnTo>
                    <a:pt x="396240" y="296228"/>
                  </a:lnTo>
                  <a:lnTo>
                    <a:pt x="483870" y="437198"/>
                  </a:lnTo>
                  <a:lnTo>
                    <a:pt x="483870" y="296228"/>
                  </a:lnTo>
                  <a:lnTo>
                    <a:pt x="523875" y="296228"/>
                  </a:lnTo>
                  <a:lnTo>
                    <a:pt x="523875" y="493395"/>
                  </a:lnTo>
                  <a:lnTo>
                    <a:pt x="472440" y="493395"/>
                  </a:lnTo>
                  <a:lnTo>
                    <a:pt x="384810" y="352425"/>
                  </a:lnTo>
                  <a:lnTo>
                    <a:pt x="384810" y="493395"/>
                  </a:lnTo>
                  <a:lnTo>
                    <a:pt x="344805" y="493395"/>
                  </a:lnTo>
                  <a:close/>
                  <a:moveTo>
                    <a:pt x="579120" y="493395"/>
                  </a:moveTo>
                  <a:lnTo>
                    <a:pt x="579120" y="296228"/>
                  </a:lnTo>
                  <a:lnTo>
                    <a:pt x="619125" y="296228"/>
                  </a:lnTo>
                  <a:lnTo>
                    <a:pt x="619125" y="493395"/>
                  </a:lnTo>
                  <a:lnTo>
                    <a:pt x="579120" y="493395"/>
                  </a:lnTo>
                  <a:close/>
                  <a:moveTo>
                    <a:pt x="656273" y="466725"/>
                  </a:moveTo>
                  <a:lnTo>
                    <a:pt x="684848" y="440055"/>
                  </a:lnTo>
                  <a:cubicBezTo>
                    <a:pt x="690563" y="447675"/>
                    <a:pt x="697230" y="453390"/>
                    <a:pt x="704850" y="458153"/>
                  </a:cubicBezTo>
                  <a:cubicBezTo>
                    <a:pt x="712470" y="462915"/>
                    <a:pt x="720090" y="464820"/>
                    <a:pt x="728663" y="464820"/>
                  </a:cubicBezTo>
                  <a:cubicBezTo>
                    <a:pt x="736283" y="464820"/>
                    <a:pt x="742950" y="462915"/>
                    <a:pt x="746760" y="459105"/>
                  </a:cubicBezTo>
                  <a:cubicBezTo>
                    <a:pt x="751523" y="455295"/>
                    <a:pt x="753428" y="449580"/>
                    <a:pt x="753428" y="441960"/>
                  </a:cubicBezTo>
                  <a:cubicBezTo>
                    <a:pt x="753428" y="433388"/>
                    <a:pt x="748665" y="426720"/>
                    <a:pt x="739140" y="421957"/>
                  </a:cubicBezTo>
                  <a:cubicBezTo>
                    <a:pt x="729615" y="417195"/>
                    <a:pt x="719138" y="412432"/>
                    <a:pt x="708660" y="406717"/>
                  </a:cubicBezTo>
                  <a:cubicBezTo>
                    <a:pt x="697230" y="401003"/>
                    <a:pt x="686753" y="394335"/>
                    <a:pt x="678180" y="385763"/>
                  </a:cubicBezTo>
                  <a:cubicBezTo>
                    <a:pt x="669608" y="377190"/>
                    <a:pt x="663893" y="364807"/>
                    <a:pt x="663893" y="348615"/>
                  </a:cubicBezTo>
                  <a:cubicBezTo>
                    <a:pt x="663893" y="340995"/>
                    <a:pt x="665798" y="333375"/>
                    <a:pt x="668655" y="326707"/>
                  </a:cubicBezTo>
                  <a:cubicBezTo>
                    <a:pt x="671513" y="320040"/>
                    <a:pt x="676275" y="313373"/>
                    <a:pt x="681990" y="308610"/>
                  </a:cubicBezTo>
                  <a:cubicBezTo>
                    <a:pt x="687705" y="303848"/>
                    <a:pt x="694373" y="299085"/>
                    <a:pt x="701993" y="296228"/>
                  </a:cubicBezTo>
                  <a:cubicBezTo>
                    <a:pt x="709613" y="293370"/>
                    <a:pt x="718185" y="291465"/>
                    <a:pt x="727710" y="291465"/>
                  </a:cubicBezTo>
                  <a:cubicBezTo>
                    <a:pt x="741998" y="291465"/>
                    <a:pt x="755333" y="294323"/>
                    <a:pt x="766763" y="300990"/>
                  </a:cubicBezTo>
                  <a:cubicBezTo>
                    <a:pt x="778193" y="306705"/>
                    <a:pt x="787718" y="315278"/>
                    <a:pt x="796290" y="324803"/>
                  </a:cubicBezTo>
                  <a:lnTo>
                    <a:pt x="766763" y="350520"/>
                  </a:lnTo>
                  <a:cubicBezTo>
                    <a:pt x="761048" y="342900"/>
                    <a:pt x="754380" y="337185"/>
                    <a:pt x="748665" y="332423"/>
                  </a:cubicBezTo>
                  <a:cubicBezTo>
                    <a:pt x="741998" y="327660"/>
                    <a:pt x="735330" y="325755"/>
                    <a:pt x="727710" y="325755"/>
                  </a:cubicBezTo>
                  <a:cubicBezTo>
                    <a:pt x="721043" y="325755"/>
                    <a:pt x="715328" y="327660"/>
                    <a:pt x="711518" y="331470"/>
                  </a:cubicBezTo>
                  <a:cubicBezTo>
                    <a:pt x="707708" y="335280"/>
                    <a:pt x="705803" y="340042"/>
                    <a:pt x="705803" y="345757"/>
                  </a:cubicBezTo>
                  <a:cubicBezTo>
                    <a:pt x="705803" y="354330"/>
                    <a:pt x="710565" y="360998"/>
                    <a:pt x="720090" y="365760"/>
                  </a:cubicBezTo>
                  <a:cubicBezTo>
                    <a:pt x="729615" y="370523"/>
                    <a:pt x="740093" y="375285"/>
                    <a:pt x="750570" y="381000"/>
                  </a:cubicBezTo>
                  <a:cubicBezTo>
                    <a:pt x="762000" y="386715"/>
                    <a:pt x="772478" y="393382"/>
                    <a:pt x="781050" y="401955"/>
                  </a:cubicBezTo>
                  <a:cubicBezTo>
                    <a:pt x="790575" y="410528"/>
                    <a:pt x="795338" y="422910"/>
                    <a:pt x="795338" y="440055"/>
                  </a:cubicBezTo>
                  <a:cubicBezTo>
                    <a:pt x="795338" y="449580"/>
                    <a:pt x="793433" y="457200"/>
                    <a:pt x="789623" y="464820"/>
                  </a:cubicBezTo>
                  <a:cubicBezTo>
                    <a:pt x="785813" y="472440"/>
                    <a:pt x="781050" y="478155"/>
                    <a:pt x="775335" y="482917"/>
                  </a:cubicBezTo>
                  <a:cubicBezTo>
                    <a:pt x="769620" y="487680"/>
                    <a:pt x="762953" y="491490"/>
                    <a:pt x="754380" y="494348"/>
                  </a:cubicBezTo>
                  <a:cubicBezTo>
                    <a:pt x="746760" y="497205"/>
                    <a:pt x="738188" y="498157"/>
                    <a:pt x="728663" y="498157"/>
                  </a:cubicBezTo>
                  <a:cubicBezTo>
                    <a:pt x="712470" y="498157"/>
                    <a:pt x="698183" y="495300"/>
                    <a:pt x="685800" y="489585"/>
                  </a:cubicBezTo>
                  <a:cubicBezTo>
                    <a:pt x="675323" y="484823"/>
                    <a:pt x="664845" y="476250"/>
                    <a:pt x="656273" y="466725"/>
                  </a:cubicBezTo>
                  <a:close/>
                  <a:moveTo>
                    <a:pt x="814388" y="333375"/>
                  </a:moveTo>
                  <a:lnTo>
                    <a:pt x="814388" y="297180"/>
                  </a:lnTo>
                  <a:lnTo>
                    <a:pt x="975360" y="297180"/>
                  </a:lnTo>
                  <a:lnTo>
                    <a:pt x="975360" y="333375"/>
                  </a:lnTo>
                  <a:lnTo>
                    <a:pt x="914400" y="333375"/>
                  </a:lnTo>
                  <a:lnTo>
                    <a:pt x="914400" y="493395"/>
                  </a:lnTo>
                  <a:lnTo>
                    <a:pt x="874395" y="493395"/>
                  </a:lnTo>
                  <a:lnTo>
                    <a:pt x="874395" y="333375"/>
                  </a:lnTo>
                  <a:lnTo>
                    <a:pt x="814388" y="333375"/>
                  </a:lnTo>
                  <a:close/>
                  <a:moveTo>
                    <a:pt x="1011555" y="493395"/>
                  </a:moveTo>
                  <a:lnTo>
                    <a:pt x="1011555" y="296228"/>
                  </a:lnTo>
                  <a:lnTo>
                    <a:pt x="1071563" y="296228"/>
                  </a:lnTo>
                  <a:cubicBezTo>
                    <a:pt x="1093470" y="296228"/>
                    <a:pt x="1110615" y="301942"/>
                    <a:pt x="1122998" y="312420"/>
                  </a:cubicBezTo>
                  <a:cubicBezTo>
                    <a:pt x="1135380" y="322898"/>
                    <a:pt x="1142048" y="337185"/>
                    <a:pt x="1142048" y="355282"/>
                  </a:cubicBezTo>
                  <a:cubicBezTo>
                    <a:pt x="1142048" y="366713"/>
                    <a:pt x="1139190" y="377190"/>
                    <a:pt x="1133475" y="385763"/>
                  </a:cubicBezTo>
                  <a:cubicBezTo>
                    <a:pt x="1127760" y="394335"/>
                    <a:pt x="1120140" y="401003"/>
                    <a:pt x="1110615" y="405765"/>
                  </a:cubicBezTo>
                  <a:lnTo>
                    <a:pt x="1172528" y="492442"/>
                  </a:lnTo>
                  <a:lnTo>
                    <a:pt x="1124903" y="492442"/>
                  </a:lnTo>
                  <a:lnTo>
                    <a:pt x="1072515" y="413385"/>
                  </a:lnTo>
                  <a:lnTo>
                    <a:pt x="1051560" y="413385"/>
                  </a:lnTo>
                  <a:lnTo>
                    <a:pt x="1051560" y="492442"/>
                  </a:lnTo>
                  <a:lnTo>
                    <a:pt x="1011555" y="492442"/>
                  </a:lnTo>
                  <a:close/>
                  <a:moveTo>
                    <a:pt x="1073468" y="330517"/>
                  </a:moveTo>
                  <a:lnTo>
                    <a:pt x="1050608" y="330517"/>
                  </a:lnTo>
                  <a:lnTo>
                    <a:pt x="1050608" y="380048"/>
                  </a:lnTo>
                  <a:lnTo>
                    <a:pt x="1073468" y="380048"/>
                  </a:lnTo>
                  <a:cubicBezTo>
                    <a:pt x="1082040" y="380048"/>
                    <a:pt x="1088708" y="378142"/>
                    <a:pt x="1093470" y="373380"/>
                  </a:cubicBezTo>
                  <a:cubicBezTo>
                    <a:pt x="1098233" y="368617"/>
                    <a:pt x="1100138" y="362903"/>
                    <a:pt x="1100138" y="355282"/>
                  </a:cubicBezTo>
                  <a:cubicBezTo>
                    <a:pt x="1100138" y="347663"/>
                    <a:pt x="1098233" y="341948"/>
                    <a:pt x="1093470" y="337185"/>
                  </a:cubicBezTo>
                  <a:cubicBezTo>
                    <a:pt x="1088708" y="333375"/>
                    <a:pt x="1082040" y="330517"/>
                    <a:pt x="1073468" y="330517"/>
                  </a:cubicBezTo>
                  <a:close/>
                  <a:moveTo>
                    <a:pt x="1196340" y="493395"/>
                  </a:moveTo>
                  <a:lnTo>
                    <a:pt x="1196340" y="296228"/>
                  </a:lnTo>
                  <a:lnTo>
                    <a:pt x="1310640" y="296228"/>
                  </a:lnTo>
                  <a:lnTo>
                    <a:pt x="1310640" y="330517"/>
                  </a:lnTo>
                  <a:lnTo>
                    <a:pt x="1236345" y="330517"/>
                  </a:lnTo>
                  <a:lnTo>
                    <a:pt x="1236345" y="376238"/>
                  </a:lnTo>
                  <a:lnTo>
                    <a:pt x="1300163" y="376238"/>
                  </a:lnTo>
                  <a:lnTo>
                    <a:pt x="1300163" y="410528"/>
                  </a:lnTo>
                  <a:lnTo>
                    <a:pt x="1236345" y="410528"/>
                  </a:lnTo>
                  <a:lnTo>
                    <a:pt x="1236345" y="460057"/>
                  </a:lnTo>
                  <a:lnTo>
                    <a:pt x="1310640" y="460057"/>
                  </a:lnTo>
                  <a:lnTo>
                    <a:pt x="1310640" y="494348"/>
                  </a:lnTo>
                  <a:lnTo>
                    <a:pt x="1196340" y="49434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grpSp>
          <p:nvGrpSpPr>
            <p:cNvPr id="32" name="Graphique 2">
              <a:extLst>
                <a:ext uri="{FF2B5EF4-FFF2-40B4-BE49-F238E27FC236}">
                  <a16:creationId xmlns:a16="http://schemas.microsoft.com/office/drawing/2014/main" id="{0E8512DB-979A-4DDC-94CD-95CB897B8246}"/>
                </a:ext>
              </a:extLst>
            </p:cNvPr>
            <p:cNvGrpSpPr/>
            <p:nvPr/>
          </p:nvGrpSpPr>
          <p:grpSpPr>
            <a:xfrm>
              <a:off x="270509" y="269557"/>
              <a:ext cx="744854" cy="270510"/>
              <a:chOff x="270509" y="269557"/>
              <a:chExt cx="744854" cy="270510"/>
            </a:xfrm>
          </p:grpSpPr>
          <p:sp>
            <p:nvSpPr>
              <p:cNvPr id="33" name="Forme libre : forme 32">
                <a:extLst>
                  <a:ext uri="{FF2B5EF4-FFF2-40B4-BE49-F238E27FC236}">
                    <a16:creationId xmlns:a16="http://schemas.microsoft.com/office/drawing/2014/main" id="{1921B7DC-4D67-4A0C-823D-81901F7D550D}"/>
                  </a:ext>
                </a:extLst>
              </p:cNvPr>
              <p:cNvSpPr/>
              <p:nvPr/>
            </p:nvSpPr>
            <p:spPr>
              <a:xfrm>
                <a:off x="419100" y="270509"/>
                <a:ext cx="359871" cy="268604"/>
              </a:xfrm>
              <a:custGeom>
                <a:avLst/>
                <a:gdLst>
                  <a:gd name="connsiteX0" fmla="*/ 158115 w 359871"/>
                  <a:gd name="connsiteY0" fmla="*/ 237173 h 268604"/>
                  <a:gd name="connsiteX1" fmla="*/ 166688 w 359871"/>
                  <a:gd name="connsiteY1" fmla="*/ 227648 h 268604"/>
                  <a:gd name="connsiteX2" fmla="*/ 166688 w 359871"/>
                  <a:gd name="connsiteY2" fmla="*/ 227648 h 268604"/>
                  <a:gd name="connsiteX3" fmla="*/ 183833 w 359871"/>
                  <a:gd name="connsiteY3" fmla="*/ 210503 h 268604"/>
                  <a:gd name="connsiteX4" fmla="*/ 189548 w 359871"/>
                  <a:gd name="connsiteY4" fmla="*/ 205740 h 268604"/>
                  <a:gd name="connsiteX5" fmla="*/ 190500 w 359871"/>
                  <a:gd name="connsiteY5" fmla="*/ 203835 h 268604"/>
                  <a:gd name="connsiteX6" fmla="*/ 183833 w 359871"/>
                  <a:gd name="connsiteY6" fmla="*/ 207645 h 268604"/>
                  <a:gd name="connsiteX7" fmla="*/ 182880 w 359871"/>
                  <a:gd name="connsiteY7" fmla="*/ 206692 h 268604"/>
                  <a:gd name="connsiteX8" fmla="*/ 188595 w 359871"/>
                  <a:gd name="connsiteY8" fmla="*/ 202883 h 268604"/>
                  <a:gd name="connsiteX9" fmla="*/ 188595 w 359871"/>
                  <a:gd name="connsiteY9" fmla="*/ 202883 h 268604"/>
                  <a:gd name="connsiteX10" fmla="*/ 187643 w 359871"/>
                  <a:gd name="connsiteY10" fmla="*/ 201930 h 268604"/>
                  <a:gd name="connsiteX11" fmla="*/ 171450 w 359871"/>
                  <a:gd name="connsiteY11" fmla="*/ 210503 h 268604"/>
                  <a:gd name="connsiteX12" fmla="*/ 168593 w 359871"/>
                  <a:gd name="connsiteY12" fmla="*/ 209550 h 268604"/>
                  <a:gd name="connsiteX13" fmla="*/ 147638 w 359871"/>
                  <a:gd name="connsiteY13" fmla="*/ 221933 h 268604"/>
                  <a:gd name="connsiteX14" fmla="*/ 147638 w 359871"/>
                  <a:gd name="connsiteY14" fmla="*/ 220980 h 268604"/>
                  <a:gd name="connsiteX15" fmla="*/ 138113 w 359871"/>
                  <a:gd name="connsiteY15" fmla="*/ 224790 h 268604"/>
                  <a:gd name="connsiteX16" fmla="*/ 125730 w 359871"/>
                  <a:gd name="connsiteY16" fmla="*/ 225742 h 268604"/>
                  <a:gd name="connsiteX17" fmla="*/ 107632 w 359871"/>
                  <a:gd name="connsiteY17" fmla="*/ 228600 h 268604"/>
                  <a:gd name="connsiteX18" fmla="*/ 106680 w 359871"/>
                  <a:gd name="connsiteY18" fmla="*/ 228600 h 268604"/>
                  <a:gd name="connsiteX19" fmla="*/ 97155 w 359871"/>
                  <a:gd name="connsiteY19" fmla="*/ 232410 h 268604"/>
                  <a:gd name="connsiteX20" fmla="*/ 97155 w 359871"/>
                  <a:gd name="connsiteY20" fmla="*/ 232410 h 268604"/>
                  <a:gd name="connsiteX21" fmla="*/ 96202 w 359871"/>
                  <a:gd name="connsiteY21" fmla="*/ 233363 h 268604"/>
                  <a:gd name="connsiteX22" fmla="*/ 92393 w 359871"/>
                  <a:gd name="connsiteY22" fmla="*/ 236220 h 268604"/>
                  <a:gd name="connsiteX23" fmla="*/ 83820 w 359871"/>
                  <a:gd name="connsiteY23" fmla="*/ 242888 h 268604"/>
                  <a:gd name="connsiteX24" fmla="*/ 82868 w 359871"/>
                  <a:gd name="connsiteY24" fmla="*/ 242888 h 268604"/>
                  <a:gd name="connsiteX25" fmla="*/ 74295 w 359871"/>
                  <a:gd name="connsiteY25" fmla="*/ 250508 h 268604"/>
                  <a:gd name="connsiteX26" fmla="*/ 72390 w 359871"/>
                  <a:gd name="connsiteY26" fmla="*/ 250508 h 268604"/>
                  <a:gd name="connsiteX27" fmla="*/ 72390 w 359871"/>
                  <a:gd name="connsiteY27" fmla="*/ 250508 h 268604"/>
                  <a:gd name="connsiteX28" fmla="*/ 72390 w 359871"/>
                  <a:gd name="connsiteY28" fmla="*/ 249555 h 268604"/>
                  <a:gd name="connsiteX29" fmla="*/ 73343 w 359871"/>
                  <a:gd name="connsiteY29" fmla="*/ 247650 h 268604"/>
                  <a:gd name="connsiteX30" fmla="*/ 75248 w 359871"/>
                  <a:gd name="connsiteY30" fmla="*/ 245745 h 268604"/>
                  <a:gd name="connsiteX31" fmla="*/ 77152 w 359871"/>
                  <a:gd name="connsiteY31" fmla="*/ 242888 h 268604"/>
                  <a:gd name="connsiteX32" fmla="*/ 77152 w 359871"/>
                  <a:gd name="connsiteY32" fmla="*/ 241935 h 268604"/>
                  <a:gd name="connsiteX33" fmla="*/ 76200 w 359871"/>
                  <a:gd name="connsiteY33" fmla="*/ 241935 h 268604"/>
                  <a:gd name="connsiteX34" fmla="*/ 84773 w 359871"/>
                  <a:gd name="connsiteY34" fmla="*/ 235267 h 268604"/>
                  <a:gd name="connsiteX35" fmla="*/ 84773 w 359871"/>
                  <a:gd name="connsiteY35" fmla="*/ 235267 h 268604"/>
                  <a:gd name="connsiteX36" fmla="*/ 83820 w 359871"/>
                  <a:gd name="connsiteY36" fmla="*/ 234315 h 268604"/>
                  <a:gd name="connsiteX37" fmla="*/ 84773 w 359871"/>
                  <a:gd name="connsiteY37" fmla="*/ 233363 h 268604"/>
                  <a:gd name="connsiteX38" fmla="*/ 84773 w 359871"/>
                  <a:gd name="connsiteY38" fmla="*/ 233363 h 268604"/>
                  <a:gd name="connsiteX39" fmla="*/ 84773 w 359871"/>
                  <a:gd name="connsiteY39" fmla="*/ 233363 h 268604"/>
                  <a:gd name="connsiteX40" fmla="*/ 84773 w 359871"/>
                  <a:gd name="connsiteY40" fmla="*/ 234315 h 268604"/>
                  <a:gd name="connsiteX41" fmla="*/ 80963 w 359871"/>
                  <a:gd name="connsiteY41" fmla="*/ 237173 h 268604"/>
                  <a:gd name="connsiteX42" fmla="*/ 80010 w 359871"/>
                  <a:gd name="connsiteY42" fmla="*/ 237173 h 268604"/>
                  <a:gd name="connsiteX43" fmla="*/ 79057 w 359871"/>
                  <a:gd name="connsiteY43" fmla="*/ 237173 h 268604"/>
                  <a:gd name="connsiteX44" fmla="*/ 79057 w 359871"/>
                  <a:gd name="connsiteY44" fmla="*/ 237173 h 268604"/>
                  <a:gd name="connsiteX45" fmla="*/ 79057 w 359871"/>
                  <a:gd name="connsiteY45" fmla="*/ 237173 h 268604"/>
                  <a:gd name="connsiteX46" fmla="*/ 79057 w 359871"/>
                  <a:gd name="connsiteY46" fmla="*/ 237173 h 268604"/>
                  <a:gd name="connsiteX47" fmla="*/ 79057 w 359871"/>
                  <a:gd name="connsiteY47" fmla="*/ 237173 h 268604"/>
                  <a:gd name="connsiteX48" fmla="*/ 79057 w 359871"/>
                  <a:gd name="connsiteY48" fmla="*/ 237173 h 268604"/>
                  <a:gd name="connsiteX49" fmla="*/ 79057 w 359871"/>
                  <a:gd name="connsiteY49" fmla="*/ 237173 h 268604"/>
                  <a:gd name="connsiteX50" fmla="*/ 79057 w 359871"/>
                  <a:gd name="connsiteY50" fmla="*/ 236220 h 268604"/>
                  <a:gd name="connsiteX51" fmla="*/ 79057 w 359871"/>
                  <a:gd name="connsiteY51" fmla="*/ 236220 h 268604"/>
                  <a:gd name="connsiteX52" fmla="*/ 80010 w 359871"/>
                  <a:gd name="connsiteY52" fmla="*/ 235267 h 268604"/>
                  <a:gd name="connsiteX53" fmla="*/ 80010 w 359871"/>
                  <a:gd name="connsiteY53" fmla="*/ 234315 h 268604"/>
                  <a:gd name="connsiteX54" fmla="*/ 80963 w 359871"/>
                  <a:gd name="connsiteY54" fmla="*/ 233363 h 268604"/>
                  <a:gd name="connsiteX55" fmla="*/ 80963 w 359871"/>
                  <a:gd name="connsiteY55" fmla="*/ 232410 h 268604"/>
                  <a:gd name="connsiteX56" fmla="*/ 84773 w 359871"/>
                  <a:gd name="connsiteY56" fmla="*/ 229553 h 268604"/>
                  <a:gd name="connsiteX57" fmla="*/ 84773 w 359871"/>
                  <a:gd name="connsiteY57" fmla="*/ 229553 h 268604"/>
                  <a:gd name="connsiteX58" fmla="*/ 90488 w 359871"/>
                  <a:gd name="connsiteY58" fmla="*/ 226695 h 268604"/>
                  <a:gd name="connsiteX59" fmla="*/ 91440 w 359871"/>
                  <a:gd name="connsiteY59" fmla="*/ 225742 h 268604"/>
                  <a:gd name="connsiteX60" fmla="*/ 82868 w 359871"/>
                  <a:gd name="connsiteY60" fmla="*/ 229553 h 268604"/>
                  <a:gd name="connsiteX61" fmla="*/ 81915 w 359871"/>
                  <a:gd name="connsiteY61" fmla="*/ 229553 h 268604"/>
                  <a:gd name="connsiteX62" fmla="*/ 80963 w 359871"/>
                  <a:gd name="connsiteY62" fmla="*/ 229553 h 268604"/>
                  <a:gd name="connsiteX63" fmla="*/ 80963 w 359871"/>
                  <a:gd name="connsiteY63" fmla="*/ 229553 h 268604"/>
                  <a:gd name="connsiteX64" fmla="*/ 83820 w 359871"/>
                  <a:gd name="connsiteY64" fmla="*/ 226695 h 268604"/>
                  <a:gd name="connsiteX65" fmla="*/ 84773 w 359871"/>
                  <a:gd name="connsiteY65" fmla="*/ 227648 h 268604"/>
                  <a:gd name="connsiteX66" fmla="*/ 142875 w 359871"/>
                  <a:gd name="connsiteY66" fmla="*/ 211455 h 268604"/>
                  <a:gd name="connsiteX67" fmla="*/ 147638 w 359871"/>
                  <a:gd name="connsiteY67" fmla="*/ 208598 h 268604"/>
                  <a:gd name="connsiteX68" fmla="*/ 155258 w 359871"/>
                  <a:gd name="connsiteY68" fmla="*/ 203835 h 268604"/>
                  <a:gd name="connsiteX69" fmla="*/ 163830 w 359871"/>
                  <a:gd name="connsiteY69" fmla="*/ 192405 h 268604"/>
                  <a:gd name="connsiteX70" fmla="*/ 162877 w 359871"/>
                  <a:gd name="connsiteY70" fmla="*/ 191453 h 268604"/>
                  <a:gd name="connsiteX71" fmla="*/ 140018 w 359871"/>
                  <a:gd name="connsiteY71" fmla="*/ 208598 h 268604"/>
                  <a:gd name="connsiteX72" fmla="*/ 106680 w 359871"/>
                  <a:gd name="connsiteY72" fmla="*/ 214313 h 268604"/>
                  <a:gd name="connsiteX73" fmla="*/ 109538 w 359871"/>
                  <a:gd name="connsiteY73" fmla="*/ 213360 h 268604"/>
                  <a:gd name="connsiteX74" fmla="*/ 111443 w 359871"/>
                  <a:gd name="connsiteY74" fmla="*/ 210503 h 268604"/>
                  <a:gd name="connsiteX75" fmla="*/ 113348 w 359871"/>
                  <a:gd name="connsiteY75" fmla="*/ 210503 h 268604"/>
                  <a:gd name="connsiteX76" fmla="*/ 114300 w 359871"/>
                  <a:gd name="connsiteY76" fmla="*/ 209550 h 268604"/>
                  <a:gd name="connsiteX77" fmla="*/ 116205 w 359871"/>
                  <a:gd name="connsiteY77" fmla="*/ 208598 h 268604"/>
                  <a:gd name="connsiteX78" fmla="*/ 108585 w 359871"/>
                  <a:gd name="connsiteY78" fmla="*/ 208598 h 268604"/>
                  <a:gd name="connsiteX79" fmla="*/ 110490 w 359871"/>
                  <a:gd name="connsiteY79" fmla="*/ 205740 h 268604"/>
                  <a:gd name="connsiteX80" fmla="*/ 112395 w 359871"/>
                  <a:gd name="connsiteY80" fmla="*/ 205740 h 268604"/>
                  <a:gd name="connsiteX81" fmla="*/ 113348 w 359871"/>
                  <a:gd name="connsiteY81" fmla="*/ 203835 h 268604"/>
                  <a:gd name="connsiteX82" fmla="*/ 135255 w 359871"/>
                  <a:gd name="connsiteY82" fmla="*/ 191453 h 268604"/>
                  <a:gd name="connsiteX83" fmla="*/ 131445 w 359871"/>
                  <a:gd name="connsiteY83" fmla="*/ 192405 h 268604"/>
                  <a:gd name="connsiteX84" fmla="*/ 132398 w 359871"/>
                  <a:gd name="connsiteY84" fmla="*/ 190500 h 268604"/>
                  <a:gd name="connsiteX85" fmla="*/ 148590 w 359871"/>
                  <a:gd name="connsiteY85" fmla="*/ 183833 h 268604"/>
                  <a:gd name="connsiteX86" fmla="*/ 142875 w 359871"/>
                  <a:gd name="connsiteY86" fmla="*/ 183833 h 268604"/>
                  <a:gd name="connsiteX87" fmla="*/ 145733 w 359871"/>
                  <a:gd name="connsiteY87" fmla="*/ 181928 h 268604"/>
                  <a:gd name="connsiteX88" fmla="*/ 145733 w 359871"/>
                  <a:gd name="connsiteY88" fmla="*/ 180023 h 268604"/>
                  <a:gd name="connsiteX89" fmla="*/ 146685 w 359871"/>
                  <a:gd name="connsiteY89" fmla="*/ 179070 h 268604"/>
                  <a:gd name="connsiteX90" fmla="*/ 145733 w 359871"/>
                  <a:gd name="connsiteY90" fmla="*/ 178117 h 268604"/>
                  <a:gd name="connsiteX91" fmla="*/ 148590 w 359871"/>
                  <a:gd name="connsiteY91" fmla="*/ 176213 h 268604"/>
                  <a:gd name="connsiteX92" fmla="*/ 146685 w 359871"/>
                  <a:gd name="connsiteY92" fmla="*/ 175260 h 268604"/>
                  <a:gd name="connsiteX93" fmla="*/ 153352 w 359871"/>
                  <a:gd name="connsiteY93" fmla="*/ 172403 h 268604"/>
                  <a:gd name="connsiteX94" fmla="*/ 151448 w 359871"/>
                  <a:gd name="connsiteY94" fmla="*/ 171450 h 268604"/>
                  <a:gd name="connsiteX95" fmla="*/ 152400 w 359871"/>
                  <a:gd name="connsiteY95" fmla="*/ 170498 h 268604"/>
                  <a:gd name="connsiteX96" fmla="*/ 152400 w 359871"/>
                  <a:gd name="connsiteY96" fmla="*/ 170498 h 268604"/>
                  <a:gd name="connsiteX97" fmla="*/ 151448 w 359871"/>
                  <a:gd name="connsiteY97" fmla="*/ 168592 h 268604"/>
                  <a:gd name="connsiteX98" fmla="*/ 156210 w 359871"/>
                  <a:gd name="connsiteY98" fmla="*/ 156210 h 268604"/>
                  <a:gd name="connsiteX99" fmla="*/ 155258 w 359871"/>
                  <a:gd name="connsiteY99" fmla="*/ 155258 h 268604"/>
                  <a:gd name="connsiteX100" fmla="*/ 134302 w 359871"/>
                  <a:gd name="connsiteY100" fmla="*/ 164783 h 268604"/>
                  <a:gd name="connsiteX101" fmla="*/ 131445 w 359871"/>
                  <a:gd name="connsiteY101" fmla="*/ 164783 h 268604"/>
                  <a:gd name="connsiteX102" fmla="*/ 122873 w 359871"/>
                  <a:gd name="connsiteY102" fmla="*/ 163830 h 268604"/>
                  <a:gd name="connsiteX103" fmla="*/ 118110 w 359871"/>
                  <a:gd name="connsiteY103" fmla="*/ 160020 h 268604"/>
                  <a:gd name="connsiteX104" fmla="*/ 105727 w 359871"/>
                  <a:gd name="connsiteY104" fmla="*/ 154305 h 268604"/>
                  <a:gd name="connsiteX105" fmla="*/ 66675 w 359871"/>
                  <a:gd name="connsiteY105" fmla="*/ 148590 h 268604"/>
                  <a:gd name="connsiteX106" fmla="*/ 84773 w 359871"/>
                  <a:gd name="connsiteY106" fmla="*/ 143828 h 268604"/>
                  <a:gd name="connsiteX107" fmla="*/ 110490 w 359871"/>
                  <a:gd name="connsiteY107" fmla="*/ 139065 h 268604"/>
                  <a:gd name="connsiteX108" fmla="*/ 105727 w 359871"/>
                  <a:gd name="connsiteY108" fmla="*/ 139065 h 268604"/>
                  <a:gd name="connsiteX109" fmla="*/ 83820 w 359871"/>
                  <a:gd name="connsiteY109" fmla="*/ 141923 h 268604"/>
                  <a:gd name="connsiteX110" fmla="*/ 68580 w 359871"/>
                  <a:gd name="connsiteY110" fmla="*/ 145733 h 268604"/>
                  <a:gd name="connsiteX111" fmla="*/ 60007 w 359871"/>
                  <a:gd name="connsiteY111" fmla="*/ 149542 h 268604"/>
                  <a:gd name="connsiteX112" fmla="*/ 60007 w 359871"/>
                  <a:gd name="connsiteY112" fmla="*/ 147638 h 268604"/>
                  <a:gd name="connsiteX113" fmla="*/ 79057 w 359871"/>
                  <a:gd name="connsiteY113" fmla="*/ 135255 h 268604"/>
                  <a:gd name="connsiteX114" fmla="*/ 105727 w 359871"/>
                  <a:gd name="connsiteY114" fmla="*/ 136208 h 268604"/>
                  <a:gd name="connsiteX115" fmla="*/ 124777 w 359871"/>
                  <a:gd name="connsiteY115" fmla="*/ 140017 h 268604"/>
                  <a:gd name="connsiteX116" fmla="*/ 129540 w 359871"/>
                  <a:gd name="connsiteY116" fmla="*/ 144780 h 268604"/>
                  <a:gd name="connsiteX117" fmla="*/ 139065 w 359871"/>
                  <a:gd name="connsiteY117" fmla="*/ 146685 h 268604"/>
                  <a:gd name="connsiteX118" fmla="*/ 139065 w 359871"/>
                  <a:gd name="connsiteY118" fmla="*/ 143828 h 268604"/>
                  <a:gd name="connsiteX119" fmla="*/ 145733 w 359871"/>
                  <a:gd name="connsiteY119" fmla="*/ 142875 h 268604"/>
                  <a:gd name="connsiteX120" fmla="*/ 140018 w 359871"/>
                  <a:gd name="connsiteY120" fmla="*/ 132398 h 268604"/>
                  <a:gd name="connsiteX121" fmla="*/ 140970 w 359871"/>
                  <a:gd name="connsiteY121" fmla="*/ 131445 h 268604"/>
                  <a:gd name="connsiteX122" fmla="*/ 153352 w 359871"/>
                  <a:gd name="connsiteY122" fmla="*/ 141923 h 268604"/>
                  <a:gd name="connsiteX123" fmla="*/ 160973 w 359871"/>
                  <a:gd name="connsiteY123" fmla="*/ 140970 h 268604"/>
                  <a:gd name="connsiteX124" fmla="*/ 149543 w 359871"/>
                  <a:gd name="connsiteY124" fmla="*/ 125730 h 268604"/>
                  <a:gd name="connsiteX125" fmla="*/ 149543 w 359871"/>
                  <a:gd name="connsiteY125" fmla="*/ 123825 h 268604"/>
                  <a:gd name="connsiteX126" fmla="*/ 147638 w 359871"/>
                  <a:gd name="connsiteY126" fmla="*/ 122873 h 268604"/>
                  <a:gd name="connsiteX127" fmla="*/ 147638 w 359871"/>
                  <a:gd name="connsiteY127" fmla="*/ 120015 h 268604"/>
                  <a:gd name="connsiteX128" fmla="*/ 144780 w 359871"/>
                  <a:gd name="connsiteY128" fmla="*/ 115253 h 268604"/>
                  <a:gd name="connsiteX129" fmla="*/ 142875 w 359871"/>
                  <a:gd name="connsiteY129" fmla="*/ 105728 h 268604"/>
                  <a:gd name="connsiteX130" fmla="*/ 141923 w 359871"/>
                  <a:gd name="connsiteY130" fmla="*/ 98108 h 268604"/>
                  <a:gd name="connsiteX131" fmla="*/ 137160 w 359871"/>
                  <a:gd name="connsiteY131" fmla="*/ 73342 h 268604"/>
                  <a:gd name="connsiteX132" fmla="*/ 147638 w 359871"/>
                  <a:gd name="connsiteY132" fmla="*/ 47625 h 268604"/>
                  <a:gd name="connsiteX133" fmla="*/ 161925 w 359871"/>
                  <a:gd name="connsiteY133" fmla="*/ 31433 h 268604"/>
                  <a:gd name="connsiteX134" fmla="*/ 171450 w 359871"/>
                  <a:gd name="connsiteY134" fmla="*/ 15240 h 268604"/>
                  <a:gd name="connsiteX135" fmla="*/ 187643 w 359871"/>
                  <a:gd name="connsiteY135" fmla="*/ 4763 h 268604"/>
                  <a:gd name="connsiteX136" fmla="*/ 200977 w 359871"/>
                  <a:gd name="connsiteY136" fmla="*/ 0 h 268604"/>
                  <a:gd name="connsiteX137" fmla="*/ 302895 w 359871"/>
                  <a:gd name="connsiteY137" fmla="*/ 0 h 268604"/>
                  <a:gd name="connsiteX138" fmla="*/ 305753 w 359871"/>
                  <a:gd name="connsiteY138" fmla="*/ 953 h 268604"/>
                  <a:gd name="connsiteX139" fmla="*/ 313373 w 359871"/>
                  <a:gd name="connsiteY139" fmla="*/ 4763 h 268604"/>
                  <a:gd name="connsiteX140" fmla="*/ 322898 w 359871"/>
                  <a:gd name="connsiteY140" fmla="*/ 13335 h 268604"/>
                  <a:gd name="connsiteX141" fmla="*/ 324803 w 359871"/>
                  <a:gd name="connsiteY141" fmla="*/ 20003 h 268604"/>
                  <a:gd name="connsiteX142" fmla="*/ 320992 w 359871"/>
                  <a:gd name="connsiteY142" fmla="*/ 27622 h 268604"/>
                  <a:gd name="connsiteX143" fmla="*/ 310515 w 359871"/>
                  <a:gd name="connsiteY143" fmla="*/ 28575 h 268604"/>
                  <a:gd name="connsiteX144" fmla="*/ 304800 w 359871"/>
                  <a:gd name="connsiteY144" fmla="*/ 27622 h 268604"/>
                  <a:gd name="connsiteX145" fmla="*/ 324803 w 359871"/>
                  <a:gd name="connsiteY145" fmla="*/ 40958 h 268604"/>
                  <a:gd name="connsiteX146" fmla="*/ 329565 w 359871"/>
                  <a:gd name="connsiteY146" fmla="*/ 42863 h 268604"/>
                  <a:gd name="connsiteX147" fmla="*/ 330517 w 359871"/>
                  <a:gd name="connsiteY147" fmla="*/ 44767 h 268604"/>
                  <a:gd name="connsiteX148" fmla="*/ 328613 w 359871"/>
                  <a:gd name="connsiteY148" fmla="*/ 47625 h 268604"/>
                  <a:gd name="connsiteX149" fmla="*/ 330517 w 359871"/>
                  <a:gd name="connsiteY149" fmla="*/ 47625 h 268604"/>
                  <a:gd name="connsiteX150" fmla="*/ 336233 w 359871"/>
                  <a:gd name="connsiteY150" fmla="*/ 42863 h 268604"/>
                  <a:gd name="connsiteX151" fmla="*/ 338138 w 359871"/>
                  <a:gd name="connsiteY151" fmla="*/ 50483 h 268604"/>
                  <a:gd name="connsiteX152" fmla="*/ 332423 w 359871"/>
                  <a:gd name="connsiteY152" fmla="*/ 55245 h 268604"/>
                  <a:gd name="connsiteX153" fmla="*/ 332423 w 359871"/>
                  <a:gd name="connsiteY153" fmla="*/ 59055 h 268604"/>
                  <a:gd name="connsiteX154" fmla="*/ 335280 w 359871"/>
                  <a:gd name="connsiteY154" fmla="*/ 64770 h 268604"/>
                  <a:gd name="connsiteX155" fmla="*/ 339090 w 359871"/>
                  <a:gd name="connsiteY155" fmla="*/ 76200 h 268604"/>
                  <a:gd name="connsiteX156" fmla="*/ 342900 w 359871"/>
                  <a:gd name="connsiteY156" fmla="*/ 99060 h 268604"/>
                  <a:gd name="connsiteX157" fmla="*/ 341948 w 359871"/>
                  <a:gd name="connsiteY157" fmla="*/ 110490 h 268604"/>
                  <a:gd name="connsiteX158" fmla="*/ 347663 w 359871"/>
                  <a:gd name="connsiteY158" fmla="*/ 120967 h 268604"/>
                  <a:gd name="connsiteX159" fmla="*/ 353378 w 359871"/>
                  <a:gd name="connsiteY159" fmla="*/ 129540 h 268604"/>
                  <a:gd name="connsiteX160" fmla="*/ 359092 w 359871"/>
                  <a:gd name="connsiteY160" fmla="*/ 145733 h 268604"/>
                  <a:gd name="connsiteX161" fmla="*/ 348615 w 359871"/>
                  <a:gd name="connsiteY161" fmla="*/ 150495 h 268604"/>
                  <a:gd name="connsiteX162" fmla="*/ 349567 w 359871"/>
                  <a:gd name="connsiteY162" fmla="*/ 160020 h 268604"/>
                  <a:gd name="connsiteX163" fmla="*/ 342900 w 359871"/>
                  <a:gd name="connsiteY163" fmla="*/ 169545 h 268604"/>
                  <a:gd name="connsiteX164" fmla="*/ 346710 w 359871"/>
                  <a:gd name="connsiteY164" fmla="*/ 171450 h 268604"/>
                  <a:gd name="connsiteX165" fmla="*/ 348615 w 359871"/>
                  <a:gd name="connsiteY165" fmla="*/ 178117 h 268604"/>
                  <a:gd name="connsiteX166" fmla="*/ 343853 w 359871"/>
                  <a:gd name="connsiteY166" fmla="*/ 187642 h 268604"/>
                  <a:gd name="connsiteX167" fmla="*/ 342900 w 359871"/>
                  <a:gd name="connsiteY167" fmla="*/ 199073 h 268604"/>
                  <a:gd name="connsiteX168" fmla="*/ 333375 w 359871"/>
                  <a:gd name="connsiteY168" fmla="*/ 206692 h 268604"/>
                  <a:gd name="connsiteX169" fmla="*/ 323850 w 359871"/>
                  <a:gd name="connsiteY169" fmla="*/ 207645 h 268604"/>
                  <a:gd name="connsiteX170" fmla="*/ 318135 w 359871"/>
                  <a:gd name="connsiteY170" fmla="*/ 205740 h 268604"/>
                  <a:gd name="connsiteX171" fmla="*/ 292417 w 359871"/>
                  <a:gd name="connsiteY171" fmla="*/ 201930 h 268604"/>
                  <a:gd name="connsiteX172" fmla="*/ 285750 w 359871"/>
                  <a:gd name="connsiteY172" fmla="*/ 203835 h 268604"/>
                  <a:gd name="connsiteX173" fmla="*/ 280035 w 359871"/>
                  <a:gd name="connsiteY173" fmla="*/ 209550 h 268604"/>
                  <a:gd name="connsiteX174" fmla="*/ 280035 w 359871"/>
                  <a:gd name="connsiteY174" fmla="*/ 209550 h 268604"/>
                  <a:gd name="connsiteX175" fmla="*/ 279083 w 359871"/>
                  <a:gd name="connsiteY175" fmla="*/ 210503 h 268604"/>
                  <a:gd name="connsiteX176" fmla="*/ 278130 w 359871"/>
                  <a:gd name="connsiteY176" fmla="*/ 211455 h 268604"/>
                  <a:gd name="connsiteX177" fmla="*/ 278130 w 359871"/>
                  <a:gd name="connsiteY177" fmla="*/ 212408 h 268604"/>
                  <a:gd name="connsiteX178" fmla="*/ 274320 w 359871"/>
                  <a:gd name="connsiteY178" fmla="*/ 218123 h 268604"/>
                  <a:gd name="connsiteX179" fmla="*/ 274320 w 359871"/>
                  <a:gd name="connsiteY179" fmla="*/ 218123 h 268604"/>
                  <a:gd name="connsiteX180" fmla="*/ 274320 w 359871"/>
                  <a:gd name="connsiteY180" fmla="*/ 219075 h 268604"/>
                  <a:gd name="connsiteX181" fmla="*/ 270510 w 359871"/>
                  <a:gd name="connsiteY181" fmla="*/ 228600 h 268604"/>
                  <a:gd name="connsiteX182" fmla="*/ 271463 w 359871"/>
                  <a:gd name="connsiteY182" fmla="*/ 252413 h 268604"/>
                  <a:gd name="connsiteX183" fmla="*/ 299085 w 359871"/>
                  <a:gd name="connsiteY183" fmla="*/ 262890 h 268604"/>
                  <a:gd name="connsiteX184" fmla="*/ 311467 w 359871"/>
                  <a:gd name="connsiteY184" fmla="*/ 268605 h 268604"/>
                  <a:gd name="connsiteX185" fmla="*/ 101918 w 359871"/>
                  <a:gd name="connsiteY185" fmla="*/ 268605 h 268604"/>
                  <a:gd name="connsiteX186" fmla="*/ 135255 w 359871"/>
                  <a:gd name="connsiteY186" fmla="*/ 251460 h 268604"/>
                  <a:gd name="connsiteX187" fmla="*/ 158115 w 359871"/>
                  <a:gd name="connsiteY187" fmla="*/ 237173 h 268604"/>
                  <a:gd name="connsiteX188" fmla="*/ 79057 w 359871"/>
                  <a:gd name="connsiteY188" fmla="*/ 200978 h 268604"/>
                  <a:gd name="connsiteX189" fmla="*/ 76200 w 359871"/>
                  <a:gd name="connsiteY189" fmla="*/ 200025 h 268604"/>
                  <a:gd name="connsiteX190" fmla="*/ 81915 w 359871"/>
                  <a:gd name="connsiteY190" fmla="*/ 196215 h 268604"/>
                  <a:gd name="connsiteX191" fmla="*/ 85725 w 359871"/>
                  <a:gd name="connsiteY191" fmla="*/ 195263 h 268604"/>
                  <a:gd name="connsiteX192" fmla="*/ 89535 w 359871"/>
                  <a:gd name="connsiteY192" fmla="*/ 197167 h 268604"/>
                  <a:gd name="connsiteX193" fmla="*/ 79057 w 359871"/>
                  <a:gd name="connsiteY193" fmla="*/ 200978 h 268604"/>
                  <a:gd name="connsiteX194" fmla="*/ 952 w 359871"/>
                  <a:gd name="connsiteY194" fmla="*/ 189548 h 268604"/>
                  <a:gd name="connsiteX195" fmla="*/ 0 w 359871"/>
                  <a:gd name="connsiteY195" fmla="*/ 188595 h 268604"/>
                  <a:gd name="connsiteX196" fmla="*/ 16193 w 359871"/>
                  <a:gd name="connsiteY196" fmla="*/ 162878 h 268604"/>
                  <a:gd name="connsiteX197" fmla="*/ 33338 w 359871"/>
                  <a:gd name="connsiteY197" fmla="*/ 148590 h 268604"/>
                  <a:gd name="connsiteX198" fmla="*/ 61913 w 359871"/>
                  <a:gd name="connsiteY198" fmla="*/ 125730 h 268604"/>
                  <a:gd name="connsiteX199" fmla="*/ 75248 w 359871"/>
                  <a:gd name="connsiteY199" fmla="*/ 126683 h 268604"/>
                  <a:gd name="connsiteX200" fmla="*/ 69532 w 359871"/>
                  <a:gd name="connsiteY200" fmla="*/ 129540 h 268604"/>
                  <a:gd name="connsiteX201" fmla="*/ 67627 w 359871"/>
                  <a:gd name="connsiteY201" fmla="*/ 128588 h 268604"/>
                  <a:gd name="connsiteX202" fmla="*/ 68580 w 359871"/>
                  <a:gd name="connsiteY202" fmla="*/ 126683 h 268604"/>
                  <a:gd name="connsiteX203" fmla="*/ 52388 w 359871"/>
                  <a:gd name="connsiteY203" fmla="*/ 141923 h 268604"/>
                  <a:gd name="connsiteX204" fmla="*/ 40957 w 359871"/>
                  <a:gd name="connsiteY204" fmla="*/ 155258 h 268604"/>
                  <a:gd name="connsiteX205" fmla="*/ 40005 w 359871"/>
                  <a:gd name="connsiteY205" fmla="*/ 154305 h 268604"/>
                  <a:gd name="connsiteX206" fmla="*/ 952 w 359871"/>
                  <a:gd name="connsiteY206" fmla="*/ 189548 h 268604"/>
                  <a:gd name="connsiteX207" fmla="*/ 43815 w 359871"/>
                  <a:gd name="connsiteY207" fmla="*/ 156210 h 268604"/>
                  <a:gd name="connsiteX208" fmla="*/ 41910 w 359871"/>
                  <a:gd name="connsiteY208" fmla="*/ 158115 h 268604"/>
                  <a:gd name="connsiteX209" fmla="*/ 40005 w 359871"/>
                  <a:gd name="connsiteY209" fmla="*/ 160020 h 268604"/>
                  <a:gd name="connsiteX210" fmla="*/ 39052 w 359871"/>
                  <a:gd name="connsiteY210" fmla="*/ 159067 h 268604"/>
                  <a:gd name="connsiteX211" fmla="*/ 42863 w 359871"/>
                  <a:gd name="connsiteY211" fmla="*/ 154305 h 268604"/>
                  <a:gd name="connsiteX212" fmla="*/ 43815 w 359871"/>
                  <a:gd name="connsiteY212" fmla="*/ 156210 h 268604"/>
                  <a:gd name="connsiteX213" fmla="*/ 67627 w 359871"/>
                  <a:gd name="connsiteY213" fmla="*/ 232410 h 268604"/>
                  <a:gd name="connsiteX214" fmla="*/ 66675 w 359871"/>
                  <a:gd name="connsiteY214" fmla="*/ 234315 h 268604"/>
                  <a:gd name="connsiteX215" fmla="*/ 67627 w 359871"/>
                  <a:gd name="connsiteY215" fmla="*/ 235267 h 268604"/>
                  <a:gd name="connsiteX216" fmla="*/ 63818 w 359871"/>
                  <a:gd name="connsiteY216" fmla="*/ 238125 h 268604"/>
                  <a:gd name="connsiteX217" fmla="*/ 62865 w 359871"/>
                  <a:gd name="connsiteY217" fmla="*/ 238125 h 268604"/>
                  <a:gd name="connsiteX218" fmla="*/ 60960 w 359871"/>
                  <a:gd name="connsiteY218" fmla="*/ 240030 h 268604"/>
                  <a:gd name="connsiteX219" fmla="*/ 58102 w 359871"/>
                  <a:gd name="connsiteY219" fmla="*/ 239078 h 268604"/>
                  <a:gd name="connsiteX220" fmla="*/ 61913 w 359871"/>
                  <a:gd name="connsiteY220" fmla="*/ 235267 h 268604"/>
                  <a:gd name="connsiteX221" fmla="*/ 63818 w 359871"/>
                  <a:gd name="connsiteY221" fmla="*/ 233363 h 268604"/>
                  <a:gd name="connsiteX222" fmla="*/ 64770 w 359871"/>
                  <a:gd name="connsiteY222" fmla="*/ 232410 h 268604"/>
                  <a:gd name="connsiteX223" fmla="*/ 67627 w 359871"/>
                  <a:gd name="connsiteY223" fmla="*/ 232410 h 268604"/>
                  <a:gd name="connsiteX224" fmla="*/ 58102 w 359871"/>
                  <a:gd name="connsiteY224" fmla="*/ 228600 h 268604"/>
                  <a:gd name="connsiteX225" fmla="*/ 58102 w 359871"/>
                  <a:gd name="connsiteY225" fmla="*/ 228600 h 268604"/>
                  <a:gd name="connsiteX226" fmla="*/ 52388 w 359871"/>
                  <a:gd name="connsiteY226" fmla="*/ 232410 h 268604"/>
                  <a:gd name="connsiteX227" fmla="*/ 45720 w 359871"/>
                  <a:gd name="connsiteY227" fmla="*/ 235267 h 268604"/>
                  <a:gd name="connsiteX228" fmla="*/ 45720 w 359871"/>
                  <a:gd name="connsiteY228" fmla="*/ 235267 h 268604"/>
                  <a:gd name="connsiteX229" fmla="*/ 44768 w 359871"/>
                  <a:gd name="connsiteY229" fmla="*/ 235267 h 268604"/>
                  <a:gd name="connsiteX230" fmla="*/ 40005 w 359871"/>
                  <a:gd name="connsiteY230" fmla="*/ 239078 h 268604"/>
                  <a:gd name="connsiteX231" fmla="*/ 39052 w 359871"/>
                  <a:gd name="connsiteY231" fmla="*/ 240030 h 268604"/>
                  <a:gd name="connsiteX232" fmla="*/ 39052 w 359871"/>
                  <a:gd name="connsiteY232" fmla="*/ 240030 h 268604"/>
                  <a:gd name="connsiteX233" fmla="*/ 39052 w 359871"/>
                  <a:gd name="connsiteY233" fmla="*/ 240030 h 268604"/>
                  <a:gd name="connsiteX234" fmla="*/ 38100 w 359871"/>
                  <a:gd name="connsiteY234" fmla="*/ 240983 h 268604"/>
                  <a:gd name="connsiteX235" fmla="*/ 38100 w 359871"/>
                  <a:gd name="connsiteY235" fmla="*/ 240983 h 268604"/>
                  <a:gd name="connsiteX236" fmla="*/ 38100 w 359871"/>
                  <a:gd name="connsiteY236" fmla="*/ 240983 h 268604"/>
                  <a:gd name="connsiteX237" fmla="*/ 37148 w 359871"/>
                  <a:gd name="connsiteY237" fmla="*/ 241935 h 268604"/>
                  <a:gd name="connsiteX238" fmla="*/ 36195 w 359871"/>
                  <a:gd name="connsiteY238" fmla="*/ 242888 h 268604"/>
                  <a:gd name="connsiteX239" fmla="*/ 35243 w 359871"/>
                  <a:gd name="connsiteY239" fmla="*/ 242888 h 268604"/>
                  <a:gd name="connsiteX240" fmla="*/ 35243 w 359871"/>
                  <a:gd name="connsiteY240" fmla="*/ 242888 h 268604"/>
                  <a:gd name="connsiteX241" fmla="*/ 34290 w 359871"/>
                  <a:gd name="connsiteY241" fmla="*/ 242888 h 268604"/>
                  <a:gd name="connsiteX242" fmla="*/ 33338 w 359871"/>
                  <a:gd name="connsiteY242" fmla="*/ 242888 h 268604"/>
                  <a:gd name="connsiteX243" fmla="*/ 33338 w 359871"/>
                  <a:gd name="connsiteY243" fmla="*/ 242888 h 268604"/>
                  <a:gd name="connsiteX244" fmla="*/ 33338 w 359871"/>
                  <a:gd name="connsiteY244" fmla="*/ 242888 h 268604"/>
                  <a:gd name="connsiteX245" fmla="*/ 31432 w 359871"/>
                  <a:gd name="connsiteY245" fmla="*/ 244792 h 268604"/>
                  <a:gd name="connsiteX246" fmla="*/ 28575 w 359871"/>
                  <a:gd name="connsiteY246" fmla="*/ 247650 h 268604"/>
                  <a:gd name="connsiteX247" fmla="*/ 28575 w 359871"/>
                  <a:gd name="connsiteY247" fmla="*/ 247650 h 268604"/>
                  <a:gd name="connsiteX248" fmla="*/ 28575 w 359871"/>
                  <a:gd name="connsiteY248" fmla="*/ 247650 h 268604"/>
                  <a:gd name="connsiteX249" fmla="*/ 28575 w 359871"/>
                  <a:gd name="connsiteY249" fmla="*/ 247650 h 268604"/>
                  <a:gd name="connsiteX250" fmla="*/ 28575 w 359871"/>
                  <a:gd name="connsiteY250" fmla="*/ 247650 h 268604"/>
                  <a:gd name="connsiteX251" fmla="*/ 28575 w 359871"/>
                  <a:gd name="connsiteY251" fmla="*/ 247650 h 268604"/>
                  <a:gd name="connsiteX252" fmla="*/ 28575 w 359871"/>
                  <a:gd name="connsiteY252" fmla="*/ 248603 h 268604"/>
                  <a:gd name="connsiteX253" fmla="*/ 28575 w 359871"/>
                  <a:gd name="connsiteY253" fmla="*/ 248603 h 268604"/>
                  <a:gd name="connsiteX254" fmla="*/ 28575 w 359871"/>
                  <a:gd name="connsiteY254" fmla="*/ 248603 h 268604"/>
                  <a:gd name="connsiteX255" fmla="*/ 28575 w 359871"/>
                  <a:gd name="connsiteY255" fmla="*/ 248603 h 268604"/>
                  <a:gd name="connsiteX256" fmla="*/ 28575 w 359871"/>
                  <a:gd name="connsiteY256" fmla="*/ 248603 h 268604"/>
                  <a:gd name="connsiteX257" fmla="*/ 28575 w 359871"/>
                  <a:gd name="connsiteY257" fmla="*/ 247650 h 268604"/>
                  <a:gd name="connsiteX258" fmla="*/ 28575 w 359871"/>
                  <a:gd name="connsiteY258" fmla="*/ 247650 h 268604"/>
                  <a:gd name="connsiteX259" fmla="*/ 28575 w 359871"/>
                  <a:gd name="connsiteY259" fmla="*/ 247650 h 268604"/>
                  <a:gd name="connsiteX260" fmla="*/ 30480 w 359871"/>
                  <a:gd name="connsiteY260" fmla="*/ 245745 h 268604"/>
                  <a:gd name="connsiteX261" fmla="*/ 30480 w 359871"/>
                  <a:gd name="connsiteY261" fmla="*/ 245745 h 268604"/>
                  <a:gd name="connsiteX262" fmla="*/ 31432 w 359871"/>
                  <a:gd name="connsiteY262" fmla="*/ 244792 h 268604"/>
                  <a:gd name="connsiteX263" fmla="*/ 32385 w 359871"/>
                  <a:gd name="connsiteY263" fmla="*/ 243840 h 268604"/>
                  <a:gd name="connsiteX264" fmla="*/ 32385 w 359871"/>
                  <a:gd name="connsiteY264" fmla="*/ 243840 h 268604"/>
                  <a:gd name="connsiteX265" fmla="*/ 34290 w 359871"/>
                  <a:gd name="connsiteY265" fmla="*/ 241935 h 268604"/>
                  <a:gd name="connsiteX266" fmla="*/ 34290 w 359871"/>
                  <a:gd name="connsiteY266" fmla="*/ 241935 h 268604"/>
                  <a:gd name="connsiteX267" fmla="*/ 34290 w 359871"/>
                  <a:gd name="connsiteY267" fmla="*/ 241935 h 268604"/>
                  <a:gd name="connsiteX268" fmla="*/ 35243 w 359871"/>
                  <a:gd name="connsiteY268" fmla="*/ 240983 h 268604"/>
                  <a:gd name="connsiteX269" fmla="*/ 36195 w 359871"/>
                  <a:gd name="connsiteY269" fmla="*/ 240030 h 268604"/>
                  <a:gd name="connsiteX270" fmla="*/ 36195 w 359871"/>
                  <a:gd name="connsiteY270" fmla="*/ 240030 h 268604"/>
                  <a:gd name="connsiteX271" fmla="*/ 36195 w 359871"/>
                  <a:gd name="connsiteY271" fmla="*/ 240030 h 268604"/>
                  <a:gd name="connsiteX272" fmla="*/ 36195 w 359871"/>
                  <a:gd name="connsiteY272" fmla="*/ 240030 h 268604"/>
                  <a:gd name="connsiteX273" fmla="*/ 37148 w 359871"/>
                  <a:gd name="connsiteY273" fmla="*/ 239078 h 268604"/>
                  <a:gd name="connsiteX274" fmla="*/ 37148 w 359871"/>
                  <a:gd name="connsiteY274" fmla="*/ 239078 h 268604"/>
                  <a:gd name="connsiteX275" fmla="*/ 37148 w 359871"/>
                  <a:gd name="connsiteY275" fmla="*/ 239078 h 268604"/>
                  <a:gd name="connsiteX276" fmla="*/ 37148 w 359871"/>
                  <a:gd name="connsiteY276" fmla="*/ 238125 h 268604"/>
                  <a:gd name="connsiteX277" fmla="*/ 37148 w 359871"/>
                  <a:gd name="connsiteY277" fmla="*/ 238125 h 268604"/>
                  <a:gd name="connsiteX278" fmla="*/ 37148 w 359871"/>
                  <a:gd name="connsiteY278" fmla="*/ 237173 h 268604"/>
                  <a:gd name="connsiteX279" fmla="*/ 37148 w 359871"/>
                  <a:gd name="connsiteY279" fmla="*/ 237173 h 268604"/>
                  <a:gd name="connsiteX280" fmla="*/ 39052 w 359871"/>
                  <a:gd name="connsiteY280" fmla="*/ 234315 h 268604"/>
                  <a:gd name="connsiteX281" fmla="*/ 39052 w 359871"/>
                  <a:gd name="connsiteY281" fmla="*/ 234315 h 268604"/>
                  <a:gd name="connsiteX282" fmla="*/ 37148 w 359871"/>
                  <a:gd name="connsiteY282" fmla="*/ 236220 h 268604"/>
                  <a:gd name="connsiteX283" fmla="*/ 36195 w 359871"/>
                  <a:gd name="connsiteY283" fmla="*/ 235267 h 268604"/>
                  <a:gd name="connsiteX284" fmla="*/ 37148 w 359871"/>
                  <a:gd name="connsiteY284" fmla="*/ 234315 h 268604"/>
                  <a:gd name="connsiteX285" fmla="*/ 37148 w 359871"/>
                  <a:gd name="connsiteY285" fmla="*/ 234315 h 268604"/>
                  <a:gd name="connsiteX286" fmla="*/ 40005 w 359871"/>
                  <a:gd name="connsiteY286" fmla="*/ 231458 h 268604"/>
                  <a:gd name="connsiteX287" fmla="*/ 41910 w 359871"/>
                  <a:gd name="connsiteY287" fmla="*/ 230505 h 268604"/>
                  <a:gd name="connsiteX288" fmla="*/ 41910 w 359871"/>
                  <a:gd name="connsiteY288" fmla="*/ 230505 h 268604"/>
                  <a:gd name="connsiteX289" fmla="*/ 42863 w 359871"/>
                  <a:gd name="connsiteY289" fmla="*/ 229553 h 268604"/>
                  <a:gd name="connsiteX290" fmla="*/ 42863 w 359871"/>
                  <a:gd name="connsiteY290" fmla="*/ 229553 h 268604"/>
                  <a:gd name="connsiteX291" fmla="*/ 62865 w 359871"/>
                  <a:gd name="connsiteY291" fmla="*/ 221933 h 268604"/>
                  <a:gd name="connsiteX292" fmla="*/ 71438 w 359871"/>
                  <a:gd name="connsiteY292" fmla="*/ 221933 h 268604"/>
                  <a:gd name="connsiteX293" fmla="*/ 76200 w 359871"/>
                  <a:gd name="connsiteY293" fmla="*/ 222885 h 268604"/>
                  <a:gd name="connsiteX294" fmla="*/ 58102 w 359871"/>
                  <a:gd name="connsiteY294" fmla="*/ 228600 h 268604"/>
                  <a:gd name="connsiteX295" fmla="*/ 68580 w 359871"/>
                  <a:gd name="connsiteY295" fmla="*/ 193358 h 268604"/>
                  <a:gd name="connsiteX296" fmla="*/ 70485 w 359871"/>
                  <a:gd name="connsiteY296" fmla="*/ 192405 h 268604"/>
                  <a:gd name="connsiteX297" fmla="*/ 66675 w 359871"/>
                  <a:gd name="connsiteY297" fmla="*/ 192405 h 268604"/>
                  <a:gd name="connsiteX298" fmla="*/ 65723 w 359871"/>
                  <a:gd name="connsiteY298" fmla="*/ 191453 h 268604"/>
                  <a:gd name="connsiteX299" fmla="*/ 57150 w 359871"/>
                  <a:gd name="connsiteY299" fmla="*/ 193358 h 268604"/>
                  <a:gd name="connsiteX300" fmla="*/ 46673 w 359871"/>
                  <a:gd name="connsiteY300" fmla="*/ 198120 h 268604"/>
                  <a:gd name="connsiteX301" fmla="*/ 30480 w 359871"/>
                  <a:gd name="connsiteY301" fmla="*/ 206692 h 268604"/>
                  <a:gd name="connsiteX302" fmla="*/ 29527 w 359871"/>
                  <a:gd name="connsiteY302" fmla="*/ 205740 h 268604"/>
                  <a:gd name="connsiteX303" fmla="*/ 33338 w 359871"/>
                  <a:gd name="connsiteY303" fmla="*/ 201930 h 268604"/>
                  <a:gd name="connsiteX304" fmla="*/ 32385 w 359871"/>
                  <a:gd name="connsiteY304" fmla="*/ 200978 h 268604"/>
                  <a:gd name="connsiteX305" fmla="*/ 47625 w 359871"/>
                  <a:gd name="connsiteY305" fmla="*/ 187642 h 268604"/>
                  <a:gd name="connsiteX306" fmla="*/ 47625 w 359871"/>
                  <a:gd name="connsiteY306" fmla="*/ 185738 h 268604"/>
                  <a:gd name="connsiteX307" fmla="*/ 52388 w 359871"/>
                  <a:gd name="connsiteY307" fmla="*/ 180023 h 268604"/>
                  <a:gd name="connsiteX308" fmla="*/ 57150 w 359871"/>
                  <a:gd name="connsiteY308" fmla="*/ 175260 h 268604"/>
                  <a:gd name="connsiteX309" fmla="*/ 55245 w 359871"/>
                  <a:gd name="connsiteY309" fmla="*/ 173355 h 268604"/>
                  <a:gd name="connsiteX310" fmla="*/ 49530 w 359871"/>
                  <a:gd name="connsiteY310" fmla="*/ 172403 h 268604"/>
                  <a:gd name="connsiteX311" fmla="*/ 52388 w 359871"/>
                  <a:gd name="connsiteY311" fmla="*/ 170498 h 268604"/>
                  <a:gd name="connsiteX312" fmla="*/ 51435 w 359871"/>
                  <a:gd name="connsiteY312" fmla="*/ 169545 h 268604"/>
                  <a:gd name="connsiteX313" fmla="*/ 54293 w 359871"/>
                  <a:gd name="connsiteY313" fmla="*/ 166688 h 268604"/>
                  <a:gd name="connsiteX314" fmla="*/ 60007 w 359871"/>
                  <a:gd name="connsiteY314" fmla="*/ 164783 h 268604"/>
                  <a:gd name="connsiteX315" fmla="*/ 48577 w 359871"/>
                  <a:gd name="connsiteY315" fmla="*/ 163830 h 268604"/>
                  <a:gd name="connsiteX316" fmla="*/ 60960 w 359871"/>
                  <a:gd name="connsiteY316" fmla="*/ 148590 h 268604"/>
                  <a:gd name="connsiteX317" fmla="*/ 62865 w 359871"/>
                  <a:gd name="connsiteY317" fmla="*/ 149542 h 268604"/>
                  <a:gd name="connsiteX318" fmla="*/ 59055 w 359871"/>
                  <a:gd name="connsiteY318" fmla="*/ 154305 h 268604"/>
                  <a:gd name="connsiteX319" fmla="*/ 71438 w 359871"/>
                  <a:gd name="connsiteY319" fmla="*/ 157163 h 268604"/>
                  <a:gd name="connsiteX320" fmla="*/ 69532 w 359871"/>
                  <a:gd name="connsiteY320" fmla="*/ 158115 h 268604"/>
                  <a:gd name="connsiteX321" fmla="*/ 78105 w 359871"/>
                  <a:gd name="connsiteY321" fmla="*/ 160973 h 268604"/>
                  <a:gd name="connsiteX322" fmla="*/ 73343 w 359871"/>
                  <a:gd name="connsiteY322" fmla="*/ 160973 h 268604"/>
                  <a:gd name="connsiteX323" fmla="*/ 119063 w 359871"/>
                  <a:gd name="connsiteY323" fmla="*/ 179070 h 268604"/>
                  <a:gd name="connsiteX324" fmla="*/ 83820 w 359871"/>
                  <a:gd name="connsiteY324" fmla="*/ 189548 h 268604"/>
                  <a:gd name="connsiteX325" fmla="*/ 80010 w 359871"/>
                  <a:gd name="connsiteY325" fmla="*/ 188595 h 268604"/>
                  <a:gd name="connsiteX326" fmla="*/ 79057 w 359871"/>
                  <a:gd name="connsiteY326" fmla="*/ 190500 h 268604"/>
                  <a:gd name="connsiteX327" fmla="*/ 74295 w 359871"/>
                  <a:gd name="connsiteY327" fmla="*/ 191453 h 268604"/>
                  <a:gd name="connsiteX328" fmla="*/ 68580 w 359871"/>
                  <a:gd name="connsiteY328" fmla="*/ 193358 h 26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359871" h="268604">
                    <a:moveTo>
                      <a:pt x="158115" y="237173"/>
                    </a:moveTo>
                    <a:cubicBezTo>
                      <a:pt x="160973" y="234315"/>
                      <a:pt x="163830" y="231458"/>
                      <a:pt x="166688" y="227648"/>
                    </a:cubicBezTo>
                    <a:lnTo>
                      <a:pt x="166688" y="227648"/>
                    </a:lnTo>
                    <a:cubicBezTo>
                      <a:pt x="172402" y="221933"/>
                      <a:pt x="177165" y="215265"/>
                      <a:pt x="183833" y="210503"/>
                    </a:cubicBezTo>
                    <a:cubicBezTo>
                      <a:pt x="185738" y="208598"/>
                      <a:pt x="187643" y="207645"/>
                      <a:pt x="189548" y="205740"/>
                    </a:cubicBezTo>
                    <a:cubicBezTo>
                      <a:pt x="190500" y="204788"/>
                      <a:pt x="190500" y="203835"/>
                      <a:pt x="190500" y="203835"/>
                    </a:cubicBezTo>
                    <a:cubicBezTo>
                      <a:pt x="187643" y="204788"/>
                      <a:pt x="186690" y="206692"/>
                      <a:pt x="183833" y="207645"/>
                    </a:cubicBezTo>
                    <a:cubicBezTo>
                      <a:pt x="182880" y="207645"/>
                      <a:pt x="182880" y="206692"/>
                      <a:pt x="182880" y="206692"/>
                    </a:cubicBezTo>
                    <a:cubicBezTo>
                      <a:pt x="184785" y="205740"/>
                      <a:pt x="186690" y="203835"/>
                      <a:pt x="188595" y="202883"/>
                    </a:cubicBezTo>
                    <a:cubicBezTo>
                      <a:pt x="188595" y="202883"/>
                      <a:pt x="188595" y="202883"/>
                      <a:pt x="188595" y="202883"/>
                    </a:cubicBezTo>
                    <a:cubicBezTo>
                      <a:pt x="187643" y="202883"/>
                      <a:pt x="187643" y="201930"/>
                      <a:pt x="187643" y="201930"/>
                    </a:cubicBezTo>
                    <a:cubicBezTo>
                      <a:pt x="180975" y="201930"/>
                      <a:pt x="176213" y="205740"/>
                      <a:pt x="171450" y="210503"/>
                    </a:cubicBezTo>
                    <a:cubicBezTo>
                      <a:pt x="170498" y="211455"/>
                      <a:pt x="169545" y="209550"/>
                      <a:pt x="168593" y="209550"/>
                    </a:cubicBezTo>
                    <a:cubicBezTo>
                      <a:pt x="160973" y="212408"/>
                      <a:pt x="155258" y="219075"/>
                      <a:pt x="147638" y="221933"/>
                    </a:cubicBezTo>
                    <a:lnTo>
                      <a:pt x="147638" y="220980"/>
                    </a:lnTo>
                    <a:cubicBezTo>
                      <a:pt x="144780" y="221933"/>
                      <a:pt x="141923" y="223838"/>
                      <a:pt x="138113" y="224790"/>
                    </a:cubicBezTo>
                    <a:cubicBezTo>
                      <a:pt x="133350" y="225742"/>
                      <a:pt x="129540" y="225742"/>
                      <a:pt x="125730" y="225742"/>
                    </a:cubicBezTo>
                    <a:cubicBezTo>
                      <a:pt x="120015" y="226695"/>
                      <a:pt x="113348" y="227648"/>
                      <a:pt x="107632" y="228600"/>
                    </a:cubicBezTo>
                    <a:cubicBezTo>
                      <a:pt x="107632" y="228600"/>
                      <a:pt x="107632" y="228600"/>
                      <a:pt x="106680" y="228600"/>
                    </a:cubicBezTo>
                    <a:cubicBezTo>
                      <a:pt x="103823" y="229553"/>
                      <a:pt x="100013" y="230505"/>
                      <a:pt x="97155" y="232410"/>
                    </a:cubicBezTo>
                    <a:cubicBezTo>
                      <a:pt x="97155" y="232410"/>
                      <a:pt x="97155" y="232410"/>
                      <a:pt x="97155" y="232410"/>
                    </a:cubicBezTo>
                    <a:cubicBezTo>
                      <a:pt x="97155" y="232410"/>
                      <a:pt x="96202" y="233363"/>
                      <a:pt x="96202" y="233363"/>
                    </a:cubicBezTo>
                    <a:cubicBezTo>
                      <a:pt x="95250" y="234315"/>
                      <a:pt x="94298" y="235267"/>
                      <a:pt x="92393" y="236220"/>
                    </a:cubicBezTo>
                    <a:cubicBezTo>
                      <a:pt x="89535" y="238125"/>
                      <a:pt x="86677" y="240983"/>
                      <a:pt x="83820" y="242888"/>
                    </a:cubicBezTo>
                    <a:cubicBezTo>
                      <a:pt x="83820" y="242888"/>
                      <a:pt x="82868" y="242888"/>
                      <a:pt x="82868" y="242888"/>
                    </a:cubicBezTo>
                    <a:cubicBezTo>
                      <a:pt x="80010" y="245745"/>
                      <a:pt x="77152" y="248603"/>
                      <a:pt x="74295" y="250508"/>
                    </a:cubicBezTo>
                    <a:cubicBezTo>
                      <a:pt x="74295" y="250508"/>
                      <a:pt x="73343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49555"/>
                    </a:cubicBezTo>
                    <a:cubicBezTo>
                      <a:pt x="72390" y="248603"/>
                      <a:pt x="73343" y="247650"/>
                      <a:pt x="73343" y="247650"/>
                    </a:cubicBezTo>
                    <a:cubicBezTo>
                      <a:pt x="74295" y="246698"/>
                      <a:pt x="74295" y="245745"/>
                      <a:pt x="75248" y="245745"/>
                    </a:cubicBezTo>
                    <a:cubicBezTo>
                      <a:pt x="76200" y="244792"/>
                      <a:pt x="76200" y="243840"/>
                      <a:pt x="77152" y="242888"/>
                    </a:cubicBezTo>
                    <a:cubicBezTo>
                      <a:pt x="77152" y="242888"/>
                      <a:pt x="77152" y="241935"/>
                      <a:pt x="77152" y="241935"/>
                    </a:cubicBezTo>
                    <a:cubicBezTo>
                      <a:pt x="77152" y="241935"/>
                      <a:pt x="77152" y="241935"/>
                      <a:pt x="76200" y="241935"/>
                    </a:cubicBezTo>
                    <a:cubicBezTo>
                      <a:pt x="79057" y="239078"/>
                      <a:pt x="81915" y="237173"/>
                      <a:pt x="84773" y="235267"/>
                    </a:cubicBezTo>
                    <a:lnTo>
                      <a:pt x="84773" y="235267"/>
                    </a:lnTo>
                    <a:cubicBezTo>
                      <a:pt x="84773" y="235267"/>
                      <a:pt x="83820" y="235267"/>
                      <a:pt x="83820" y="234315"/>
                    </a:cubicBezTo>
                    <a:cubicBezTo>
                      <a:pt x="83820" y="234315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5725" y="233363"/>
                      <a:pt x="84773" y="234315"/>
                      <a:pt x="84773" y="234315"/>
                    </a:cubicBezTo>
                    <a:cubicBezTo>
                      <a:pt x="83820" y="235267"/>
                      <a:pt x="82868" y="238125"/>
                      <a:pt x="80963" y="237173"/>
                    </a:cubicBezTo>
                    <a:cubicBezTo>
                      <a:pt x="80963" y="237173"/>
                      <a:pt x="80010" y="237173"/>
                      <a:pt x="80010" y="237173"/>
                    </a:cubicBezTo>
                    <a:cubicBezTo>
                      <a:pt x="80010" y="237173"/>
                      <a:pt x="80010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6220"/>
                    </a:cubicBezTo>
                    <a:cubicBezTo>
                      <a:pt x="79057" y="236220"/>
                      <a:pt x="79057" y="236220"/>
                      <a:pt x="79057" y="236220"/>
                    </a:cubicBezTo>
                    <a:cubicBezTo>
                      <a:pt x="79057" y="236220"/>
                      <a:pt x="79057" y="235267"/>
                      <a:pt x="80010" y="235267"/>
                    </a:cubicBezTo>
                    <a:cubicBezTo>
                      <a:pt x="80010" y="235267"/>
                      <a:pt x="80010" y="235267"/>
                      <a:pt x="80010" y="234315"/>
                    </a:cubicBezTo>
                    <a:cubicBezTo>
                      <a:pt x="80010" y="234315"/>
                      <a:pt x="80010" y="233363"/>
                      <a:pt x="80963" y="233363"/>
                    </a:cubicBezTo>
                    <a:cubicBezTo>
                      <a:pt x="80963" y="233363"/>
                      <a:pt x="80963" y="232410"/>
                      <a:pt x="80963" y="232410"/>
                    </a:cubicBezTo>
                    <a:cubicBezTo>
                      <a:pt x="81915" y="231458"/>
                      <a:pt x="82868" y="230505"/>
                      <a:pt x="84773" y="229553"/>
                    </a:cubicBezTo>
                    <a:lnTo>
                      <a:pt x="84773" y="229553"/>
                    </a:lnTo>
                    <a:cubicBezTo>
                      <a:pt x="86677" y="228600"/>
                      <a:pt x="88582" y="227648"/>
                      <a:pt x="90488" y="226695"/>
                    </a:cubicBezTo>
                    <a:cubicBezTo>
                      <a:pt x="90488" y="226695"/>
                      <a:pt x="91440" y="225742"/>
                      <a:pt x="91440" y="225742"/>
                    </a:cubicBezTo>
                    <a:cubicBezTo>
                      <a:pt x="88582" y="226695"/>
                      <a:pt x="85725" y="227648"/>
                      <a:pt x="82868" y="229553"/>
                    </a:cubicBezTo>
                    <a:cubicBezTo>
                      <a:pt x="82868" y="229553"/>
                      <a:pt x="81915" y="229553"/>
                      <a:pt x="81915" y="229553"/>
                    </a:cubicBezTo>
                    <a:cubicBezTo>
                      <a:pt x="81915" y="229553"/>
                      <a:pt x="80963" y="229553"/>
                      <a:pt x="80963" y="229553"/>
                    </a:cubicBezTo>
                    <a:cubicBezTo>
                      <a:pt x="80963" y="229553"/>
                      <a:pt x="80963" y="229553"/>
                      <a:pt x="80963" y="229553"/>
                    </a:cubicBezTo>
                    <a:cubicBezTo>
                      <a:pt x="81915" y="228600"/>
                      <a:pt x="82868" y="227648"/>
                      <a:pt x="83820" y="226695"/>
                    </a:cubicBezTo>
                    <a:cubicBezTo>
                      <a:pt x="84773" y="226695"/>
                      <a:pt x="84773" y="226695"/>
                      <a:pt x="84773" y="227648"/>
                    </a:cubicBezTo>
                    <a:cubicBezTo>
                      <a:pt x="100965" y="215265"/>
                      <a:pt x="123825" y="218123"/>
                      <a:pt x="142875" y="211455"/>
                    </a:cubicBezTo>
                    <a:cubicBezTo>
                      <a:pt x="144780" y="210503"/>
                      <a:pt x="145733" y="209550"/>
                      <a:pt x="147638" y="208598"/>
                    </a:cubicBezTo>
                    <a:cubicBezTo>
                      <a:pt x="150495" y="207645"/>
                      <a:pt x="152400" y="204788"/>
                      <a:pt x="155258" y="203835"/>
                    </a:cubicBezTo>
                    <a:cubicBezTo>
                      <a:pt x="159068" y="200978"/>
                      <a:pt x="161925" y="197167"/>
                      <a:pt x="163830" y="192405"/>
                    </a:cubicBezTo>
                    <a:cubicBezTo>
                      <a:pt x="163830" y="191453"/>
                      <a:pt x="162877" y="191453"/>
                      <a:pt x="162877" y="191453"/>
                    </a:cubicBezTo>
                    <a:cubicBezTo>
                      <a:pt x="156210" y="199073"/>
                      <a:pt x="148590" y="203835"/>
                      <a:pt x="140018" y="208598"/>
                    </a:cubicBezTo>
                    <a:cubicBezTo>
                      <a:pt x="129540" y="214313"/>
                      <a:pt x="117157" y="213360"/>
                      <a:pt x="106680" y="214313"/>
                    </a:cubicBezTo>
                    <a:cubicBezTo>
                      <a:pt x="107632" y="213360"/>
                      <a:pt x="108585" y="213360"/>
                      <a:pt x="109538" y="213360"/>
                    </a:cubicBezTo>
                    <a:cubicBezTo>
                      <a:pt x="109538" y="211455"/>
                      <a:pt x="110490" y="211455"/>
                      <a:pt x="111443" y="210503"/>
                    </a:cubicBezTo>
                    <a:lnTo>
                      <a:pt x="113348" y="210503"/>
                    </a:lnTo>
                    <a:cubicBezTo>
                      <a:pt x="114300" y="210503"/>
                      <a:pt x="114300" y="209550"/>
                      <a:pt x="114300" y="209550"/>
                    </a:cubicBezTo>
                    <a:cubicBezTo>
                      <a:pt x="115252" y="209550"/>
                      <a:pt x="117157" y="208598"/>
                      <a:pt x="116205" y="208598"/>
                    </a:cubicBezTo>
                    <a:cubicBezTo>
                      <a:pt x="114300" y="206692"/>
                      <a:pt x="111443" y="210503"/>
                      <a:pt x="108585" y="208598"/>
                    </a:cubicBezTo>
                    <a:cubicBezTo>
                      <a:pt x="109538" y="207645"/>
                      <a:pt x="109538" y="205740"/>
                      <a:pt x="110490" y="205740"/>
                    </a:cubicBezTo>
                    <a:lnTo>
                      <a:pt x="112395" y="205740"/>
                    </a:lnTo>
                    <a:cubicBezTo>
                      <a:pt x="112395" y="204788"/>
                      <a:pt x="113348" y="203835"/>
                      <a:pt x="113348" y="203835"/>
                    </a:cubicBezTo>
                    <a:cubicBezTo>
                      <a:pt x="120968" y="199073"/>
                      <a:pt x="128588" y="195263"/>
                      <a:pt x="135255" y="191453"/>
                    </a:cubicBezTo>
                    <a:cubicBezTo>
                      <a:pt x="133350" y="191453"/>
                      <a:pt x="132398" y="193358"/>
                      <a:pt x="131445" y="192405"/>
                    </a:cubicBezTo>
                    <a:cubicBezTo>
                      <a:pt x="132398" y="192405"/>
                      <a:pt x="131445" y="190500"/>
                      <a:pt x="132398" y="190500"/>
                    </a:cubicBezTo>
                    <a:cubicBezTo>
                      <a:pt x="138113" y="188595"/>
                      <a:pt x="142875" y="185738"/>
                      <a:pt x="148590" y="183833"/>
                    </a:cubicBezTo>
                    <a:cubicBezTo>
                      <a:pt x="146685" y="183833"/>
                      <a:pt x="144780" y="185738"/>
                      <a:pt x="142875" y="183833"/>
                    </a:cubicBezTo>
                    <a:cubicBezTo>
                      <a:pt x="143827" y="182880"/>
                      <a:pt x="144780" y="181928"/>
                      <a:pt x="145733" y="181928"/>
                    </a:cubicBezTo>
                    <a:lnTo>
                      <a:pt x="145733" y="180023"/>
                    </a:lnTo>
                    <a:cubicBezTo>
                      <a:pt x="145733" y="179070"/>
                      <a:pt x="146685" y="179070"/>
                      <a:pt x="146685" y="179070"/>
                    </a:cubicBezTo>
                    <a:cubicBezTo>
                      <a:pt x="145733" y="179070"/>
                      <a:pt x="145733" y="178117"/>
                      <a:pt x="145733" y="178117"/>
                    </a:cubicBezTo>
                    <a:cubicBezTo>
                      <a:pt x="146685" y="177165"/>
                      <a:pt x="147638" y="177165"/>
                      <a:pt x="148590" y="176213"/>
                    </a:cubicBezTo>
                    <a:cubicBezTo>
                      <a:pt x="147638" y="176213"/>
                      <a:pt x="146685" y="176213"/>
                      <a:pt x="146685" y="175260"/>
                    </a:cubicBezTo>
                    <a:cubicBezTo>
                      <a:pt x="148590" y="173355"/>
                      <a:pt x="150495" y="172403"/>
                      <a:pt x="153352" y="172403"/>
                    </a:cubicBezTo>
                    <a:cubicBezTo>
                      <a:pt x="152400" y="171450"/>
                      <a:pt x="151448" y="172403"/>
                      <a:pt x="151448" y="171450"/>
                    </a:cubicBezTo>
                    <a:cubicBezTo>
                      <a:pt x="151448" y="170498"/>
                      <a:pt x="152400" y="170498"/>
                      <a:pt x="152400" y="170498"/>
                    </a:cubicBezTo>
                    <a:lnTo>
                      <a:pt x="152400" y="170498"/>
                    </a:lnTo>
                    <a:cubicBezTo>
                      <a:pt x="151448" y="169545"/>
                      <a:pt x="151448" y="168592"/>
                      <a:pt x="151448" y="168592"/>
                    </a:cubicBezTo>
                    <a:cubicBezTo>
                      <a:pt x="154305" y="164783"/>
                      <a:pt x="154305" y="160020"/>
                      <a:pt x="156210" y="156210"/>
                    </a:cubicBezTo>
                    <a:cubicBezTo>
                      <a:pt x="155258" y="156210"/>
                      <a:pt x="155258" y="156210"/>
                      <a:pt x="155258" y="155258"/>
                    </a:cubicBezTo>
                    <a:cubicBezTo>
                      <a:pt x="150495" y="160973"/>
                      <a:pt x="141923" y="162878"/>
                      <a:pt x="134302" y="164783"/>
                    </a:cubicBezTo>
                    <a:lnTo>
                      <a:pt x="131445" y="164783"/>
                    </a:lnTo>
                    <a:cubicBezTo>
                      <a:pt x="128588" y="165735"/>
                      <a:pt x="125730" y="165735"/>
                      <a:pt x="122873" y="163830"/>
                    </a:cubicBezTo>
                    <a:cubicBezTo>
                      <a:pt x="120968" y="162878"/>
                      <a:pt x="120015" y="160973"/>
                      <a:pt x="118110" y="160020"/>
                    </a:cubicBezTo>
                    <a:cubicBezTo>
                      <a:pt x="114300" y="157163"/>
                      <a:pt x="109538" y="155258"/>
                      <a:pt x="105727" y="154305"/>
                    </a:cubicBezTo>
                    <a:cubicBezTo>
                      <a:pt x="93345" y="150495"/>
                      <a:pt x="80010" y="148590"/>
                      <a:pt x="66675" y="148590"/>
                    </a:cubicBezTo>
                    <a:cubicBezTo>
                      <a:pt x="72390" y="145733"/>
                      <a:pt x="78105" y="145733"/>
                      <a:pt x="84773" y="143828"/>
                    </a:cubicBezTo>
                    <a:cubicBezTo>
                      <a:pt x="93345" y="140970"/>
                      <a:pt x="101918" y="138113"/>
                      <a:pt x="110490" y="139065"/>
                    </a:cubicBezTo>
                    <a:cubicBezTo>
                      <a:pt x="108585" y="138113"/>
                      <a:pt x="106680" y="139065"/>
                      <a:pt x="105727" y="139065"/>
                    </a:cubicBezTo>
                    <a:cubicBezTo>
                      <a:pt x="98107" y="138113"/>
                      <a:pt x="91440" y="140970"/>
                      <a:pt x="83820" y="141923"/>
                    </a:cubicBezTo>
                    <a:cubicBezTo>
                      <a:pt x="79057" y="142875"/>
                      <a:pt x="74295" y="144780"/>
                      <a:pt x="68580" y="145733"/>
                    </a:cubicBezTo>
                    <a:cubicBezTo>
                      <a:pt x="65723" y="146685"/>
                      <a:pt x="63818" y="149542"/>
                      <a:pt x="60007" y="149542"/>
                    </a:cubicBezTo>
                    <a:lnTo>
                      <a:pt x="60007" y="147638"/>
                    </a:lnTo>
                    <a:cubicBezTo>
                      <a:pt x="64770" y="141923"/>
                      <a:pt x="71438" y="135255"/>
                      <a:pt x="79057" y="135255"/>
                    </a:cubicBezTo>
                    <a:cubicBezTo>
                      <a:pt x="88582" y="133350"/>
                      <a:pt x="97155" y="135255"/>
                      <a:pt x="105727" y="136208"/>
                    </a:cubicBezTo>
                    <a:cubicBezTo>
                      <a:pt x="112395" y="137160"/>
                      <a:pt x="118110" y="138113"/>
                      <a:pt x="124777" y="140017"/>
                    </a:cubicBezTo>
                    <a:cubicBezTo>
                      <a:pt x="127635" y="140017"/>
                      <a:pt x="127635" y="143828"/>
                      <a:pt x="129540" y="144780"/>
                    </a:cubicBezTo>
                    <a:cubicBezTo>
                      <a:pt x="132398" y="145733"/>
                      <a:pt x="135255" y="144780"/>
                      <a:pt x="139065" y="146685"/>
                    </a:cubicBezTo>
                    <a:cubicBezTo>
                      <a:pt x="139065" y="145733"/>
                      <a:pt x="138113" y="144780"/>
                      <a:pt x="139065" y="143828"/>
                    </a:cubicBezTo>
                    <a:cubicBezTo>
                      <a:pt x="140970" y="141923"/>
                      <a:pt x="143827" y="144780"/>
                      <a:pt x="145733" y="142875"/>
                    </a:cubicBezTo>
                    <a:cubicBezTo>
                      <a:pt x="149543" y="140017"/>
                      <a:pt x="141923" y="136208"/>
                      <a:pt x="140018" y="132398"/>
                    </a:cubicBezTo>
                    <a:cubicBezTo>
                      <a:pt x="140018" y="131445"/>
                      <a:pt x="140970" y="131445"/>
                      <a:pt x="140970" y="131445"/>
                    </a:cubicBezTo>
                    <a:cubicBezTo>
                      <a:pt x="144780" y="135255"/>
                      <a:pt x="147638" y="139065"/>
                      <a:pt x="153352" y="141923"/>
                    </a:cubicBezTo>
                    <a:cubicBezTo>
                      <a:pt x="156210" y="142875"/>
                      <a:pt x="161925" y="144780"/>
                      <a:pt x="160973" y="140970"/>
                    </a:cubicBezTo>
                    <a:cubicBezTo>
                      <a:pt x="158115" y="135255"/>
                      <a:pt x="153352" y="130492"/>
                      <a:pt x="149543" y="125730"/>
                    </a:cubicBezTo>
                    <a:lnTo>
                      <a:pt x="149543" y="123825"/>
                    </a:lnTo>
                    <a:cubicBezTo>
                      <a:pt x="148590" y="123825"/>
                      <a:pt x="148590" y="122873"/>
                      <a:pt x="147638" y="122873"/>
                    </a:cubicBezTo>
                    <a:lnTo>
                      <a:pt x="147638" y="120015"/>
                    </a:lnTo>
                    <a:cubicBezTo>
                      <a:pt x="145733" y="119063"/>
                      <a:pt x="145733" y="117158"/>
                      <a:pt x="144780" y="115253"/>
                    </a:cubicBezTo>
                    <a:cubicBezTo>
                      <a:pt x="142875" y="112395"/>
                      <a:pt x="143827" y="109538"/>
                      <a:pt x="142875" y="105728"/>
                    </a:cubicBezTo>
                    <a:cubicBezTo>
                      <a:pt x="142875" y="103823"/>
                      <a:pt x="142875" y="100965"/>
                      <a:pt x="141923" y="98108"/>
                    </a:cubicBezTo>
                    <a:cubicBezTo>
                      <a:pt x="140018" y="89535"/>
                      <a:pt x="138113" y="81915"/>
                      <a:pt x="137160" y="73342"/>
                    </a:cubicBezTo>
                    <a:cubicBezTo>
                      <a:pt x="136208" y="63817"/>
                      <a:pt x="142875" y="56197"/>
                      <a:pt x="147638" y="47625"/>
                    </a:cubicBezTo>
                    <a:cubicBezTo>
                      <a:pt x="151448" y="41910"/>
                      <a:pt x="155258" y="35242"/>
                      <a:pt x="161925" y="31433"/>
                    </a:cubicBezTo>
                    <a:cubicBezTo>
                      <a:pt x="163830" y="25718"/>
                      <a:pt x="167640" y="20003"/>
                      <a:pt x="171450" y="15240"/>
                    </a:cubicBezTo>
                    <a:cubicBezTo>
                      <a:pt x="175260" y="10478"/>
                      <a:pt x="181927" y="7620"/>
                      <a:pt x="187643" y="4763"/>
                    </a:cubicBezTo>
                    <a:cubicBezTo>
                      <a:pt x="194310" y="1905"/>
                      <a:pt x="200977" y="0"/>
                      <a:pt x="200977" y="0"/>
                    </a:cubicBezTo>
                    <a:lnTo>
                      <a:pt x="302895" y="0"/>
                    </a:lnTo>
                    <a:cubicBezTo>
                      <a:pt x="302895" y="0"/>
                      <a:pt x="303848" y="0"/>
                      <a:pt x="305753" y="953"/>
                    </a:cubicBezTo>
                    <a:cubicBezTo>
                      <a:pt x="307658" y="1905"/>
                      <a:pt x="311467" y="3810"/>
                      <a:pt x="313373" y="4763"/>
                    </a:cubicBezTo>
                    <a:cubicBezTo>
                      <a:pt x="317183" y="6668"/>
                      <a:pt x="320992" y="9525"/>
                      <a:pt x="322898" y="13335"/>
                    </a:cubicBezTo>
                    <a:cubicBezTo>
                      <a:pt x="323850" y="15240"/>
                      <a:pt x="325755" y="18097"/>
                      <a:pt x="324803" y="20003"/>
                    </a:cubicBezTo>
                    <a:cubicBezTo>
                      <a:pt x="323850" y="22860"/>
                      <a:pt x="322898" y="26670"/>
                      <a:pt x="320992" y="27622"/>
                    </a:cubicBezTo>
                    <a:cubicBezTo>
                      <a:pt x="318135" y="29528"/>
                      <a:pt x="314325" y="29528"/>
                      <a:pt x="310515" y="28575"/>
                    </a:cubicBezTo>
                    <a:cubicBezTo>
                      <a:pt x="308610" y="28575"/>
                      <a:pt x="306705" y="27622"/>
                      <a:pt x="304800" y="27622"/>
                    </a:cubicBezTo>
                    <a:cubicBezTo>
                      <a:pt x="312420" y="30480"/>
                      <a:pt x="320040" y="34290"/>
                      <a:pt x="324803" y="40958"/>
                    </a:cubicBezTo>
                    <a:cubicBezTo>
                      <a:pt x="325755" y="41910"/>
                      <a:pt x="327660" y="42863"/>
                      <a:pt x="329565" y="42863"/>
                    </a:cubicBezTo>
                    <a:cubicBezTo>
                      <a:pt x="330517" y="42863"/>
                      <a:pt x="330517" y="43815"/>
                      <a:pt x="330517" y="44767"/>
                    </a:cubicBezTo>
                    <a:cubicBezTo>
                      <a:pt x="329565" y="45720"/>
                      <a:pt x="328613" y="46672"/>
                      <a:pt x="328613" y="47625"/>
                    </a:cubicBezTo>
                    <a:lnTo>
                      <a:pt x="330517" y="47625"/>
                    </a:lnTo>
                    <a:cubicBezTo>
                      <a:pt x="333375" y="46672"/>
                      <a:pt x="332423" y="41910"/>
                      <a:pt x="336233" y="42863"/>
                    </a:cubicBezTo>
                    <a:cubicBezTo>
                      <a:pt x="339090" y="44767"/>
                      <a:pt x="340042" y="47625"/>
                      <a:pt x="338138" y="50483"/>
                    </a:cubicBezTo>
                    <a:cubicBezTo>
                      <a:pt x="336233" y="52388"/>
                      <a:pt x="334328" y="54292"/>
                      <a:pt x="332423" y="55245"/>
                    </a:cubicBezTo>
                    <a:cubicBezTo>
                      <a:pt x="331470" y="56197"/>
                      <a:pt x="331470" y="58103"/>
                      <a:pt x="332423" y="59055"/>
                    </a:cubicBezTo>
                    <a:cubicBezTo>
                      <a:pt x="334328" y="60960"/>
                      <a:pt x="334328" y="62865"/>
                      <a:pt x="335280" y="64770"/>
                    </a:cubicBezTo>
                    <a:cubicBezTo>
                      <a:pt x="337185" y="68580"/>
                      <a:pt x="337185" y="72390"/>
                      <a:pt x="339090" y="76200"/>
                    </a:cubicBezTo>
                    <a:cubicBezTo>
                      <a:pt x="340995" y="83820"/>
                      <a:pt x="342900" y="91440"/>
                      <a:pt x="342900" y="99060"/>
                    </a:cubicBezTo>
                    <a:cubicBezTo>
                      <a:pt x="342900" y="102870"/>
                      <a:pt x="340995" y="106680"/>
                      <a:pt x="341948" y="110490"/>
                    </a:cubicBezTo>
                    <a:cubicBezTo>
                      <a:pt x="342900" y="114300"/>
                      <a:pt x="345758" y="118110"/>
                      <a:pt x="347663" y="120967"/>
                    </a:cubicBezTo>
                    <a:cubicBezTo>
                      <a:pt x="349567" y="123825"/>
                      <a:pt x="351473" y="125730"/>
                      <a:pt x="353378" y="129540"/>
                    </a:cubicBezTo>
                    <a:cubicBezTo>
                      <a:pt x="356235" y="134303"/>
                      <a:pt x="361950" y="140017"/>
                      <a:pt x="359092" y="145733"/>
                    </a:cubicBezTo>
                    <a:cubicBezTo>
                      <a:pt x="357188" y="149542"/>
                      <a:pt x="351473" y="148590"/>
                      <a:pt x="348615" y="150495"/>
                    </a:cubicBezTo>
                    <a:cubicBezTo>
                      <a:pt x="345758" y="153353"/>
                      <a:pt x="347663" y="157163"/>
                      <a:pt x="349567" y="160020"/>
                    </a:cubicBezTo>
                    <a:cubicBezTo>
                      <a:pt x="352425" y="164783"/>
                      <a:pt x="346710" y="167640"/>
                      <a:pt x="342900" y="169545"/>
                    </a:cubicBezTo>
                    <a:cubicBezTo>
                      <a:pt x="343853" y="171450"/>
                      <a:pt x="345758" y="170498"/>
                      <a:pt x="346710" y="171450"/>
                    </a:cubicBezTo>
                    <a:cubicBezTo>
                      <a:pt x="347663" y="174308"/>
                      <a:pt x="349567" y="175260"/>
                      <a:pt x="348615" y="178117"/>
                    </a:cubicBezTo>
                    <a:cubicBezTo>
                      <a:pt x="346710" y="180975"/>
                      <a:pt x="340042" y="182880"/>
                      <a:pt x="343853" y="187642"/>
                    </a:cubicBezTo>
                    <a:cubicBezTo>
                      <a:pt x="345758" y="191453"/>
                      <a:pt x="344805" y="195263"/>
                      <a:pt x="342900" y="199073"/>
                    </a:cubicBezTo>
                    <a:cubicBezTo>
                      <a:pt x="340995" y="203835"/>
                      <a:pt x="337185" y="205740"/>
                      <a:pt x="333375" y="206692"/>
                    </a:cubicBezTo>
                    <a:cubicBezTo>
                      <a:pt x="330517" y="207645"/>
                      <a:pt x="326708" y="207645"/>
                      <a:pt x="323850" y="207645"/>
                    </a:cubicBezTo>
                    <a:cubicBezTo>
                      <a:pt x="320040" y="205740"/>
                      <a:pt x="319088" y="205740"/>
                      <a:pt x="318135" y="205740"/>
                    </a:cubicBezTo>
                    <a:cubicBezTo>
                      <a:pt x="309563" y="204788"/>
                      <a:pt x="300990" y="201930"/>
                      <a:pt x="292417" y="201930"/>
                    </a:cubicBezTo>
                    <a:cubicBezTo>
                      <a:pt x="289560" y="202883"/>
                      <a:pt x="287655" y="202883"/>
                      <a:pt x="285750" y="203835"/>
                    </a:cubicBezTo>
                    <a:cubicBezTo>
                      <a:pt x="283845" y="205740"/>
                      <a:pt x="280988" y="207645"/>
                      <a:pt x="280035" y="209550"/>
                    </a:cubicBezTo>
                    <a:cubicBezTo>
                      <a:pt x="280035" y="209550"/>
                      <a:pt x="280035" y="209550"/>
                      <a:pt x="280035" y="209550"/>
                    </a:cubicBezTo>
                    <a:cubicBezTo>
                      <a:pt x="280035" y="209550"/>
                      <a:pt x="279083" y="210503"/>
                      <a:pt x="279083" y="210503"/>
                    </a:cubicBezTo>
                    <a:cubicBezTo>
                      <a:pt x="279083" y="210503"/>
                      <a:pt x="279083" y="211455"/>
                      <a:pt x="278130" y="211455"/>
                    </a:cubicBezTo>
                    <a:cubicBezTo>
                      <a:pt x="278130" y="211455"/>
                      <a:pt x="278130" y="211455"/>
                      <a:pt x="278130" y="212408"/>
                    </a:cubicBezTo>
                    <a:cubicBezTo>
                      <a:pt x="276225" y="214313"/>
                      <a:pt x="275273" y="216217"/>
                      <a:pt x="274320" y="218123"/>
                    </a:cubicBezTo>
                    <a:cubicBezTo>
                      <a:pt x="274320" y="218123"/>
                      <a:pt x="274320" y="218123"/>
                      <a:pt x="274320" y="218123"/>
                    </a:cubicBezTo>
                    <a:cubicBezTo>
                      <a:pt x="274320" y="218123"/>
                      <a:pt x="274320" y="219075"/>
                      <a:pt x="274320" y="219075"/>
                    </a:cubicBezTo>
                    <a:cubicBezTo>
                      <a:pt x="272415" y="221933"/>
                      <a:pt x="271463" y="225742"/>
                      <a:pt x="270510" y="228600"/>
                    </a:cubicBezTo>
                    <a:cubicBezTo>
                      <a:pt x="266700" y="240030"/>
                      <a:pt x="268605" y="250508"/>
                      <a:pt x="271463" y="252413"/>
                    </a:cubicBezTo>
                    <a:cubicBezTo>
                      <a:pt x="272415" y="253365"/>
                      <a:pt x="288608" y="258128"/>
                      <a:pt x="299085" y="262890"/>
                    </a:cubicBezTo>
                    <a:cubicBezTo>
                      <a:pt x="304800" y="264795"/>
                      <a:pt x="307658" y="266700"/>
                      <a:pt x="311467" y="268605"/>
                    </a:cubicBezTo>
                    <a:lnTo>
                      <a:pt x="101918" y="268605"/>
                    </a:lnTo>
                    <a:cubicBezTo>
                      <a:pt x="111443" y="261938"/>
                      <a:pt x="120968" y="258128"/>
                      <a:pt x="135255" y="251460"/>
                    </a:cubicBezTo>
                    <a:cubicBezTo>
                      <a:pt x="138113" y="249555"/>
                      <a:pt x="153352" y="242888"/>
                      <a:pt x="158115" y="237173"/>
                    </a:cubicBezTo>
                    <a:moveTo>
                      <a:pt x="79057" y="200978"/>
                    </a:moveTo>
                    <a:cubicBezTo>
                      <a:pt x="78105" y="200978"/>
                      <a:pt x="76200" y="201930"/>
                      <a:pt x="76200" y="200025"/>
                    </a:cubicBezTo>
                    <a:cubicBezTo>
                      <a:pt x="77152" y="197167"/>
                      <a:pt x="80010" y="197167"/>
                      <a:pt x="81915" y="196215"/>
                    </a:cubicBezTo>
                    <a:cubicBezTo>
                      <a:pt x="82868" y="195263"/>
                      <a:pt x="84773" y="194310"/>
                      <a:pt x="85725" y="195263"/>
                    </a:cubicBezTo>
                    <a:cubicBezTo>
                      <a:pt x="86677" y="197167"/>
                      <a:pt x="88582" y="196215"/>
                      <a:pt x="89535" y="197167"/>
                    </a:cubicBezTo>
                    <a:cubicBezTo>
                      <a:pt x="86677" y="200978"/>
                      <a:pt x="82868" y="200025"/>
                      <a:pt x="79057" y="200978"/>
                    </a:cubicBezTo>
                    <a:moveTo>
                      <a:pt x="952" y="189548"/>
                    </a:moveTo>
                    <a:cubicBezTo>
                      <a:pt x="952" y="189548"/>
                      <a:pt x="0" y="188595"/>
                      <a:pt x="0" y="188595"/>
                    </a:cubicBezTo>
                    <a:cubicBezTo>
                      <a:pt x="6668" y="180023"/>
                      <a:pt x="11430" y="171450"/>
                      <a:pt x="16193" y="162878"/>
                    </a:cubicBezTo>
                    <a:cubicBezTo>
                      <a:pt x="22860" y="159067"/>
                      <a:pt x="28575" y="154305"/>
                      <a:pt x="33338" y="148590"/>
                    </a:cubicBezTo>
                    <a:cubicBezTo>
                      <a:pt x="41910" y="139065"/>
                      <a:pt x="51435" y="131445"/>
                      <a:pt x="61913" y="125730"/>
                    </a:cubicBezTo>
                    <a:cubicBezTo>
                      <a:pt x="65723" y="123825"/>
                      <a:pt x="71438" y="124778"/>
                      <a:pt x="75248" y="126683"/>
                    </a:cubicBezTo>
                    <a:cubicBezTo>
                      <a:pt x="73343" y="128588"/>
                      <a:pt x="71438" y="128588"/>
                      <a:pt x="69532" y="129540"/>
                    </a:cubicBezTo>
                    <a:cubicBezTo>
                      <a:pt x="68580" y="129540"/>
                      <a:pt x="68580" y="129540"/>
                      <a:pt x="67627" y="128588"/>
                    </a:cubicBezTo>
                    <a:cubicBezTo>
                      <a:pt x="68580" y="127635"/>
                      <a:pt x="68580" y="127635"/>
                      <a:pt x="68580" y="126683"/>
                    </a:cubicBezTo>
                    <a:cubicBezTo>
                      <a:pt x="63818" y="132398"/>
                      <a:pt x="56198" y="135255"/>
                      <a:pt x="52388" y="141923"/>
                    </a:cubicBezTo>
                    <a:cubicBezTo>
                      <a:pt x="49530" y="146685"/>
                      <a:pt x="47625" y="153353"/>
                      <a:pt x="40957" y="155258"/>
                    </a:cubicBezTo>
                    <a:cubicBezTo>
                      <a:pt x="39052" y="156210"/>
                      <a:pt x="41910" y="153353"/>
                      <a:pt x="40005" y="154305"/>
                    </a:cubicBezTo>
                    <a:cubicBezTo>
                      <a:pt x="24765" y="164783"/>
                      <a:pt x="13335" y="176213"/>
                      <a:pt x="952" y="189548"/>
                    </a:cubicBezTo>
                    <a:moveTo>
                      <a:pt x="43815" y="156210"/>
                    </a:moveTo>
                    <a:cubicBezTo>
                      <a:pt x="42863" y="157163"/>
                      <a:pt x="42863" y="157163"/>
                      <a:pt x="41910" y="158115"/>
                    </a:cubicBezTo>
                    <a:cubicBezTo>
                      <a:pt x="40957" y="159067"/>
                      <a:pt x="40957" y="160020"/>
                      <a:pt x="40005" y="160020"/>
                    </a:cubicBezTo>
                    <a:cubicBezTo>
                      <a:pt x="39052" y="160020"/>
                      <a:pt x="39052" y="160020"/>
                      <a:pt x="39052" y="159067"/>
                    </a:cubicBezTo>
                    <a:cubicBezTo>
                      <a:pt x="40005" y="157163"/>
                      <a:pt x="40957" y="155258"/>
                      <a:pt x="42863" y="154305"/>
                    </a:cubicBezTo>
                    <a:cubicBezTo>
                      <a:pt x="43815" y="155258"/>
                      <a:pt x="43815" y="155258"/>
                      <a:pt x="43815" y="156210"/>
                    </a:cubicBezTo>
                    <a:moveTo>
                      <a:pt x="67627" y="232410"/>
                    </a:moveTo>
                    <a:cubicBezTo>
                      <a:pt x="67627" y="233363"/>
                      <a:pt x="66675" y="233363"/>
                      <a:pt x="66675" y="234315"/>
                    </a:cubicBezTo>
                    <a:cubicBezTo>
                      <a:pt x="67627" y="234315"/>
                      <a:pt x="67627" y="234315"/>
                      <a:pt x="67627" y="235267"/>
                    </a:cubicBezTo>
                    <a:cubicBezTo>
                      <a:pt x="66675" y="236220"/>
                      <a:pt x="65723" y="237173"/>
                      <a:pt x="63818" y="238125"/>
                    </a:cubicBezTo>
                    <a:cubicBezTo>
                      <a:pt x="63818" y="238125"/>
                      <a:pt x="63818" y="238125"/>
                      <a:pt x="62865" y="238125"/>
                    </a:cubicBezTo>
                    <a:cubicBezTo>
                      <a:pt x="61913" y="239078"/>
                      <a:pt x="61913" y="239078"/>
                      <a:pt x="60960" y="240030"/>
                    </a:cubicBezTo>
                    <a:cubicBezTo>
                      <a:pt x="60007" y="240983"/>
                      <a:pt x="57150" y="240030"/>
                      <a:pt x="58102" y="239078"/>
                    </a:cubicBezTo>
                    <a:cubicBezTo>
                      <a:pt x="59055" y="238125"/>
                      <a:pt x="60960" y="236220"/>
                      <a:pt x="61913" y="235267"/>
                    </a:cubicBezTo>
                    <a:cubicBezTo>
                      <a:pt x="62865" y="234315"/>
                      <a:pt x="63818" y="234315"/>
                      <a:pt x="63818" y="233363"/>
                    </a:cubicBezTo>
                    <a:cubicBezTo>
                      <a:pt x="63818" y="233363"/>
                      <a:pt x="64770" y="232410"/>
                      <a:pt x="64770" y="232410"/>
                    </a:cubicBezTo>
                    <a:cubicBezTo>
                      <a:pt x="64770" y="231458"/>
                      <a:pt x="67627" y="231458"/>
                      <a:pt x="67627" y="232410"/>
                    </a:cubicBezTo>
                    <a:moveTo>
                      <a:pt x="58102" y="228600"/>
                    </a:moveTo>
                    <a:cubicBezTo>
                      <a:pt x="58102" y="228600"/>
                      <a:pt x="58102" y="228600"/>
                      <a:pt x="58102" y="228600"/>
                    </a:cubicBezTo>
                    <a:cubicBezTo>
                      <a:pt x="56198" y="230505"/>
                      <a:pt x="54293" y="231458"/>
                      <a:pt x="52388" y="232410"/>
                    </a:cubicBezTo>
                    <a:cubicBezTo>
                      <a:pt x="50482" y="233363"/>
                      <a:pt x="47625" y="234315"/>
                      <a:pt x="45720" y="235267"/>
                    </a:cubicBezTo>
                    <a:cubicBezTo>
                      <a:pt x="45720" y="235267"/>
                      <a:pt x="45720" y="235267"/>
                      <a:pt x="45720" y="235267"/>
                    </a:cubicBezTo>
                    <a:cubicBezTo>
                      <a:pt x="45720" y="235267"/>
                      <a:pt x="44768" y="235267"/>
                      <a:pt x="44768" y="235267"/>
                    </a:cubicBezTo>
                    <a:cubicBezTo>
                      <a:pt x="42863" y="236220"/>
                      <a:pt x="40957" y="238125"/>
                      <a:pt x="40005" y="239078"/>
                    </a:cubicBezTo>
                    <a:cubicBezTo>
                      <a:pt x="40005" y="239078"/>
                      <a:pt x="40005" y="239078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7148" y="241935"/>
                      <a:pt x="37148" y="241935"/>
                    </a:cubicBezTo>
                    <a:cubicBezTo>
                      <a:pt x="37148" y="241935"/>
                      <a:pt x="37148" y="242888"/>
                      <a:pt x="36195" y="242888"/>
                    </a:cubicBezTo>
                    <a:cubicBezTo>
                      <a:pt x="36195" y="242888"/>
                      <a:pt x="35243" y="242888"/>
                      <a:pt x="35243" y="242888"/>
                    </a:cubicBezTo>
                    <a:cubicBezTo>
                      <a:pt x="35243" y="242888"/>
                      <a:pt x="35243" y="242888"/>
                      <a:pt x="35243" y="242888"/>
                    </a:cubicBezTo>
                    <a:cubicBezTo>
                      <a:pt x="35243" y="242888"/>
                      <a:pt x="34290" y="242888"/>
                      <a:pt x="34290" y="242888"/>
                    </a:cubicBezTo>
                    <a:cubicBezTo>
                      <a:pt x="34290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2385" y="243840"/>
                      <a:pt x="32385" y="243840"/>
                      <a:pt x="31432" y="244792"/>
                    </a:cubicBezTo>
                    <a:cubicBezTo>
                      <a:pt x="30480" y="245745"/>
                      <a:pt x="29527" y="246698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8603"/>
                    </a:cubicBezTo>
                    <a:lnTo>
                      <a:pt x="28575" y="248603"/>
                    </a:ln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7650"/>
                      <a:pt x="28575" y="247650"/>
                    </a:cubicBezTo>
                    <a:lnTo>
                      <a:pt x="28575" y="247650"/>
                    </a:ln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9527" y="246698"/>
                      <a:pt x="29527" y="246698"/>
                      <a:pt x="30480" y="245745"/>
                    </a:cubicBezTo>
                    <a:cubicBezTo>
                      <a:pt x="30480" y="245745"/>
                      <a:pt x="30480" y="245745"/>
                      <a:pt x="30480" y="245745"/>
                    </a:cubicBezTo>
                    <a:cubicBezTo>
                      <a:pt x="30480" y="245745"/>
                      <a:pt x="30480" y="245745"/>
                      <a:pt x="31432" y="244792"/>
                    </a:cubicBezTo>
                    <a:cubicBezTo>
                      <a:pt x="31432" y="244792"/>
                      <a:pt x="32385" y="243840"/>
                      <a:pt x="32385" y="243840"/>
                    </a:cubicBezTo>
                    <a:cubicBezTo>
                      <a:pt x="32385" y="243840"/>
                      <a:pt x="32385" y="243840"/>
                      <a:pt x="32385" y="243840"/>
                    </a:cubicBezTo>
                    <a:cubicBezTo>
                      <a:pt x="33338" y="242888"/>
                      <a:pt x="33338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5243" y="240983"/>
                      <a:pt x="35243" y="240983"/>
                    </a:cubicBezTo>
                    <a:cubicBezTo>
                      <a:pt x="35243" y="240983"/>
                      <a:pt x="35243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8125"/>
                    </a:cubicBezTo>
                    <a:cubicBezTo>
                      <a:pt x="37148" y="238125"/>
                      <a:pt x="37148" y="238125"/>
                      <a:pt x="37148" y="238125"/>
                    </a:cubicBezTo>
                    <a:cubicBezTo>
                      <a:pt x="37148" y="238125"/>
                      <a:pt x="37148" y="237173"/>
                      <a:pt x="37148" y="237173"/>
                    </a:cubicBezTo>
                    <a:cubicBezTo>
                      <a:pt x="37148" y="237173"/>
                      <a:pt x="37148" y="237173"/>
                      <a:pt x="37148" y="237173"/>
                    </a:cubicBezTo>
                    <a:cubicBezTo>
                      <a:pt x="38100" y="236220"/>
                      <a:pt x="38100" y="235267"/>
                      <a:pt x="39052" y="234315"/>
                    </a:cubicBezTo>
                    <a:cubicBezTo>
                      <a:pt x="39052" y="234315"/>
                      <a:pt x="39052" y="234315"/>
                      <a:pt x="39052" y="234315"/>
                    </a:cubicBezTo>
                    <a:cubicBezTo>
                      <a:pt x="38100" y="234315"/>
                      <a:pt x="38100" y="235267"/>
                      <a:pt x="37148" y="236220"/>
                    </a:cubicBezTo>
                    <a:cubicBezTo>
                      <a:pt x="36195" y="236220"/>
                      <a:pt x="35243" y="236220"/>
                      <a:pt x="36195" y="235267"/>
                    </a:cubicBezTo>
                    <a:cubicBezTo>
                      <a:pt x="36195" y="235267"/>
                      <a:pt x="37148" y="234315"/>
                      <a:pt x="37148" y="234315"/>
                    </a:cubicBezTo>
                    <a:cubicBezTo>
                      <a:pt x="37148" y="234315"/>
                      <a:pt x="37148" y="234315"/>
                      <a:pt x="37148" y="234315"/>
                    </a:cubicBezTo>
                    <a:cubicBezTo>
                      <a:pt x="38100" y="233363"/>
                      <a:pt x="39052" y="232410"/>
                      <a:pt x="40005" y="231458"/>
                    </a:cubicBezTo>
                    <a:cubicBezTo>
                      <a:pt x="40957" y="231458"/>
                      <a:pt x="40957" y="230505"/>
                      <a:pt x="41910" y="230505"/>
                    </a:cubicBezTo>
                    <a:cubicBezTo>
                      <a:pt x="41910" y="230505"/>
                      <a:pt x="41910" y="230505"/>
                      <a:pt x="41910" y="230505"/>
                    </a:cubicBezTo>
                    <a:cubicBezTo>
                      <a:pt x="41910" y="230505"/>
                      <a:pt x="42863" y="229553"/>
                      <a:pt x="42863" y="229553"/>
                    </a:cubicBezTo>
                    <a:cubicBezTo>
                      <a:pt x="42863" y="229553"/>
                      <a:pt x="42863" y="229553"/>
                      <a:pt x="42863" y="229553"/>
                    </a:cubicBezTo>
                    <a:cubicBezTo>
                      <a:pt x="47625" y="224790"/>
                      <a:pt x="56198" y="224790"/>
                      <a:pt x="62865" y="221933"/>
                    </a:cubicBezTo>
                    <a:cubicBezTo>
                      <a:pt x="65723" y="220980"/>
                      <a:pt x="68580" y="222885"/>
                      <a:pt x="71438" y="221933"/>
                    </a:cubicBezTo>
                    <a:cubicBezTo>
                      <a:pt x="73343" y="221933"/>
                      <a:pt x="74295" y="221933"/>
                      <a:pt x="76200" y="222885"/>
                    </a:cubicBezTo>
                    <a:cubicBezTo>
                      <a:pt x="66675" y="222885"/>
                      <a:pt x="62865" y="225742"/>
                      <a:pt x="58102" y="228600"/>
                    </a:cubicBezTo>
                    <a:moveTo>
                      <a:pt x="68580" y="193358"/>
                    </a:moveTo>
                    <a:cubicBezTo>
                      <a:pt x="67627" y="192405"/>
                      <a:pt x="70485" y="193358"/>
                      <a:pt x="70485" y="192405"/>
                    </a:cubicBezTo>
                    <a:lnTo>
                      <a:pt x="66675" y="192405"/>
                    </a:lnTo>
                    <a:cubicBezTo>
                      <a:pt x="65723" y="192405"/>
                      <a:pt x="65723" y="191453"/>
                      <a:pt x="65723" y="191453"/>
                    </a:cubicBezTo>
                    <a:cubicBezTo>
                      <a:pt x="62865" y="192405"/>
                      <a:pt x="60007" y="193358"/>
                      <a:pt x="57150" y="193358"/>
                    </a:cubicBezTo>
                    <a:cubicBezTo>
                      <a:pt x="53340" y="194310"/>
                      <a:pt x="50482" y="197167"/>
                      <a:pt x="46673" y="198120"/>
                    </a:cubicBezTo>
                    <a:cubicBezTo>
                      <a:pt x="40957" y="200025"/>
                      <a:pt x="36195" y="204788"/>
                      <a:pt x="30480" y="206692"/>
                    </a:cubicBezTo>
                    <a:cubicBezTo>
                      <a:pt x="29527" y="206692"/>
                      <a:pt x="29527" y="205740"/>
                      <a:pt x="29527" y="205740"/>
                    </a:cubicBezTo>
                    <a:cubicBezTo>
                      <a:pt x="30480" y="203835"/>
                      <a:pt x="32385" y="203835"/>
                      <a:pt x="33338" y="201930"/>
                    </a:cubicBezTo>
                    <a:cubicBezTo>
                      <a:pt x="33338" y="200978"/>
                      <a:pt x="33338" y="200978"/>
                      <a:pt x="32385" y="200978"/>
                    </a:cubicBezTo>
                    <a:cubicBezTo>
                      <a:pt x="36195" y="195263"/>
                      <a:pt x="41910" y="192405"/>
                      <a:pt x="47625" y="187642"/>
                    </a:cubicBezTo>
                    <a:lnTo>
                      <a:pt x="47625" y="185738"/>
                    </a:lnTo>
                    <a:cubicBezTo>
                      <a:pt x="49530" y="183833"/>
                      <a:pt x="51435" y="182880"/>
                      <a:pt x="52388" y="180023"/>
                    </a:cubicBezTo>
                    <a:cubicBezTo>
                      <a:pt x="53340" y="178117"/>
                      <a:pt x="55245" y="176213"/>
                      <a:pt x="57150" y="175260"/>
                    </a:cubicBezTo>
                    <a:cubicBezTo>
                      <a:pt x="56198" y="174308"/>
                      <a:pt x="55245" y="174308"/>
                      <a:pt x="55245" y="173355"/>
                    </a:cubicBezTo>
                    <a:cubicBezTo>
                      <a:pt x="53340" y="173355"/>
                      <a:pt x="51435" y="174308"/>
                      <a:pt x="49530" y="172403"/>
                    </a:cubicBezTo>
                    <a:cubicBezTo>
                      <a:pt x="50482" y="171450"/>
                      <a:pt x="51435" y="170498"/>
                      <a:pt x="52388" y="170498"/>
                    </a:cubicBezTo>
                    <a:cubicBezTo>
                      <a:pt x="52388" y="170498"/>
                      <a:pt x="51435" y="170498"/>
                      <a:pt x="51435" y="169545"/>
                    </a:cubicBezTo>
                    <a:cubicBezTo>
                      <a:pt x="50482" y="168592"/>
                      <a:pt x="52388" y="167640"/>
                      <a:pt x="54293" y="166688"/>
                    </a:cubicBezTo>
                    <a:cubicBezTo>
                      <a:pt x="56198" y="165735"/>
                      <a:pt x="59055" y="165735"/>
                      <a:pt x="60007" y="164783"/>
                    </a:cubicBezTo>
                    <a:cubicBezTo>
                      <a:pt x="56198" y="163830"/>
                      <a:pt x="52388" y="165735"/>
                      <a:pt x="48577" y="163830"/>
                    </a:cubicBezTo>
                    <a:cubicBezTo>
                      <a:pt x="51435" y="157163"/>
                      <a:pt x="55245" y="151448"/>
                      <a:pt x="60960" y="148590"/>
                    </a:cubicBezTo>
                    <a:cubicBezTo>
                      <a:pt x="61913" y="148590"/>
                      <a:pt x="62865" y="148590"/>
                      <a:pt x="62865" y="149542"/>
                    </a:cubicBezTo>
                    <a:cubicBezTo>
                      <a:pt x="62865" y="152400"/>
                      <a:pt x="60960" y="154305"/>
                      <a:pt x="59055" y="154305"/>
                    </a:cubicBezTo>
                    <a:cubicBezTo>
                      <a:pt x="62865" y="155258"/>
                      <a:pt x="67627" y="155258"/>
                      <a:pt x="71438" y="157163"/>
                    </a:cubicBezTo>
                    <a:cubicBezTo>
                      <a:pt x="70485" y="158115"/>
                      <a:pt x="69532" y="158115"/>
                      <a:pt x="69532" y="158115"/>
                    </a:cubicBezTo>
                    <a:cubicBezTo>
                      <a:pt x="72390" y="160020"/>
                      <a:pt x="75248" y="159067"/>
                      <a:pt x="78105" y="160973"/>
                    </a:cubicBezTo>
                    <a:cubicBezTo>
                      <a:pt x="76200" y="162878"/>
                      <a:pt x="75248" y="160973"/>
                      <a:pt x="73343" y="160973"/>
                    </a:cubicBezTo>
                    <a:cubicBezTo>
                      <a:pt x="89535" y="165735"/>
                      <a:pt x="105727" y="169545"/>
                      <a:pt x="119063" y="179070"/>
                    </a:cubicBezTo>
                    <a:cubicBezTo>
                      <a:pt x="107632" y="184785"/>
                      <a:pt x="96202" y="187642"/>
                      <a:pt x="83820" y="189548"/>
                    </a:cubicBezTo>
                    <a:cubicBezTo>
                      <a:pt x="81915" y="189548"/>
                      <a:pt x="80963" y="189548"/>
                      <a:pt x="80010" y="188595"/>
                    </a:cubicBezTo>
                    <a:cubicBezTo>
                      <a:pt x="80010" y="189548"/>
                      <a:pt x="80010" y="190500"/>
                      <a:pt x="79057" y="190500"/>
                    </a:cubicBezTo>
                    <a:cubicBezTo>
                      <a:pt x="77152" y="190500"/>
                      <a:pt x="75248" y="190500"/>
                      <a:pt x="74295" y="191453"/>
                    </a:cubicBezTo>
                    <a:cubicBezTo>
                      <a:pt x="73343" y="194310"/>
                      <a:pt x="70485" y="194310"/>
                      <a:pt x="68580" y="193358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34" name="Forme libre : forme 33">
                <a:extLst>
                  <a:ext uri="{FF2B5EF4-FFF2-40B4-BE49-F238E27FC236}">
                    <a16:creationId xmlns:a16="http://schemas.microsoft.com/office/drawing/2014/main" id="{E423729E-75B1-4BB4-9955-34772C60C72C}"/>
                  </a:ext>
                </a:extLst>
              </p:cNvPr>
              <p:cNvSpPr/>
              <p:nvPr/>
            </p:nvSpPr>
            <p:spPr>
              <a:xfrm>
                <a:off x="270509" y="270509"/>
                <a:ext cx="349567" cy="269557"/>
              </a:xfrm>
              <a:custGeom>
                <a:avLst/>
                <a:gdLst>
                  <a:gd name="connsiteX0" fmla="*/ 306705 w 349567"/>
                  <a:gd name="connsiteY0" fmla="*/ 237173 h 269557"/>
                  <a:gd name="connsiteX1" fmla="*/ 315278 w 349567"/>
                  <a:gd name="connsiteY1" fmla="*/ 227648 h 269557"/>
                  <a:gd name="connsiteX2" fmla="*/ 315278 w 349567"/>
                  <a:gd name="connsiteY2" fmla="*/ 227648 h 269557"/>
                  <a:gd name="connsiteX3" fmla="*/ 332423 w 349567"/>
                  <a:gd name="connsiteY3" fmla="*/ 210503 h 269557"/>
                  <a:gd name="connsiteX4" fmla="*/ 338138 w 349567"/>
                  <a:gd name="connsiteY4" fmla="*/ 205740 h 269557"/>
                  <a:gd name="connsiteX5" fmla="*/ 339090 w 349567"/>
                  <a:gd name="connsiteY5" fmla="*/ 203835 h 269557"/>
                  <a:gd name="connsiteX6" fmla="*/ 332423 w 349567"/>
                  <a:gd name="connsiteY6" fmla="*/ 207645 h 269557"/>
                  <a:gd name="connsiteX7" fmla="*/ 331470 w 349567"/>
                  <a:gd name="connsiteY7" fmla="*/ 206692 h 269557"/>
                  <a:gd name="connsiteX8" fmla="*/ 337185 w 349567"/>
                  <a:gd name="connsiteY8" fmla="*/ 202883 h 269557"/>
                  <a:gd name="connsiteX9" fmla="*/ 337185 w 349567"/>
                  <a:gd name="connsiteY9" fmla="*/ 202883 h 269557"/>
                  <a:gd name="connsiteX10" fmla="*/ 336233 w 349567"/>
                  <a:gd name="connsiteY10" fmla="*/ 201930 h 269557"/>
                  <a:gd name="connsiteX11" fmla="*/ 320040 w 349567"/>
                  <a:gd name="connsiteY11" fmla="*/ 210503 h 269557"/>
                  <a:gd name="connsiteX12" fmla="*/ 317183 w 349567"/>
                  <a:gd name="connsiteY12" fmla="*/ 209550 h 269557"/>
                  <a:gd name="connsiteX13" fmla="*/ 296228 w 349567"/>
                  <a:gd name="connsiteY13" fmla="*/ 221933 h 269557"/>
                  <a:gd name="connsiteX14" fmla="*/ 296228 w 349567"/>
                  <a:gd name="connsiteY14" fmla="*/ 220980 h 269557"/>
                  <a:gd name="connsiteX15" fmla="*/ 286703 w 349567"/>
                  <a:gd name="connsiteY15" fmla="*/ 224790 h 269557"/>
                  <a:gd name="connsiteX16" fmla="*/ 274320 w 349567"/>
                  <a:gd name="connsiteY16" fmla="*/ 225742 h 269557"/>
                  <a:gd name="connsiteX17" fmla="*/ 256223 w 349567"/>
                  <a:gd name="connsiteY17" fmla="*/ 228600 h 269557"/>
                  <a:gd name="connsiteX18" fmla="*/ 255270 w 349567"/>
                  <a:gd name="connsiteY18" fmla="*/ 228600 h 269557"/>
                  <a:gd name="connsiteX19" fmla="*/ 245745 w 349567"/>
                  <a:gd name="connsiteY19" fmla="*/ 232410 h 269557"/>
                  <a:gd name="connsiteX20" fmla="*/ 245745 w 349567"/>
                  <a:gd name="connsiteY20" fmla="*/ 232410 h 269557"/>
                  <a:gd name="connsiteX21" fmla="*/ 244792 w 349567"/>
                  <a:gd name="connsiteY21" fmla="*/ 233363 h 269557"/>
                  <a:gd name="connsiteX22" fmla="*/ 240983 w 349567"/>
                  <a:gd name="connsiteY22" fmla="*/ 236220 h 269557"/>
                  <a:gd name="connsiteX23" fmla="*/ 232410 w 349567"/>
                  <a:gd name="connsiteY23" fmla="*/ 242888 h 269557"/>
                  <a:gd name="connsiteX24" fmla="*/ 231458 w 349567"/>
                  <a:gd name="connsiteY24" fmla="*/ 242888 h 269557"/>
                  <a:gd name="connsiteX25" fmla="*/ 222885 w 349567"/>
                  <a:gd name="connsiteY25" fmla="*/ 250508 h 269557"/>
                  <a:gd name="connsiteX26" fmla="*/ 220980 w 349567"/>
                  <a:gd name="connsiteY26" fmla="*/ 250508 h 269557"/>
                  <a:gd name="connsiteX27" fmla="*/ 220980 w 349567"/>
                  <a:gd name="connsiteY27" fmla="*/ 250508 h 269557"/>
                  <a:gd name="connsiteX28" fmla="*/ 220980 w 349567"/>
                  <a:gd name="connsiteY28" fmla="*/ 249555 h 269557"/>
                  <a:gd name="connsiteX29" fmla="*/ 221933 w 349567"/>
                  <a:gd name="connsiteY29" fmla="*/ 247650 h 269557"/>
                  <a:gd name="connsiteX30" fmla="*/ 223838 w 349567"/>
                  <a:gd name="connsiteY30" fmla="*/ 245745 h 269557"/>
                  <a:gd name="connsiteX31" fmla="*/ 225742 w 349567"/>
                  <a:gd name="connsiteY31" fmla="*/ 242888 h 269557"/>
                  <a:gd name="connsiteX32" fmla="*/ 225742 w 349567"/>
                  <a:gd name="connsiteY32" fmla="*/ 241935 h 269557"/>
                  <a:gd name="connsiteX33" fmla="*/ 224790 w 349567"/>
                  <a:gd name="connsiteY33" fmla="*/ 241935 h 269557"/>
                  <a:gd name="connsiteX34" fmla="*/ 233363 w 349567"/>
                  <a:gd name="connsiteY34" fmla="*/ 235267 h 269557"/>
                  <a:gd name="connsiteX35" fmla="*/ 233363 w 349567"/>
                  <a:gd name="connsiteY35" fmla="*/ 235267 h 269557"/>
                  <a:gd name="connsiteX36" fmla="*/ 232410 w 349567"/>
                  <a:gd name="connsiteY36" fmla="*/ 234315 h 269557"/>
                  <a:gd name="connsiteX37" fmla="*/ 233363 w 349567"/>
                  <a:gd name="connsiteY37" fmla="*/ 233363 h 269557"/>
                  <a:gd name="connsiteX38" fmla="*/ 233363 w 349567"/>
                  <a:gd name="connsiteY38" fmla="*/ 233363 h 269557"/>
                  <a:gd name="connsiteX39" fmla="*/ 233363 w 349567"/>
                  <a:gd name="connsiteY39" fmla="*/ 233363 h 269557"/>
                  <a:gd name="connsiteX40" fmla="*/ 233363 w 349567"/>
                  <a:gd name="connsiteY40" fmla="*/ 234315 h 269557"/>
                  <a:gd name="connsiteX41" fmla="*/ 229553 w 349567"/>
                  <a:gd name="connsiteY41" fmla="*/ 237173 h 269557"/>
                  <a:gd name="connsiteX42" fmla="*/ 228600 w 349567"/>
                  <a:gd name="connsiteY42" fmla="*/ 237173 h 269557"/>
                  <a:gd name="connsiteX43" fmla="*/ 227648 w 349567"/>
                  <a:gd name="connsiteY43" fmla="*/ 237173 h 269557"/>
                  <a:gd name="connsiteX44" fmla="*/ 227648 w 349567"/>
                  <a:gd name="connsiteY44" fmla="*/ 237173 h 269557"/>
                  <a:gd name="connsiteX45" fmla="*/ 227648 w 349567"/>
                  <a:gd name="connsiteY45" fmla="*/ 237173 h 269557"/>
                  <a:gd name="connsiteX46" fmla="*/ 227648 w 349567"/>
                  <a:gd name="connsiteY46" fmla="*/ 237173 h 269557"/>
                  <a:gd name="connsiteX47" fmla="*/ 227648 w 349567"/>
                  <a:gd name="connsiteY47" fmla="*/ 237173 h 269557"/>
                  <a:gd name="connsiteX48" fmla="*/ 227648 w 349567"/>
                  <a:gd name="connsiteY48" fmla="*/ 237173 h 269557"/>
                  <a:gd name="connsiteX49" fmla="*/ 227648 w 349567"/>
                  <a:gd name="connsiteY49" fmla="*/ 237173 h 269557"/>
                  <a:gd name="connsiteX50" fmla="*/ 227648 w 349567"/>
                  <a:gd name="connsiteY50" fmla="*/ 236220 h 269557"/>
                  <a:gd name="connsiteX51" fmla="*/ 227648 w 349567"/>
                  <a:gd name="connsiteY51" fmla="*/ 236220 h 269557"/>
                  <a:gd name="connsiteX52" fmla="*/ 228600 w 349567"/>
                  <a:gd name="connsiteY52" fmla="*/ 235267 h 269557"/>
                  <a:gd name="connsiteX53" fmla="*/ 228600 w 349567"/>
                  <a:gd name="connsiteY53" fmla="*/ 234315 h 269557"/>
                  <a:gd name="connsiteX54" fmla="*/ 229553 w 349567"/>
                  <a:gd name="connsiteY54" fmla="*/ 233363 h 269557"/>
                  <a:gd name="connsiteX55" fmla="*/ 229553 w 349567"/>
                  <a:gd name="connsiteY55" fmla="*/ 232410 h 269557"/>
                  <a:gd name="connsiteX56" fmla="*/ 233363 w 349567"/>
                  <a:gd name="connsiteY56" fmla="*/ 229553 h 269557"/>
                  <a:gd name="connsiteX57" fmla="*/ 233363 w 349567"/>
                  <a:gd name="connsiteY57" fmla="*/ 229553 h 269557"/>
                  <a:gd name="connsiteX58" fmla="*/ 239078 w 349567"/>
                  <a:gd name="connsiteY58" fmla="*/ 226695 h 269557"/>
                  <a:gd name="connsiteX59" fmla="*/ 240030 w 349567"/>
                  <a:gd name="connsiteY59" fmla="*/ 225742 h 269557"/>
                  <a:gd name="connsiteX60" fmla="*/ 231458 w 349567"/>
                  <a:gd name="connsiteY60" fmla="*/ 229553 h 269557"/>
                  <a:gd name="connsiteX61" fmla="*/ 230505 w 349567"/>
                  <a:gd name="connsiteY61" fmla="*/ 229553 h 269557"/>
                  <a:gd name="connsiteX62" fmla="*/ 229553 w 349567"/>
                  <a:gd name="connsiteY62" fmla="*/ 229553 h 269557"/>
                  <a:gd name="connsiteX63" fmla="*/ 229553 w 349567"/>
                  <a:gd name="connsiteY63" fmla="*/ 229553 h 269557"/>
                  <a:gd name="connsiteX64" fmla="*/ 232410 w 349567"/>
                  <a:gd name="connsiteY64" fmla="*/ 226695 h 269557"/>
                  <a:gd name="connsiteX65" fmla="*/ 233363 w 349567"/>
                  <a:gd name="connsiteY65" fmla="*/ 227648 h 269557"/>
                  <a:gd name="connsiteX66" fmla="*/ 291465 w 349567"/>
                  <a:gd name="connsiteY66" fmla="*/ 211455 h 269557"/>
                  <a:gd name="connsiteX67" fmla="*/ 296228 w 349567"/>
                  <a:gd name="connsiteY67" fmla="*/ 208598 h 269557"/>
                  <a:gd name="connsiteX68" fmla="*/ 303848 w 349567"/>
                  <a:gd name="connsiteY68" fmla="*/ 203835 h 269557"/>
                  <a:gd name="connsiteX69" fmla="*/ 312420 w 349567"/>
                  <a:gd name="connsiteY69" fmla="*/ 192405 h 269557"/>
                  <a:gd name="connsiteX70" fmla="*/ 311468 w 349567"/>
                  <a:gd name="connsiteY70" fmla="*/ 191453 h 269557"/>
                  <a:gd name="connsiteX71" fmla="*/ 288608 w 349567"/>
                  <a:gd name="connsiteY71" fmla="*/ 208598 h 269557"/>
                  <a:gd name="connsiteX72" fmla="*/ 255270 w 349567"/>
                  <a:gd name="connsiteY72" fmla="*/ 214313 h 269557"/>
                  <a:gd name="connsiteX73" fmla="*/ 258128 w 349567"/>
                  <a:gd name="connsiteY73" fmla="*/ 213360 h 269557"/>
                  <a:gd name="connsiteX74" fmla="*/ 260033 w 349567"/>
                  <a:gd name="connsiteY74" fmla="*/ 210503 h 269557"/>
                  <a:gd name="connsiteX75" fmla="*/ 261938 w 349567"/>
                  <a:gd name="connsiteY75" fmla="*/ 210503 h 269557"/>
                  <a:gd name="connsiteX76" fmla="*/ 262890 w 349567"/>
                  <a:gd name="connsiteY76" fmla="*/ 209550 h 269557"/>
                  <a:gd name="connsiteX77" fmla="*/ 264795 w 349567"/>
                  <a:gd name="connsiteY77" fmla="*/ 208598 h 269557"/>
                  <a:gd name="connsiteX78" fmla="*/ 257175 w 349567"/>
                  <a:gd name="connsiteY78" fmla="*/ 208598 h 269557"/>
                  <a:gd name="connsiteX79" fmla="*/ 259080 w 349567"/>
                  <a:gd name="connsiteY79" fmla="*/ 205740 h 269557"/>
                  <a:gd name="connsiteX80" fmla="*/ 260985 w 349567"/>
                  <a:gd name="connsiteY80" fmla="*/ 205740 h 269557"/>
                  <a:gd name="connsiteX81" fmla="*/ 261938 w 349567"/>
                  <a:gd name="connsiteY81" fmla="*/ 203835 h 269557"/>
                  <a:gd name="connsiteX82" fmla="*/ 283845 w 349567"/>
                  <a:gd name="connsiteY82" fmla="*/ 191453 h 269557"/>
                  <a:gd name="connsiteX83" fmla="*/ 280035 w 349567"/>
                  <a:gd name="connsiteY83" fmla="*/ 192405 h 269557"/>
                  <a:gd name="connsiteX84" fmla="*/ 280988 w 349567"/>
                  <a:gd name="connsiteY84" fmla="*/ 190500 h 269557"/>
                  <a:gd name="connsiteX85" fmla="*/ 297180 w 349567"/>
                  <a:gd name="connsiteY85" fmla="*/ 183833 h 269557"/>
                  <a:gd name="connsiteX86" fmla="*/ 291465 w 349567"/>
                  <a:gd name="connsiteY86" fmla="*/ 183833 h 269557"/>
                  <a:gd name="connsiteX87" fmla="*/ 294323 w 349567"/>
                  <a:gd name="connsiteY87" fmla="*/ 181928 h 269557"/>
                  <a:gd name="connsiteX88" fmla="*/ 294323 w 349567"/>
                  <a:gd name="connsiteY88" fmla="*/ 180023 h 269557"/>
                  <a:gd name="connsiteX89" fmla="*/ 295275 w 349567"/>
                  <a:gd name="connsiteY89" fmla="*/ 179070 h 269557"/>
                  <a:gd name="connsiteX90" fmla="*/ 294323 w 349567"/>
                  <a:gd name="connsiteY90" fmla="*/ 178117 h 269557"/>
                  <a:gd name="connsiteX91" fmla="*/ 297180 w 349567"/>
                  <a:gd name="connsiteY91" fmla="*/ 176213 h 269557"/>
                  <a:gd name="connsiteX92" fmla="*/ 295275 w 349567"/>
                  <a:gd name="connsiteY92" fmla="*/ 175260 h 269557"/>
                  <a:gd name="connsiteX93" fmla="*/ 301943 w 349567"/>
                  <a:gd name="connsiteY93" fmla="*/ 172403 h 269557"/>
                  <a:gd name="connsiteX94" fmla="*/ 300038 w 349567"/>
                  <a:gd name="connsiteY94" fmla="*/ 171450 h 269557"/>
                  <a:gd name="connsiteX95" fmla="*/ 300990 w 349567"/>
                  <a:gd name="connsiteY95" fmla="*/ 170498 h 269557"/>
                  <a:gd name="connsiteX96" fmla="*/ 300990 w 349567"/>
                  <a:gd name="connsiteY96" fmla="*/ 170498 h 269557"/>
                  <a:gd name="connsiteX97" fmla="*/ 300038 w 349567"/>
                  <a:gd name="connsiteY97" fmla="*/ 168592 h 269557"/>
                  <a:gd name="connsiteX98" fmla="*/ 304800 w 349567"/>
                  <a:gd name="connsiteY98" fmla="*/ 156210 h 269557"/>
                  <a:gd name="connsiteX99" fmla="*/ 303848 w 349567"/>
                  <a:gd name="connsiteY99" fmla="*/ 155258 h 269557"/>
                  <a:gd name="connsiteX100" fmla="*/ 282893 w 349567"/>
                  <a:gd name="connsiteY100" fmla="*/ 164783 h 269557"/>
                  <a:gd name="connsiteX101" fmla="*/ 280035 w 349567"/>
                  <a:gd name="connsiteY101" fmla="*/ 164783 h 269557"/>
                  <a:gd name="connsiteX102" fmla="*/ 271463 w 349567"/>
                  <a:gd name="connsiteY102" fmla="*/ 163830 h 269557"/>
                  <a:gd name="connsiteX103" fmla="*/ 266700 w 349567"/>
                  <a:gd name="connsiteY103" fmla="*/ 160020 h 269557"/>
                  <a:gd name="connsiteX104" fmla="*/ 254317 w 349567"/>
                  <a:gd name="connsiteY104" fmla="*/ 154305 h 269557"/>
                  <a:gd name="connsiteX105" fmla="*/ 215265 w 349567"/>
                  <a:gd name="connsiteY105" fmla="*/ 148590 h 269557"/>
                  <a:gd name="connsiteX106" fmla="*/ 233363 w 349567"/>
                  <a:gd name="connsiteY106" fmla="*/ 143828 h 269557"/>
                  <a:gd name="connsiteX107" fmla="*/ 259080 w 349567"/>
                  <a:gd name="connsiteY107" fmla="*/ 139065 h 269557"/>
                  <a:gd name="connsiteX108" fmla="*/ 254317 w 349567"/>
                  <a:gd name="connsiteY108" fmla="*/ 139065 h 269557"/>
                  <a:gd name="connsiteX109" fmla="*/ 232410 w 349567"/>
                  <a:gd name="connsiteY109" fmla="*/ 141923 h 269557"/>
                  <a:gd name="connsiteX110" fmla="*/ 217170 w 349567"/>
                  <a:gd name="connsiteY110" fmla="*/ 145733 h 269557"/>
                  <a:gd name="connsiteX111" fmla="*/ 208598 w 349567"/>
                  <a:gd name="connsiteY111" fmla="*/ 149542 h 269557"/>
                  <a:gd name="connsiteX112" fmla="*/ 208598 w 349567"/>
                  <a:gd name="connsiteY112" fmla="*/ 147638 h 269557"/>
                  <a:gd name="connsiteX113" fmla="*/ 227648 w 349567"/>
                  <a:gd name="connsiteY113" fmla="*/ 135255 h 269557"/>
                  <a:gd name="connsiteX114" fmla="*/ 254317 w 349567"/>
                  <a:gd name="connsiteY114" fmla="*/ 136208 h 269557"/>
                  <a:gd name="connsiteX115" fmla="*/ 273368 w 349567"/>
                  <a:gd name="connsiteY115" fmla="*/ 140017 h 269557"/>
                  <a:gd name="connsiteX116" fmla="*/ 278130 w 349567"/>
                  <a:gd name="connsiteY116" fmla="*/ 144780 h 269557"/>
                  <a:gd name="connsiteX117" fmla="*/ 287655 w 349567"/>
                  <a:gd name="connsiteY117" fmla="*/ 146685 h 269557"/>
                  <a:gd name="connsiteX118" fmla="*/ 287655 w 349567"/>
                  <a:gd name="connsiteY118" fmla="*/ 143828 h 269557"/>
                  <a:gd name="connsiteX119" fmla="*/ 294323 w 349567"/>
                  <a:gd name="connsiteY119" fmla="*/ 142875 h 269557"/>
                  <a:gd name="connsiteX120" fmla="*/ 288608 w 349567"/>
                  <a:gd name="connsiteY120" fmla="*/ 132398 h 269557"/>
                  <a:gd name="connsiteX121" fmla="*/ 289560 w 349567"/>
                  <a:gd name="connsiteY121" fmla="*/ 131445 h 269557"/>
                  <a:gd name="connsiteX122" fmla="*/ 301943 w 349567"/>
                  <a:gd name="connsiteY122" fmla="*/ 141923 h 269557"/>
                  <a:gd name="connsiteX123" fmla="*/ 309563 w 349567"/>
                  <a:gd name="connsiteY123" fmla="*/ 140970 h 269557"/>
                  <a:gd name="connsiteX124" fmla="*/ 298133 w 349567"/>
                  <a:gd name="connsiteY124" fmla="*/ 125730 h 269557"/>
                  <a:gd name="connsiteX125" fmla="*/ 298133 w 349567"/>
                  <a:gd name="connsiteY125" fmla="*/ 123825 h 269557"/>
                  <a:gd name="connsiteX126" fmla="*/ 296228 w 349567"/>
                  <a:gd name="connsiteY126" fmla="*/ 122873 h 269557"/>
                  <a:gd name="connsiteX127" fmla="*/ 296228 w 349567"/>
                  <a:gd name="connsiteY127" fmla="*/ 120015 h 269557"/>
                  <a:gd name="connsiteX128" fmla="*/ 293370 w 349567"/>
                  <a:gd name="connsiteY128" fmla="*/ 115253 h 269557"/>
                  <a:gd name="connsiteX129" fmla="*/ 291465 w 349567"/>
                  <a:gd name="connsiteY129" fmla="*/ 105728 h 269557"/>
                  <a:gd name="connsiteX130" fmla="*/ 290513 w 349567"/>
                  <a:gd name="connsiteY130" fmla="*/ 98108 h 269557"/>
                  <a:gd name="connsiteX131" fmla="*/ 285750 w 349567"/>
                  <a:gd name="connsiteY131" fmla="*/ 73342 h 269557"/>
                  <a:gd name="connsiteX132" fmla="*/ 296228 w 349567"/>
                  <a:gd name="connsiteY132" fmla="*/ 47625 h 269557"/>
                  <a:gd name="connsiteX133" fmla="*/ 310515 w 349567"/>
                  <a:gd name="connsiteY133" fmla="*/ 31433 h 269557"/>
                  <a:gd name="connsiteX134" fmla="*/ 320040 w 349567"/>
                  <a:gd name="connsiteY134" fmla="*/ 15240 h 269557"/>
                  <a:gd name="connsiteX135" fmla="*/ 336233 w 349567"/>
                  <a:gd name="connsiteY135" fmla="*/ 4763 h 269557"/>
                  <a:gd name="connsiteX136" fmla="*/ 349568 w 349567"/>
                  <a:gd name="connsiteY136" fmla="*/ 0 h 269557"/>
                  <a:gd name="connsiteX137" fmla="*/ 0 w 349567"/>
                  <a:gd name="connsiteY137" fmla="*/ 0 h 269557"/>
                  <a:gd name="connsiteX138" fmla="*/ 0 w 349567"/>
                  <a:gd name="connsiteY138" fmla="*/ 269558 h 269557"/>
                  <a:gd name="connsiteX139" fmla="*/ 247650 w 349567"/>
                  <a:gd name="connsiteY139" fmla="*/ 269558 h 269557"/>
                  <a:gd name="connsiteX140" fmla="*/ 280988 w 349567"/>
                  <a:gd name="connsiteY140" fmla="*/ 252413 h 269557"/>
                  <a:gd name="connsiteX141" fmla="*/ 306705 w 349567"/>
                  <a:gd name="connsiteY141" fmla="*/ 237173 h 269557"/>
                  <a:gd name="connsiteX142" fmla="*/ 227648 w 349567"/>
                  <a:gd name="connsiteY142" fmla="*/ 200978 h 269557"/>
                  <a:gd name="connsiteX143" fmla="*/ 224790 w 349567"/>
                  <a:gd name="connsiteY143" fmla="*/ 200025 h 269557"/>
                  <a:gd name="connsiteX144" fmla="*/ 230505 w 349567"/>
                  <a:gd name="connsiteY144" fmla="*/ 196215 h 269557"/>
                  <a:gd name="connsiteX145" fmla="*/ 234315 w 349567"/>
                  <a:gd name="connsiteY145" fmla="*/ 195263 h 269557"/>
                  <a:gd name="connsiteX146" fmla="*/ 238125 w 349567"/>
                  <a:gd name="connsiteY146" fmla="*/ 197167 h 269557"/>
                  <a:gd name="connsiteX147" fmla="*/ 227648 w 349567"/>
                  <a:gd name="connsiteY147" fmla="*/ 200978 h 269557"/>
                  <a:gd name="connsiteX148" fmla="*/ 149542 w 349567"/>
                  <a:gd name="connsiteY148" fmla="*/ 189548 h 269557"/>
                  <a:gd name="connsiteX149" fmla="*/ 148590 w 349567"/>
                  <a:gd name="connsiteY149" fmla="*/ 188595 h 269557"/>
                  <a:gd name="connsiteX150" fmla="*/ 164783 w 349567"/>
                  <a:gd name="connsiteY150" fmla="*/ 162878 h 269557"/>
                  <a:gd name="connsiteX151" fmla="*/ 181928 w 349567"/>
                  <a:gd name="connsiteY151" fmla="*/ 148590 h 269557"/>
                  <a:gd name="connsiteX152" fmla="*/ 210503 w 349567"/>
                  <a:gd name="connsiteY152" fmla="*/ 125730 h 269557"/>
                  <a:gd name="connsiteX153" fmla="*/ 223838 w 349567"/>
                  <a:gd name="connsiteY153" fmla="*/ 126683 h 269557"/>
                  <a:gd name="connsiteX154" fmla="*/ 218123 w 349567"/>
                  <a:gd name="connsiteY154" fmla="*/ 129540 h 269557"/>
                  <a:gd name="connsiteX155" fmla="*/ 216217 w 349567"/>
                  <a:gd name="connsiteY155" fmla="*/ 128588 h 269557"/>
                  <a:gd name="connsiteX156" fmla="*/ 217170 w 349567"/>
                  <a:gd name="connsiteY156" fmla="*/ 126683 h 269557"/>
                  <a:gd name="connsiteX157" fmla="*/ 200978 w 349567"/>
                  <a:gd name="connsiteY157" fmla="*/ 141923 h 269557"/>
                  <a:gd name="connsiteX158" fmla="*/ 189548 w 349567"/>
                  <a:gd name="connsiteY158" fmla="*/ 155258 h 269557"/>
                  <a:gd name="connsiteX159" fmla="*/ 188595 w 349567"/>
                  <a:gd name="connsiteY159" fmla="*/ 154305 h 269557"/>
                  <a:gd name="connsiteX160" fmla="*/ 149542 w 349567"/>
                  <a:gd name="connsiteY160" fmla="*/ 189548 h 269557"/>
                  <a:gd name="connsiteX161" fmla="*/ 192405 w 349567"/>
                  <a:gd name="connsiteY161" fmla="*/ 156210 h 269557"/>
                  <a:gd name="connsiteX162" fmla="*/ 190500 w 349567"/>
                  <a:gd name="connsiteY162" fmla="*/ 158115 h 269557"/>
                  <a:gd name="connsiteX163" fmla="*/ 188595 w 349567"/>
                  <a:gd name="connsiteY163" fmla="*/ 160020 h 269557"/>
                  <a:gd name="connsiteX164" fmla="*/ 187642 w 349567"/>
                  <a:gd name="connsiteY164" fmla="*/ 159067 h 269557"/>
                  <a:gd name="connsiteX165" fmla="*/ 191453 w 349567"/>
                  <a:gd name="connsiteY165" fmla="*/ 154305 h 269557"/>
                  <a:gd name="connsiteX166" fmla="*/ 192405 w 349567"/>
                  <a:gd name="connsiteY166" fmla="*/ 156210 h 269557"/>
                  <a:gd name="connsiteX167" fmla="*/ 216217 w 349567"/>
                  <a:gd name="connsiteY167" fmla="*/ 232410 h 269557"/>
                  <a:gd name="connsiteX168" fmla="*/ 215265 w 349567"/>
                  <a:gd name="connsiteY168" fmla="*/ 234315 h 269557"/>
                  <a:gd name="connsiteX169" fmla="*/ 216217 w 349567"/>
                  <a:gd name="connsiteY169" fmla="*/ 235267 h 269557"/>
                  <a:gd name="connsiteX170" fmla="*/ 212408 w 349567"/>
                  <a:gd name="connsiteY170" fmla="*/ 238125 h 269557"/>
                  <a:gd name="connsiteX171" fmla="*/ 211455 w 349567"/>
                  <a:gd name="connsiteY171" fmla="*/ 238125 h 269557"/>
                  <a:gd name="connsiteX172" fmla="*/ 209550 w 349567"/>
                  <a:gd name="connsiteY172" fmla="*/ 240030 h 269557"/>
                  <a:gd name="connsiteX173" fmla="*/ 206692 w 349567"/>
                  <a:gd name="connsiteY173" fmla="*/ 239078 h 269557"/>
                  <a:gd name="connsiteX174" fmla="*/ 210503 w 349567"/>
                  <a:gd name="connsiteY174" fmla="*/ 235267 h 269557"/>
                  <a:gd name="connsiteX175" fmla="*/ 212408 w 349567"/>
                  <a:gd name="connsiteY175" fmla="*/ 233363 h 269557"/>
                  <a:gd name="connsiteX176" fmla="*/ 213360 w 349567"/>
                  <a:gd name="connsiteY176" fmla="*/ 232410 h 269557"/>
                  <a:gd name="connsiteX177" fmla="*/ 216217 w 349567"/>
                  <a:gd name="connsiteY177" fmla="*/ 232410 h 269557"/>
                  <a:gd name="connsiteX178" fmla="*/ 206692 w 349567"/>
                  <a:gd name="connsiteY178" fmla="*/ 228600 h 269557"/>
                  <a:gd name="connsiteX179" fmla="*/ 206692 w 349567"/>
                  <a:gd name="connsiteY179" fmla="*/ 228600 h 269557"/>
                  <a:gd name="connsiteX180" fmla="*/ 200978 w 349567"/>
                  <a:gd name="connsiteY180" fmla="*/ 232410 h 269557"/>
                  <a:gd name="connsiteX181" fmla="*/ 194310 w 349567"/>
                  <a:gd name="connsiteY181" fmla="*/ 235267 h 269557"/>
                  <a:gd name="connsiteX182" fmla="*/ 194310 w 349567"/>
                  <a:gd name="connsiteY182" fmla="*/ 235267 h 269557"/>
                  <a:gd name="connsiteX183" fmla="*/ 193358 w 349567"/>
                  <a:gd name="connsiteY183" fmla="*/ 235267 h 269557"/>
                  <a:gd name="connsiteX184" fmla="*/ 188595 w 349567"/>
                  <a:gd name="connsiteY184" fmla="*/ 239078 h 269557"/>
                  <a:gd name="connsiteX185" fmla="*/ 187642 w 349567"/>
                  <a:gd name="connsiteY185" fmla="*/ 240030 h 269557"/>
                  <a:gd name="connsiteX186" fmla="*/ 187642 w 349567"/>
                  <a:gd name="connsiteY186" fmla="*/ 240030 h 269557"/>
                  <a:gd name="connsiteX187" fmla="*/ 187642 w 349567"/>
                  <a:gd name="connsiteY187" fmla="*/ 240030 h 269557"/>
                  <a:gd name="connsiteX188" fmla="*/ 186690 w 349567"/>
                  <a:gd name="connsiteY188" fmla="*/ 240983 h 269557"/>
                  <a:gd name="connsiteX189" fmla="*/ 186690 w 349567"/>
                  <a:gd name="connsiteY189" fmla="*/ 240983 h 269557"/>
                  <a:gd name="connsiteX190" fmla="*/ 186690 w 349567"/>
                  <a:gd name="connsiteY190" fmla="*/ 240983 h 269557"/>
                  <a:gd name="connsiteX191" fmla="*/ 185738 w 349567"/>
                  <a:gd name="connsiteY191" fmla="*/ 241935 h 269557"/>
                  <a:gd name="connsiteX192" fmla="*/ 184785 w 349567"/>
                  <a:gd name="connsiteY192" fmla="*/ 242888 h 269557"/>
                  <a:gd name="connsiteX193" fmla="*/ 183833 w 349567"/>
                  <a:gd name="connsiteY193" fmla="*/ 242888 h 269557"/>
                  <a:gd name="connsiteX194" fmla="*/ 183833 w 349567"/>
                  <a:gd name="connsiteY194" fmla="*/ 242888 h 269557"/>
                  <a:gd name="connsiteX195" fmla="*/ 182880 w 349567"/>
                  <a:gd name="connsiteY195" fmla="*/ 242888 h 269557"/>
                  <a:gd name="connsiteX196" fmla="*/ 181928 w 349567"/>
                  <a:gd name="connsiteY196" fmla="*/ 242888 h 269557"/>
                  <a:gd name="connsiteX197" fmla="*/ 181928 w 349567"/>
                  <a:gd name="connsiteY197" fmla="*/ 242888 h 269557"/>
                  <a:gd name="connsiteX198" fmla="*/ 181928 w 349567"/>
                  <a:gd name="connsiteY198" fmla="*/ 242888 h 269557"/>
                  <a:gd name="connsiteX199" fmla="*/ 180023 w 349567"/>
                  <a:gd name="connsiteY199" fmla="*/ 244792 h 269557"/>
                  <a:gd name="connsiteX200" fmla="*/ 177165 w 349567"/>
                  <a:gd name="connsiteY200" fmla="*/ 247650 h 269557"/>
                  <a:gd name="connsiteX201" fmla="*/ 177165 w 349567"/>
                  <a:gd name="connsiteY201" fmla="*/ 247650 h 269557"/>
                  <a:gd name="connsiteX202" fmla="*/ 177165 w 349567"/>
                  <a:gd name="connsiteY202" fmla="*/ 247650 h 269557"/>
                  <a:gd name="connsiteX203" fmla="*/ 177165 w 349567"/>
                  <a:gd name="connsiteY203" fmla="*/ 247650 h 269557"/>
                  <a:gd name="connsiteX204" fmla="*/ 177165 w 349567"/>
                  <a:gd name="connsiteY204" fmla="*/ 247650 h 269557"/>
                  <a:gd name="connsiteX205" fmla="*/ 177165 w 349567"/>
                  <a:gd name="connsiteY205" fmla="*/ 247650 h 269557"/>
                  <a:gd name="connsiteX206" fmla="*/ 177165 w 349567"/>
                  <a:gd name="connsiteY206" fmla="*/ 248603 h 269557"/>
                  <a:gd name="connsiteX207" fmla="*/ 177165 w 349567"/>
                  <a:gd name="connsiteY207" fmla="*/ 248603 h 269557"/>
                  <a:gd name="connsiteX208" fmla="*/ 177165 w 349567"/>
                  <a:gd name="connsiteY208" fmla="*/ 248603 h 269557"/>
                  <a:gd name="connsiteX209" fmla="*/ 177165 w 349567"/>
                  <a:gd name="connsiteY209" fmla="*/ 248603 h 269557"/>
                  <a:gd name="connsiteX210" fmla="*/ 177165 w 349567"/>
                  <a:gd name="connsiteY210" fmla="*/ 248603 h 269557"/>
                  <a:gd name="connsiteX211" fmla="*/ 177165 w 349567"/>
                  <a:gd name="connsiteY211" fmla="*/ 247650 h 269557"/>
                  <a:gd name="connsiteX212" fmla="*/ 177165 w 349567"/>
                  <a:gd name="connsiteY212" fmla="*/ 247650 h 269557"/>
                  <a:gd name="connsiteX213" fmla="*/ 177165 w 349567"/>
                  <a:gd name="connsiteY213" fmla="*/ 247650 h 269557"/>
                  <a:gd name="connsiteX214" fmla="*/ 179070 w 349567"/>
                  <a:gd name="connsiteY214" fmla="*/ 245745 h 269557"/>
                  <a:gd name="connsiteX215" fmla="*/ 179070 w 349567"/>
                  <a:gd name="connsiteY215" fmla="*/ 245745 h 269557"/>
                  <a:gd name="connsiteX216" fmla="*/ 180023 w 349567"/>
                  <a:gd name="connsiteY216" fmla="*/ 244792 h 269557"/>
                  <a:gd name="connsiteX217" fmla="*/ 180975 w 349567"/>
                  <a:gd name="connsiteY217" fmla="*/ 243840 h 269557"/>
                  <a:gd name="connsiteX218" fmla="*/ 180975 w 349567"/>
                  <a:gd name="connsiteY218" fmla="*/ 243840 h 269557"/>
                  <a:gd name="connsiteX219" fmla="*/ 182880 w 349567"/>
                  <a:gd name="connsiteY219" fmla="*/ 241935 h 269557"/>
                  <a:gd name="connsiteX220" fmla="*/ 182880 w 349567"/>
                  <a:gd name="connsiteY220" fmla="*/ 241935 h 269557"/>
                  <a:gd name="connsiteX221" fmla="*/ 182880 w 349567"/>
                  <a:gd name="connsiteY221" fmla="*/ 241935 h 269557"/>
                  <a:gd name="connsiteX222" fmla="*/ 183833 w 349567"/>
                  <a:gd name="connsiteY222" fmla="*/ 240983 h 269557"/>
                  <a:gd name="connsiteX223" fmla="*/ 184785 w 349567"/>
                  <a:gd name="connsiteY223" fmla="*/ 240030 h 269557"/>
                  <a:gd name="connsiteX224" fmla="*/ 184785 w 349567"/>
                  <a:gd name="connsiteY224" fmla="*/ 240030 h 269557"/>
                  <a:gd name="connsiteX225" fmla="*/ 184785 w 349567"/>
                  <a:gd name="connsiteY225" fmla="*/ 240030 h 269557"/>
                  <a:gd name="connsiteX226" fmla="*/ 184785 w 349567"/>
                  <a:gd name="connsiteY226" fmla="*/ 240030 h 269557"/>
                  <a:gd name="connsiteX227" fmla="*/ 185738 w 349567"/>
                  <a:gd name="connsiteY227" fmla="*/ 239078 h 269557"/>
                  <a:gd name="connsiteX228" fmla="*/ 185738 w 349567"/>
                  <a:gd name="connsiteY228" fmla="*/ 239078 h 269557"/>
                  <a:gd name="connsiteX229" fmla="*/ 185738 w 349567"/>
                  <a:gd name="connsiteY229" fmla="*/ 239078 h 269557"/>
                  <a:gd name="connsiteX230" fmla="*/ 185738 w 349567"/>
                  <a:gd name="connsiteY230" fmla="*/ 238125 h 269557"/>
                  <a:gd name="connsiteX231" fmla="*/ 185738 w 349567"/>
                  <a:gd name="connsiteY231" fmla="*/ 238125 h 269557"/>
                  <a:gd name="connsiteX232" fmla="*/ 185738 w 349567"/>
                  <a:gd name="connsiteY232" fmla="*/ 237173 h 269557"/>
                  <a:gd name="connsiteX233" fmla="*/ 185738 w 349567"/>
                  <a:gd name="connsiteY233" fmla="*/ 237173 h 269557"/>
                  <a:gd name="connsiteX234" fmla="*/ 187642 w 349567"/>
                  <a:gd name="connsiteY234" fmla="*/ 234315 h 269557"/>
                  <a:gd name="connsiteX235" fmla="*/ 187642 w 349567"/>
                  <a:gd name="connsiteY235" fmla="*/ 234315 h 269557"/>
                  <a:gd name="connsiteX236" fmla="*/ 185738 w 349567"/>
                  <a:gd name="connsiteY236" fmla="*/ 236220 h 269557"/>
                  <a:gd name="connsiteX237" fmla="*/ 184785 w 349567"/>
                  <a:gd name="connsiteY237" fmla="*/ 235267 h 269557"/>
                  <a:gd name="connsiteX238" fmla="*/ 185738 w 349567"/>
                  <a:gd name="connsiteY238" fmla="*/ 234315 h 269557"/>
                  <a:gd name="connsiteX239" fmla="*/ 185738 w 349567"/>
                  <a:gd name="connsiteY239" fmla="*/ 234315 h 269557"/>
                  <a:gd name="connsiteX240" fmla="*/ 188595 w 349567"/>
                  <a:gd name="connsiteY240" fmla="*/ 231458 h 269557"/>
                  <a:gd name="connsiteX241" fmla="*/ 190500 w 349567"/>
                  <a:gd name="connsiteY241" fmla="*/ 230505 h 269557"/>
                  <a:gd name="connsiteX242" fmla="*/ 190500 w 349567"/>
                  <a:gd name="connsiteY242" fmla="*/ 230505 h 269557"/>
                  <a:gd name="connsiteX243" fmla="*/ 191453 w 349567"/>
                  <a:gd name="connsiteY243" fmla="*/ 229553 h 269557"/>
                  <a:gd name="connsiteX244" fmla="*/ 191453 w 349567"/>
                  <a:gd name="connsiteY244" fmla="*/ 229553 h 269557"/>
                  <a:gd name="connsiteX245" fmla="*/ 211455 w 349567"/>
                  <a:gd name="connsiteY245" fmla="*/ 221933 h 269557"/>
                  <a:gd name="connsiteX246" fmla="*/ 220028 w 349567"/>
                  <a:gd name="connsiteY246" fmla="*/ 221933 h 269557"/>
                  <a:gd name="connsiteX247" fmla="*/ 224790 w 349567"/>
                  <a:gd name="connsiteY247" fmla="*/ 222885 h 269557"/>
                  <a:gd name="connsiteX248" fmla="*/ 206692 w 349567"/>
                  <a:gd name="connsiteY248" fmla="*/ 228600 h 269557"/>
                  <a:gd name="connsiteX249" fmla="*/ 217170 w 349567"/>
                  <a:gd name="connsiteY249" fmla="*/ 193358 h 269557"/>
                  <a:gd name="connsiteX250" fmla="*/ 219075 w 349567"/>
                  <a:gd name="connsiteY250" fmla="*/ 192405 h 269557"/>
                  <a:gd name="connsiteX251" fmla="*/ 215265 w 349567"/>
                  <a:gd name="connsiteY251" fmla="*/ 192405 h 269557"/>
                  <a:gd name="connsiteX252" fmla="*/ 214313 w 349567"/>
                  <a:gd name="connsiteY252" fmla="*/ 191453 h 269557"/>
                  <a:gd name="connsiteX253" fmla="*/ 205740 w 349567"/>
                  <a:gd name="connsiteY253" fmla="*/ 193358 h 269557"/>
                  <a:gd name="connsiteX254" fmla="*/ 195263 w 349567"/>
                  <a:gd name="connsiteY254" fmla="*/ 198120 h 269557"/>
                  <a:gd name="connsiteX255" fmla="*/ 179070 w 349567"/>
                  <a:gd name="connsiteY255" fmla="*/ 206692 h 269557"/>
                  <a:gd name="connsiteX256" fmla="*/ 178117 w 349567"/>
                  <a:gd name="connsiteY256" fmla="*/ 205740 h 269557"/>
                  <a:gd name="connsiteX257" fmla="*/ 181928 w 349567"/>
                  <a:gd name="connsiteY257" fmla="*/ 201930 h 269557"/>
                  <a:gd name="connsiteX258" fmla="*/ 180975 w 349567"/>
                  <a:gd name="connsiteY258" fmla="*/ 200978 h 269557"/>
                  <a:gd name="connsiteX259" fmla="*/ 196215 w 349567"/>
                  <a:gd name="connsiteY259" fmla="*/ 187642 h 269557"/>
                  <a:gd name="connsiteX260" fmla="*/ 196215 w 349567"/>
                  <a:gd name="connsiteY260" fmla="*/ 185738 h 269557"/>
                  <a:gd name="connsiteX261" fmla="*/ 200978 w 349567"/>
                  <a:gd name="connsiteY261" fmla="*/ 180023 h 269557"/>
                  <a:gd name="connsiteX262" fmla="*/ 205740 w 349567"/>
                  <a:gd name="connsiteY262" fmla="*/ 175260 h 269557"/>
                  <a:gd name="connsiteX263" fmla="*/ 203835 w 349567"/>
                  <a:gd name="connsiteY263" fmla="*/ 173355 h 269557"/>
                  <a:gd name="connsiteX264" fmla="*/ 198120 w 349567"/>
                  <a:gd name="connsiteY264" fmla="*/ 172403 h 269557"/>
                  <a:gd name="connsiteX265" fmla="*/ 200978 w 349567"/>
                  <a:gd name="connsiteY265" fmla="*/ 170498 h 269557"/>
                  <a:gd name="connsiteX266" fmla="*/ 200025 w 349567"/>
                  <a:gd name="connsiteY266" fmla="*/ 169545 h 269557"/>
                  <a:gd name="connsiteX267" fmla="*/ 202883 w 349567"/>
                  <a:gd name="connsiteY267" fmla="*/ 166688 h 269557"/>
                  <a:gd name="connsiteX268" fmla="*/ 208598 w 349567"/>
                  <a:gd name="connsiteY268" fmla="*/ 164783 h 269557"/>
                  <a:gd name="connsiteX269" fmla="*/ 197167 w 349567"/>
                  <a:gd name="connsiteY269" fmla="*/ 163830 h 269557"/>
                  <a:gd name="connsiteX270" fmla="*/ 209550 w 349567"/>
                  <a:gd name="connsiteY270" fmla="*/ 148590 h 269557"/>
                  <a:gd name="connsiteX271" fmla="*/ 211455 w 349567"/>
                  <a:gd name="connsiteY271" fmla="*/ 149542 h 269557"/>
                  <a:gd name="connsiteX272" fmla="*/ 207645 w 349567"/>
                  <a:gd name="connsiteY272" fmla="*/ 154305 h 269557"/>
                  <a:gd name="connsiteX273" fmla="*/ 220028 w 349567"/>
                  <a:gd name="connsiteY273" fmla="*/ 157163 h 269557"/>
                  <a:gd name="connsiteX274" fmla="*/ 218123 w 349567"/>
                  <a:gd name="connsiteY274" fmla="*/ 158115 h 269557"/>
                  <a:gd name="connsiteX275" fmla="*/ 226695 w 349567"/>
                  <a:gd name="connsiteY275" fmla="*/ 160973 h 269557"/>
                  <a:gd name="connsiteX276" fmla="*/ 221933 w 349567"/>
                  <a:gd name="connsiteY276" fmla="*/ 160973 h 269557"/>
                  <a:gd name="connsiteX277" fmla="*/ 267653 w 349567"/>
                  <a:gd name="connsiteY277" fmla="*/ 179070 h 269557"/>
                  <a:gd name="connsiteX278" fmla="*/ 232410 w 349567"/>
                  <a:gd name="connsiteY278" fmla="*/ 189548 h 269557"/>
                  <a:gd name="connsiteX279" fmla="*/ 228600 w 349567"/>
                  <a:gd name="connsiteY279" fmla="*/ 188595 h 269557"/>
                  <a:gd name="connsiteX280" fmla="*/ 227648 w 349567"/>
                  <a:gd name="connsiteY280" fmla="*/ 190500 h 269557"/>
                  <a:gd name="connsiteX281" fmla="*/ 222885 w 349567"/>
                  <a:gd name="connsiteY281" fmla="*/ 191453 h 269557"/>
                  <a:gd name="connsiteX282" fmla="*/ 217170 w 349567"/>
                  <a:gd name="connsiteY282" fmla="*/ 193358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</a:cxnLst>
                <a:rect l="l" t="t" r="r" b="b"/>
                <a:pathLst>
                  <a:path w="349567" h="269557">
                    <a:moveTo>
                      <a:pt x="306705" y="237173"/>
                    </a:moveTo>
                    <a:cubicBezTo>
                      <a:pt x="309563" y="234315"/>
                      <a:pt x="312420" y="231458"/>
                      <a:pt x="315278" y="227648"/>
                    </a:cubicBezTo>
                    <a:lnTo>
                      <a:pt x="315278" y="227648"/>
                    </a:lnTo>
                    <a:cubicBezTo>
                      <a:pt x="320993" y="221933"/>
                      <a:pt x="325755" y="215265"/>
                      <a:pt x="332423" y="210503"/>
                    </a:cubicBezTo>
                    <a:cubicBezTo>
                      <a:pt x="334328" y="208598"/>
                      <a:pt x="336233" y="207645"/>
                      <a:pt x="338138" y="205740"/>
                    </a:cubicBezTo>
                    <a:cubicBezTo>
                      <a:pt x="339090" y="204788"/>
                      <a:pt x="339090" y="203835"/>
                      <a:pt x="339090" y="203835"/>
                    </a:cubicBezTo>
                    <a:cubicBezTo>
                      <a:pt x="336233" y="204788"/>
                      <a:pt x="335280" y="206692"/>
                      <a:pt x="332423" y="207645"/>
                    </a:cubicBezTo>
                    <a:cubicBezTo>
                      <a:pt x="331470" y="207645"/>
                      <a:pt x="331470" y="206692"/>
                      <a:pt x="331470" y="206692"/>
                    </a:cubicBezTo>
                    <a:cubicBezTo>
                      <a:pt x="333375" y="205740"/>
                      <a:pt x="335280" y="203835"/>
                      <a:pt x="337185" y="202883"/>
                    </a:cubicBezTo>
                    <a:cubicBezTo>
                      <a:pt x="337185" y="202883"/>
                      <a:pt x="337185" y="202883"/>
                      <a:pt x="337185" y="202883"/>
                    </a:cubicBezTo>
                    <a:cubicBezTo>
                      <a:pt x="336233" y="202883"/>
                      <a:pt x="336233" y="201930"/>
                      <a:pt x="336233" y="201930"/>
                    </a:cubicBezTo>
                    <a:cubicBezTo>
                      <a:pt x="329565" y="201930"/>
                      <a:pt x="324803" y="205740"/>
                      <a:pt x="320040" y="210503"/>
                    </a:cubicBezTo>
                    <a:cubicBezTo>
                      <a:pt x="319088" y="211455"/>
                      <a:pt x="318135" y="209550"/>
                      <a:pt x="317183" y="209550"/>
                    </a:cubicBezTo>
                    <a:cubicBezTo>
                      <a:pt x="309563" y="212408"/>
                      <a:pt x="303848" y="219075"/>
                      <a:pt x="296228" y="221933"/>
                    </a:cubicBezTo>
                    <a:lnTo>
                      <a:pt x="296228" y="220980"/>
                    </a:lnTo>
                    <a:cubicBezTo>
                      <a:pt x="293370" y="221933"/>
                      <a:pt x="290513" y="223838"/>
                      <a:pt x="286703" y="224790"/>
                    </a:cubicBezTo>
                    <a:cubicBezTo>
                      <a:pt x="281940" y="225742"/>
                      <a:pt x="278130" y="225742"/>
                      <a:pt x="274320" y="225742"/>
                    </a:cubicBezTo>
                    <a:cubicBezTo>
                      <a:pt x="268605" y="226695"/>
                      <a:pt x="261938" y="227648"/>
                      <a:pt x="256223" y="228600"/>
                    </a:cubicBezTo>
                    <a:cubicBezTo>
                      <a:pt x="256223" y="228600"/>
                      <a:pt x="256223" y="228600"/>
                      <a:pt x="255270" y="228600"/>
                    </a:cubicBezTo>
                    <a:cubicBezTo>
                      <a:pt x="252413" y="229553"/>
                      <a:pt x="248603" y="230505"/>
                      <a:pt x="245745" y="232410"/>
                    </a:cubicBezTo>
                    <a:cubicBezTo>
                      <a:pt x="245745" y="232410"/>
                      <a:pt x="245745" y="232410"/>
                      <a:pt x="245745" y="232410"/>
                    </a:cubicBezTo>
                    <a:cubicBezTo>
                      <a:pt x="245745" y="232410"/>
                      <a:pt x="244792" y="233363"/>
                      <a:pt x="244792" y="233363"/>
                    </a:cubicBezTo>
                    <a:cubicBezTo>
                      <a:pt x="243840" y="234315"/>
                      <a:pt x="242888" y="235267"/>
                      <a:pt x="240983" y="236220"/>
                    </a:cubicBezTo>
                    <a:cubicBezTo>
                      <a:pt x="238125" y="238125"/>
                      <a:pt x="235267" y="240983"/>
                      <a:pt x="232410" y="242888"/>
                    </a:cubicBezTo>
                    <a:cubicBezTo>
                      <a:pt x="232410" y="242888"/>
                      <a:pt x="231458" y="242888"/>
                      <a:pt x="231458" y="242888"/>
                    </a:cubicBezTo>
                    <a:cubicBezTo>
                      <a:pt x="228600" y="245745"/>
                      <a:pt x="225742" y="248603"/>
                      <a:pt x="222885" y="250508"/>
                    </a:cubicBezTo>
                    <a:cubicBezTo>
                      <a:pt x="222885" y="250508"/>
                      <a:pt x="221933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49555"/>
                    </a:cubicBezTo>
                    <a:cubicBezTo>
                      <a:pt x="220980" y="248603"/>
                      <a:pt x="221933" y="247650"/>
                      <a:pt x="221933" y="247650"/>
                    </a:cubicBezTo>
                    <a:cubicBezTo>
                      <a:pt x="222885" y="246698"/>
                      <a:pt x="222885" y="245745"/>
                      <a:pt x="223838" y="245745"/>
                    </a:cubicBezTo>
                    <a:cubicBezTo>
                      <a:pt x="224790" y="244792"/>
                      <a:pt x="224790" y="243840"/>
                      <a:pt x="225742" y="242888"/>
                    </a:cubicBezTo>
                    <a:cubicBezTo>
                      <a:pt x="225742" y="242888"/>
                      <a:pt x="225742" y="241935"/>
                      <a:pt x="225742" y="241935"/>
                    </a:cubicBezTo>
                    <a:cubicBezTo>
                      <a:pt x="225742" y="241935"/>
                      <a:pt x="225742" y="241935"/>
                      <a:pt x="224790" y="241935"/>
                    </a:cubicBezTo>
                    <a:cubicBezTo>
                      <a:pt x="227648" y="239078"/>
                      <a:pt x="230505" y="237173"/>
                      <a:pt x="233363" y="235267"/>
                    </a:cubicBezTo>
                    <a:lnTo>
                      <a:pt x="233363" y="235267"/>
                    </a:lnTo>
                    <a:cubicBezTo>
                      <a:pt x="233363" y="235267"/>
                      <a:pt x="232410" y="235267"/>
                      <a:pt x="232410" y="234315"/>
                    </a:cubicBezTo>
                    <a:cubicBezTo>
                      <a:pt x="232410" y="234315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4315" y="233363"/>
                      <a:pt x="233363" y="234315"/>
                      <a:pt x="233363" y="234315"/>
                    </a:cubicBezTo>
                    <a:cubicBezTo>
                      <a:pt x="232410" y="235267"/>
                      <a:pt x="231458" y="238125"/>
                      <a:pt x="229553" y="237173"/>
                    </a:cubicBezTo>
                    <a:cubicBezTo>
                      <a:pt x="229553" y="237173"/>
                      <a:pt x="228600" y="237173"/>
                      <a:pt x="228600" y="237173"/>
                    </a:cubicBezTo>
                    <a:cubicBezTo>
                      <a:pt x="228600" y="237173"/>
                      <a:pt x="228600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6220"/>
                    </a:cubicBezTo>
                    <a:cubicBezTo>
                      <a:pt x="227648" y="236220"/>
                      <a:pt x="227648" y="236220"/>
                      <a:pt x="227648" y="236220"/>
                    </a:cubicBezTo>
                    <a:cubicBezTo>
                      <a:pt x="227648" y="236220"/>
                      <a:pt x="227648" y="235267"/>
                      <a:pt x="228600" y="235267"/>
                    </a:cubicBezTo>
                    <a:cubicBezTo>
                      <a:pt x="228600" y="235267"/>
                      <a:pt x="228600" y="235267"/>
                      <a:pt x="228600" y="234315"/>
                    </a:cubicBezTo>
                    <a:cubicBezTo>
                      <a:pt x="228600" y="234315"/>
                      <a:pt x="228600" y="233363"/>
                      <a:pt x="229553" y="233363"/>
                    </a:cubicBezTo>
                    <a:cubicBezTo>
                      <a:pt x="229553" y="233363"/>
                      <a:pt x="229553" y="232410"/>
                      <a:pt x="229553" y="232410"/>
                    </a:cubicBezTo>
                    <a:cubicBezTo>
                      <a:pt x="230505" y="231458"/>
                      <a:pt x="231458" y="230505"/>
                      <a:pt x="233363" y="229553"/>
                    </a:cubicBezTo>
                    <a:lnTo>
                      <a:pt x="233363" y="229553"/>
                    </a:lnTo>
                    <a:cubicBezTo>
                      <a:pt x="235267" y="228600"/>
                      <a:pt x="237173" y="227648"/>
                      <a:pt x="239078" y="226695"/>
                    </a:cubicBezTo>
                    <a:cubicBezTo>
                      <a:pt x="239078" y="226695"/>
                      <a:pt x="240030" y="225742"/>
                      <a:pt x="240030" y="225742"/>
                    </a:cubicBezTo>
                    <a:cubicBezTo>
                      <a:pt x="237173" y="226695"/>
                      <a:pt x="234315" y="227648"/>
                      <a:pt x="231458" y="229553"/>
                    </a:cubicBezTo>
                    <a:cubicBezTo>
                      <a:pt x="231458" y="229553"/>
                      <a:pt x="230505" y="229553"/>
                      <a:pt x="230505" y="229553"/>
                    </a:cubicBezTo>
                    <a:cubicBezTo>
                      <a:pt x="230505" y="229553"/>
                      <a:pt x="229553" y="229553"/>
                      <a:pt x="229553" y="229553"/>
                    </a:cubicBezTo>
                    <a:cubicBezTo>
                      <a:pt x="229553" y="229553"/>
                      <a:pt x="229553" y="229553"/>
                      <a:pt x="229553" y="229553"/>
                    </a:cubicBezTo>
                    <a:cubicBezTo>
                      <a:pt x="230505" y="228600"/>
                      <a:pt x="231458" y="227648"/>
                      <a:pt x="232410" y="226695"/>
                    </a:cubicBezTo>
                    <a:cubicBezTo>
                      <a:pt x="233363" y="226695"/>
                      <a:pt x="233363" y="226695"/>
                      <a:pt x="233363" y="227648"/>
                    </a:cubicBezTo>
                    <a:cubicBezTo>
                      <a:pt x="249555" y="215265"/>
                      <a:pt x="272415" y="218123"/>
                      <a:pt x="291465" y="211455"/>
                    </a:cubicBezTo>
                    <a:cubicBezTo>
                      <a:pt x="293370" y="210503"/>
                      <a:pt x="294323" y="209550"/>
                      <a:pt x="296228" y="208598"/>
                    </a:cubicBezTo>
                    <a:cubicBezTo>
                      <a:pt x="299085" y="207645"/>
                      <a:pt x="300990" y="204788"/>
                      <a:pt x="303848" y="203835"/>
                    </a:cubicBezTo>
                    <a:cubicBezTo>
                      <a:pt x="307658" y="200978"/>
                      <a:pt x="310515" y="197167"/>
                      <a:pt x="312420" y="192405"/>
                    </a:cubicBezTo>
                    <a:cubicBezTo>
                      <a:pt x="312420" y="191453"/>
                      <a:pt x="311468" y="191453"/>
                      <a:pt x="311468" y="191453"/>
                    </a:cubicBezTo>
                    <a:cubicBezTo>
                      <a:pt x="304800" y="199073"/>
                      <a:pt x="297180" y="203835"/>
                      <a:pt x="288608" y="208598"/>
                    </a:cubicBezTo>
                    <a:cubicBezTo>
                      <a:pt x="278130" y="214313"/>
                      <a:pt x="265748" y="213360"/>
                      <a:pt x="255270" y="214313"/>
                    </a:cubicBezTo>
                    <a:cubicBezTo>
                      <a:pt x="256223" y="213360"/>
                      <a:pt x="257175" y="213360"/>
                      <a:pt x="258128" y="213360"/>
                    </a:cubicBezTo>
                    <a:cubicBezTo>
                      <a:pt x="258128" y="211455"/>
                      <a:pt x="259080" y="211455"/>
                      <a:pt x="260033" y="210503"/>
                    </a:cubicBezTo>
                    <a:lnTo>
                      <a:pt x="261938" y="210503"/>
                    </a:lnTo>
                    <a:cubicBezTo>
                      <a:pt x="262890" y="210503"/>
                      <a:pt x="262890" y="209550"/>
                      <a:pt x="262890" y="209550"/>
                    </a:cubicBezTo>
                    <a:cubicBezTo>
                      <a:pt x="263843" y="209550"/>
                      <a:pt x="265748" y="208598"/>
                      <a:pt x="264795" y="208598"/>
                    </a:cubicBezTo>
                    <a:cubicBezTo>
                      <a:pt x="262890" y="206692"/>
                      <a:pt x="260033" y="210503"/>
                      <a:pt x="257175" y="208598"/>
                    </a:cubicBezTo>
                    <a:cubicBezTo>
                      <a:pt x="258128" y="207645"/>
                      <a:pt x="258128" y="205740"/>
                      <a:pt x="259080" y="205740"/>
                    </a:cubicBezTo>
                    <a:lnTo>
                      <a:pt x="260985" y="205740"/>
                    </a:lnTo>
                    <a:cubicBezTo>
                      <a:pt x="260985" y="204788"/>
                      <a:pt x="261938" y="203835"/>
                      <a:pt x="261938" y="203835"/>
                    </a:cubicBezTo>
                    <a:cubicBezTo>
                      <a:pt x="269558" y="199073"/>
                      <a:pt x="277178" y="195263"/>
                      <a:pt x="283845" y="191453"/>
                    </a:cubicBezTo>
                    <a:cubicBezTo>
                      <a:pt x="281940" y="191453"/>
                      <a:pt x="280988" y="193358"/>
                      <a:pt x="280035" y="192405"/>
                    </a:cubicBezTo>
                    <a:cubicBezTo>
                      <a:pt x="280988" y="192405"/>
                      <a:pt x="280035" y="190500"/>
                      <a:pt x="280988" y="190500"/>
                    </a:cubicBezTo>
                    <a:cubicBezTo>
                      <a:pt x="286703" y="188595"/>
                      <a:pt x="291465" y="185738"/>
                      <a:pt x="297180" y="183833"/>
                    </a:cubicBezTo>
                    <a:cubicBezTo>
                      <a:pt x="295275" y="183833"/>
                      <a:pt x="293370" y="185738"/>
                      <a:pt x="291465" y="183833"/>
                    </a:cubicBezTo>
                    <a:cubicBezTo>
                      <a:pt x="292418" y="182880"/>
                      <a:pt x="293370" y="181928"/>
                      <a:pt x="294323" y="181928"/>
                    </a:cubicBezTo>
                    <a:lnTo>
                      <a:pt x="294323" y="180023"/>
                    </a:lnTo>
                    <a:cubicBezTo>
                      <a:pt x="294323" y="179070"/>
                      <a:pt x="295275" y="179070"/>
                      <a:pt x="295275" y="179070"/>
                    </a:cubicBezTo>
                    <a:cubicBezTo>
                      <a:pt x="294323" y="179070"/>
                      <a:pt x="294323" y="178117"/>
                      <a:pt x="294323" y="178117"/>
                    </a:cubicBezTo>
                    <a:cubicBezTo>
                      <a:pt x="295275" y="177165"/>
                      <a:pt x="296228" y="177165"/>
                      <a:pt x="297180" y="176213"/>
                    </a:cubicBezTo>
                    <a:cubicBezTo>
                      <a:pt x="296228" y="176213"/>
                      <a:pt x="295275" y="176213"/>
                      <a:pt x="295275" y="175260"/>
                    </a:cubicBezTo>
                    <a:cubicBezTo>
                      <a:pt x="297180" y="173355"/>
                      <a:pt x="299085" y="172403"/>
                      <a:pt x="301943" y="172403"/>
                    </a:cubicBezTo>
                    <a:cubicBezTo>
                      <a:pt x="300990" y="171450"/>
                      <a:pt x="300038" y="172403"/>
                      <a:pt x="300038" y="171450"/>
                    </a:cubicBezTo>
                    <a:cubicBezTo>
                      <a:pt x="300038" y="170498"/>
                      <a:pt x="300990" y="170498"/>
                      <a:pt x="300990" y="170498"/>
                    </a:cubicBezTo>
                    <a:lnTo>
                      <a:pt x="300990" y="170498"/>
                    </a:lnTo>
                    <a:cubicBezTo>
                      <a:pt x="300038" y="169545"/>
                      <a:pt x="300038" y="168592"/>
                      <a:pt x="300038" y="168592"/>
                    </a:cubicBezTo>
                    <a:cubicBezTo>
                      <a:pt x="302895" y="164783"/>
                      <a:pt x="302895" y="160020"/>
                      <a:pt x="304800" y="156210"/>
                    </a:cubicBezTo>
                    <a:cubicBezTo>
                      <a:pt x="303848" y="156210"/>
                      <a:pt x="303848" y="156210"/>
                      <a:pt x="303848" y="155258"/>
                    </a:cubicBezTo>
                    <a:cubicBezTo>
                      <a:pt x="299085" y="160973"/>
                      <a:pt x="290513" y="162878"/>
                      <a:pt x="282893" y="164783"/>
                    </a:cubicBezTo>
                    <a:lnTo>
                      <a:pt x="280035" y="164783"/>
                    </a:lnTo>
                    <a:cubicBezTo>
                      <a:pt x="277178" y="165735"/>
                      <a:pt x="274320" y="165735"/>
                      <a:pt x="271463" y="163830"/>
                    </a:cubicBezTo>
                    <a:cubicBezTo>
                      <a:pt x="269558" y="162878"/>
                      <a:pt x="268605" y="160973"/>
                      <a:pt x="266700" y="160020"/>
                    </a:cubicBezTo>
                    <a:cubicBezTo>
                      <a:pt x="262890" y="157163"/>
                      <a:pt x="258128" y="155258"/>
                      <a:pt x="254317" y="154305"/>
                    </a:cubicBezTo>
                    <a:cubicBezTo>
                      <a:pt x="240983" y="150495"/>
                      <a:pt x="227648" y="148590"/>
                      <a:pt x="215265" y="148590"/>
                    </a:cubicBezTo>
                    <a:cubicBezTo>
                      <a:pt x="220980" y="145733"/>
                      <a:pt x="226695" y="145733"/>
                      <a:pt x="233363" y="143828"/>
                    </a:cubicBezTo>
                    <a:cubicBezTo>
                      <a:pt x="241935" y="140970"/>
                      <a:pt x="250508" y="138113"/>
                      <a:pt x="259080" y="139065"/>
                    </a:cubicBezTo>
                    <a:cubicBezTo>
                      <a:pt x="257175" y="138113"/>
                      <a:pt x="255270" y="139065"/>
                      <a:pt x="254317" y="139065"/>
                    </a:cubicBezTo>
                    <a:cubicBezTo>
                      <a:pt x="246698" y="138113"/>
                      <a:pt x="240030" y="140970"/>
                      <a:pt x="232410" y="141923"/>
                    </a:cubicBezTo>
                    <a:cubicBezTo>
                      <a:pt x="227648" y="142875"/>
                      <a:pt x="222885" y="144780"/>
                      <a:pt x="217170" y="145733"/>
                    </a:cubicBezTo>
                    <a:cubicBezTo>
                      <a:pt x="214313" y="146685"/>
                      <a:pt x="212408" y="149542"/>
                      <a:pt x="208598" y="149542"/>
                    </a:cubicBezTo>
                    <a:lnTo>
                      <a:pt x="208598" y="147638"/>
                    </a:lnTo>
                    <a:cubicBezTo>
                      <a:pt x="213360" y="141923"/>
                      <a:pt x="220028" y="135255"/>
                      <a:pt x="227648" y="135255"/>
                    </a:cubicBezTo>
                    <a:cubicBezTo>
                      <a:pt x="237173" y="133350"/>
                      <a:pt x="245745" y="135255"/>
                      <a:pt x="254317" y="136208"/>
                    </a:cubicBezTo>
                    <a:cubicBezTo>
                      <a:pt x="260985" y="137160"/>
                      <a:pt x="266700" y="138113"/>
                      <a:pt x="273368" y="140017"/>
                    </a:cubicBezTo>
                    <a:cubicBezTo>
                      <a:pt x="276225" y="140017"/>
                      <a:pt x="276225" y="143828"/>
                      <a:pt x="278130" y="144780"/>
                    </a:cubicBezTo>
                    <a:cubicBezTo>
                      <a:pt x="280988" y="145733"/>
                      <a:pt x="283845" y="144780"/>
                      <a:pt x="287655" y="146685"/>
                    </a:cubicBezTo>
                    <a:cubicBezTo>
                      <a:pt x="287655" y="145733"/>
                      <a:pt x="286703" y="144780"/>
                      <a:pt x="287655" y="143828"/>
                    </a:cubicBezTo>
                    <a:cubicBezTo>
                      <a:pt x="289560" y="141923"/>
                      <a:pt x="292418" y="144780"/>
                      <a:pt x="294323" y="142875"/>
                    </a:cubicBezTo>
                    <a:cubicBezTo>
                      <a:pt x="298133" y="140017"/>
                      <a:pt x="290513" y="136208"/>
                      <a:pt x="288608" y="132398"/>
                    </a:cubicBezTo>
                    <a:cubicBezTo>
                      <a:pt x="288608" y="131445"/>
                      <a:pt x="289560" y="131445"/>
                      <a:pt x="289560" y="131445"/>
                    </a:cubicBezTo>
                    <a:cubicBezTo>
                      <a:pt x="293370" y="135255"/>
                      <a:pt x="296228" y="139065"/>
                      <a:pt x="301943" y="141923"/>
                    </a:cubicBezTo>
                    <a:cubicBezTo>
                      <a:pt x="304800" y="142875"/>
                      <a:pt x="310515" y="144780"/>
                      <a:pt x="309563" y="140970"/>
                    </a:cubicBezTo>
                    <a:cubicBezTo>
                      <a:pt x="306705" y="135255"/>
                      <a:pt x="301943" y="130492"/>
                      <a:pt x="298133" y="125730"/>
                    </a:cubicBezTo>
                    <a:lnTo>
                      <a:pt x="298133" y="123825"/>
                    </a:lnTo>
                    <a:cubicBezTo>
                      <a:pt x="297180" y="123825"/>
                      <a:pt x="297180" y="122873"/>
                      <a:pt x="296228" y="122873"/>
                    </a:cubicBezTo>
                    <a:lnTo>
                      <a:pt x="296228" y="120015"/>
                    </a:lnTo>
                    <a:cubicBezTo>
                      <a:pt x="294323" y="119063"/>
                      <a:pt x="294323" y="117158"/>
                      <a:pt x="293370" y="115253"/>
                    </a:cubicBezTo>
                    <a:cubicBezTo>
                      <a:pt x="291465" y="112395"/>
                      <a:pt x="292418" y="109538"/>
                      <a:pt x="291465" y="105728"/>
                    </a:cubicBezTo>
                    <a:cubicBezTo>
                      <a:pt x="291465" y="103823"/>
                      <a:pt x="291465" y="100965"/>
                      <a:pt x="290513" y="98108"/>
                    </a:cubicBezTo>
                    <a:cubicBezTo>
                      <a:pt x="288608" y="89535"/>
                      <a:pt x="286703" y="81915"/>
                      <a:pt x="285750" y="73342"/>
                    </a:cubicBezTo>
                    <a:cubicBezTo>
                      <a:pt x="284798" y="63817"/>
                      <a:pt x="291465" y="56197"/>
                      <a:pt x="296228" y="47625"/>
                    </a:cubicBezTo>
                    <a:cubicBezTo>
                      <a:pt x="300038" y="41910"/>
                      <a:pt x="303848" y="35242"/>
                      <a:pt x="310515" y="31433"/>
                    </a:cubicBezTo>
                    <a:cubicBezTo>
                      <a:pt x="312420" y="25718"/>
                      <a:pt x="316230" y="20003"/>
                      <a:pt x="320040" y="15240"/>
                    </a:cubicBezTo>
                    <a:cubicBezTo>
                      <a:pt x="323850" y="10478"/>
                      <a:pt x="330518" y="7620"/>
                      <a:pt x="336233" y="4763"/>
                    </a:cubicBezTo>
                    <a:cubicBezTo>
                      <a:pt x="342900" y="1905"/>
                      <a:pt x="349568" y="0"/>
                      <a:pt x="349568" y="0"/>
                    </a:cubicBezTo>
                    <a:lnTo>
                      <a:pt x="0" y="0"/>
                    </a:lnTo>
                    <a:lnTo>
                      <a:pt x="0" y="269558"/>
                    </a:lnTo>
                    <a:lnTo>
                      <a:pt x="247650" y="269558"/>
                    </a:lnTo>
                    <a:cubicBezTo>
                      <a:pt x="257175" y="262890"/>
                      <a:pt x="266700" y="259080"/>
                      <a:pt x="280988" y="252413"/>
                    </a:cubicBezTo>
                    <a:cubicBezTo>
                      <a:pt x="286703" y="249555"/>
                      <a:pt x="301943" y="242888"/>
                      <a:pt x="306705" y="237173"/>
                    </a:cubicBezTo>
                    <a:moveTo>
                      <a:pt x="227648" y="200978"/>
                    </a:moveTo>
                    <a:cubicBezTo>
                      <a:pt x="226695" y="200978"/>
                      <a:pt x="224790" y="201930"/>
                      <a:pt x="224790" y="200025"/>
                    </a:cubicBezTo>
                    <a:cubicBezTo>
                      <a:pt x="225742" y="197167"/>
                      <a:pt x="228600" y="197167"/>
                      <a:pt x="230505" y="196215"/>
                    </a:cubicBezTo>
                    <a:cubicBezTo>
                      <a:pt x="231458" y="195263"/>
                      <a:pt x="233363" y="194310"/>
                      <a:pt x="234315" y="195263"/>
                    </a:cubicBezTo>
                    <a:cubicBezTo>
                      <a:pt x="235267" y="197167"/>
                      <a:pt x="237173" y="196215"/>
                      <a:pt x="238125" y="197167"/>
                    </a:cubicBezTo>
                    <a:cubicBezTo>
                      <a:pt x="235267" y="200978"/>
                      <a:pt x="231458" y="200025"/>
                      <a:pt x="227648" y="200978"/>
                    </a:cubicBezTo>
                    <a:moveTo>
                      <a:pt x="149542" y="189548"/>
                    </a:moveTo>
                    <a:cubicBezTo>
                      <a:pt x="149542" y="189548"/>
                      <a:pt x="148590" y="188595"/>
                      <a:pt x="148590" y="188595"/>
                    </a:cubicBezTo>
                    <a:cubicBezTo>
                      <a:pt x="155258" y="180023"/>
                      <a:pt x="160020" y="171450"/>
                      <a:pt x="164783" y="162878"/>
                    </a:cubicBezTo>
                    <a:cubicBezTo>
                      <a:pt x="171450" y="159067"/>
                      <a:pt x="177165" y="154305"/>
                      <a:pt x="181928" y="148590"/>
                    </a:cubicBezTo>
                    <a:cubicBezTo>
                      <a:pt x="190500" y="139065"/>
                      <a:pt x="200025" y="131445"/>
                      <a:pt x="210503" y="125730"/>
                    </a:cubicBezTo>
                    <a:cubicBezTo>
                      <a:pt x="214313" y="123825"/>
                      <a:pt x="220028" y="124778"/>
                      <a:pt x="223838" y="126683"/>
                    </a:cubicBezTo>
                    <a:cubicBezTo>
                      <a:pt x="221933" y="128588"/>
                      <a:pt x="220028" y="128588"/>
                      <a:pt x="218123" y="129540"/>
                    </a:cubicBezTo>
                    <a:cubicBezTo>
                      <a:pt x="217170" y="129540"/>
                      <a:pt x="217170" y="129540"/>
                      <a:pt x="216217" y="128588"/>
                    </a:cubicBezTo>
                    <a:cubicBezTo>
                      <a:pt x="217170" y="127635"/>
                      <a:pt x="217170" y="127635"/>
                      <a:pt x="217170" y="126683"/>
                    </a:cubicBezTo>
                    <a:cubicBezTo>
                      <a:pt x="212408" y="132398"/>
                      <a:pt x="204788" y="135255"/>
                      <a:pt x="200978" y="141923"/>
                    </a:cubicBezTo>
                    <a:cubicBezTo>
                      <a:pt x="198120" y="146685"/>
                      <a:pt x="196215" y="153353"/>
                      <a:pt x="189548" y="155258"/>
                    </a:cubicBezTo>
                    <a:cubicBezTo>
                      <a:pt x="187642" y="156210"/>
                      <a:pt x="190500" y="153353"/>
                      <a:pt x="188595" y="154305"/>
                    </a:cubicBezTo>
                    <a:cubicBezTo>
                      <a:pt x="173355" y="164783"/>
                      <a:pt x="161925" y="176213"/>
                      <a:pt x="149542" y="189548"/>
                    </a:cubicBezTo>
                    <a:moveTo>
                      <a:pt x="192405" y="156210"/>
                    </a:moveTo>
                    <a:cubicBezTo>
                      <a:pt x="191453" y="157163"/>
                      <a:pt x="191453" y="157163"/>
                      <a:pt x="190500" y="158115"/>
                    </a:cubicBezTo>
                    <a:cubicBezTo>
                      <a:pt x="189548" y="159067"/>
                      <a:pt x="189548" y="160020"/>
                      <a:pt x="188595" y="160020"/>
                    </a:cubicBezTo>
                    <a:cubicBezTo>
                      <a:pt x="187642" y="160020"/>
                      <a:pt x="187642" y="160020"/>
                      <a:pt x="187642" y="159067"/>
                    </a:cubicBezTo>
                    <a:cubicBezTo>
                      <a:pt x="188595" y="157163"/>
                      <a:pt x="189548" y="155258"/>
                      <a:pt x="191453" y="154305"/>
                    </a:cubicBezTo>
                    <a:cubicBezTo>
                      <a:pt x="192405" y="155258"/>
                      <a:pt x="192405" y="155258"/>
                      <a:pt x="192405" y="156210"/>
                    </a:cubicBezTo>
                    <a:moveTo>
                      <a:pt x="216217" y="232410"/>
                    </a:moveTo>
                    <a:cubicBezTo>
                      <a:pt x="216217" y="233363"/>
                      <a:pt x="215265" y="233363"/>
                      <a:pt x="215265" y="234315"/>
                    </a:cubicBezTo>
                    <a:cubicBezTo>
                      <a:pt x="216217" y="234315"/>
                      <a:pt x="216217" y="234315"/>
                      <a:pt x="216217" y="235267"/>
                    </a:cubicBezTo>
                    <a:cubicBezTo>
                      <a:pt x="215265" y="236220"/>
                      <a:pt x="214313" y="237173"/>
                      <a:pt x="212408" y="238125"/>
                    </a:cubicBezTo>
                    <a:cubicBezTo>
                      <a:pt x="212408" y="238125"/>
                      <a:pt x="212408" y="238125"/>
                      <a:pt x="211455" y="238125"/>
                    </a:cubicBezTo>
                    <a:cubicBezTo>
                      <a:pt x="210503" y="239078"/>
                      <a:pt x="210503" y="239078"/>
                      <a:pt x="209550" y="240030"/>
                    </a:cubicBezTo>
                    <a:cubicBezTo>
                      <a:pt x="208598" y="240983"/>
                      <a:pt x="205740" y="240030"/>
                      <a:pt x="206692" y="239078"/>
                    </a:cubicBezTo>
                    <a:cubicBezTo>
                      <a:pt x="207645" y="238125"/>
                      <a:pt x="209550" y="236220"/>
                      <a:pt x="210503" y="235267"/>
                    </a:cubicBezTo>
                    <a:cubicBezTo>
                      <a:pt x="211455" y="234315"/>
                      <a:pt x="212408" y="234315"/>
                      <a:pt x="212408" y="233363"/>
                    </a:cubicBezTo>
                    <a:cubicBezTo>
                      <a:pt x="212408" y="233363"/>
                      <a:pt x="213360" y="232410"/>
                      <a:pt x="213360" y="232410"/>
                    </a:cubicBezTo>
                    <a:cubicBezTo>
                      <a:pt x="213360" y="231458"/>
                      <a:pt x="216217" y="231458"/>
                      <a:pt x="216217" y="232410"/>
                    </a:cubicBezTo>
                    <a:moveTo>
                      <a:pt x="206692" y="228600"/>
                    </a:moveTo>
                    <a:cubicBezTo>
                      <a:pt x="206692" y="228600"/>
                      <a:pt x="206692" y="228600"/>
                      <a:pt x="206692" y="228600"/>
                    </a:cubicBezTo>
                    <a:cubicBezTo>
                      <a:pt x="204788" y="230505"/>
                      <a:pt x="202883" y="231458"/>
                      <a:pt x="200978" y="232410"/>
                    </a:cubicBezTo>
                    <a:cubicBezTo>
                      <a:pt x="199073" y="233363"/>
                      <a:pt x="196215" y="234315"/>
                      <a:pt x="194310" y="235267"/>
                    </a:cubicBezTo>
                    <a:cubicBezTo>
                      <a:pt x="194310" y="235267"/>
                      <a:pt x="194310" y="235267"/>
                      <a:pt x="194310" y="235267"/>
                    </a:cubicBezTo>
                    <a:cubicBezTo>
                      <a:pt x="194310" y="235267"/>
                      <a:pt x="193358" y="235267"/>
                      <a:pt x="193358" y="235267"/>
                    </a:cubicBezTo>
                    <a:cubicBezTo>
                      <a:pt x="191453" y="236220"/>
                      <a:pt x="189548" y="238125"/>
                      <a:pt x="188595" y="239078"/>
                    </a:cubicBezTo>
                    <a:cubicBezTo>
                      <a:pt x="188595" y="239078"/>
                      <a:pt x="188595" y="239078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5738" y="241935"/>
                      <a:pt x="185738" y="241935"/>
                    </a:cubicBezTo>
                    <a:cubicBezTo>
                      <a:pt x="185738" y="241935"/>
                      <a:pt x="185738" y="242888"/>
                      <a:pt x="184785" y="242888"/>
                    </a:cubicBezTo>
                    <a:cubicBezTo>
                      <a:pt x="184785" y="242888"/>
                      <a:pt x="183833" y="242888"/>
                      <a:pt x="183833" y="242888"/>
                    </a:cubicBezTo>
                    <a:cubicBezTo>
                      <a:pt x="183833" y="242888"/>
                      <a:pt x="183833" y="242888"/>
                      <a:pt x="183833" y="242888"/>
                    </a:cubicBezTo>
                    <a:cubicBezTo>
                      <a:pt x="183833" y="242888"/>
                      <a:pt x="182880" y="242888"/>
                      <a:pt x="182880" y="242888"/>
                    </a:cubicBezTo>
                    <a:cubicBezTo>
                      <a:pt x="182880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0975" y="243840"/>
                      <a:pt x="180975" y="243840"/>
                      <a:pt x="180023" y="244792"/>
                    </a:cubicBezTo>
                    <a:cubicBezTo>
                      <a:pt x="179070" y="245745"/>
                      <a:pt x="178117" y="246698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8603"/>
                    </a:cubicBezTo>
                    <a:lnTo>
                      <a:pt x="177165" y="248603"/>
                    </a:ln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7650"/>
                      <a:pt x="177165" y="247650"/>
                    </a:cubicBezTo>
                    <a:lnTo>
                      <a:pt x="177165" y="247650"/>
                    </a:ln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8117" y="246698"/>
                      <a:pt x="178117" y="246698"/>
                      <a:pt x="179070" y="245745"/>
                    </a:cubicBezTo>
                    <a:cubicBezTo>
                      <a:pt x="179070" y="245745"/>
                      <a:pt x="179070" y="245745"/>
                      <a:pt x="179070" y="245745"/>
                    </a:cubicBezTo>
                    <a:cubicBezTo>
                      <a:pt x="179070" y="245745"/>
                      <a:pt x="179070" y="245745"/>
                      <a:pt x="180023" y="244792"/>
                    </a:cubicBezTo>
                    <a:cubicBezTo>
                      <a:pt x="180023" y="244792"/>
                      <a:pt x="180975" y="243840"/>
                      <a:pt x="180975" y="243840"/>
                    </a:cubicBezTo>
                    <a:cubicBezTo>
                      <a:pt x="180975" y="243840"/>
                      <a:pt x="180975" y="243840"/>
                      <a:pt x="180975" y="243840"/>
                    </a:cubicBezTo>
                    <a:cubicBezTo>
                      <a:pt x="181928" y="242888"/>
                      <a:pt x="181928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3833" y="240983"/>
                      <a:pt x="183833" y="240983"/>
                    </a:cubicBezTo>
                    <a:cubicBezTo>
                      <a:pt x="183833" y="240983"/>
                      <a:pt x="183833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8125"/>
                    </a:cubicBezTo>
                    <a:cubicBezTo>
                      <a:pt x="185738" y="238125"/>
                      <a:pt x="185738" y="238125"/>
                      <a:pt x="185738" y="238125"/>
                    </a:cubicBezTo>
                    <a:cubicBezTo>
                      <a:pt x="185738" y="238125"/>
                      <a:pt x="185738" y="237173"/>
                      <a:pt x="185738" y="237173"/>
                    </a:cubicBezTo>
                    <a:cubicBezTo>
                      <a:pt x="185738" y="237173"/>
                      <a:pt x="185738" y="237173"/>
                      <a:pt x="185738" y="237173"/>
                    </a:cubicBezTo>
                    <a:cubicBezTo>
                      <a:pt x="186690" y="236220"/>
                      <a:pt x="186690" y="235267"/>
                      <a:pt x="187642" y="234315"/>
                    </a:cubicBezTo>
                    <a:cubicBezTo>
                      <a:pt x="187642" y="234315"/>
                      <a:pt x="187642" y="234315"/>
                      <a:pt x="187642" y="234315"/>
                    </a:cubicBezTo>
                    <a:cubicBezTo>
                      <a:pt x="186690" y="234315"/>
                      <a:pt x="186690" y="235267"/>
                      <a:pt x="185738" y="236220"/>
                    </a:cubicBezTo>
                    <a:cubicBezTo>
                      <a:pt x="184785" y="236220"/>
                      <a:pt x="183833" y="236220"/>
                      <a:pt x="184785" y="235267"/>
                    </a:cubicBezTo>
                    <a:cubicBezTo>
                      <a:pt x="184785" y="235267"/>
                      <a:pt x="185738" y="234315"/>
                      <a:pt x="185738" y="234315"/>
                    </a:cubicBezTo>
                    <a:cubicBezTo>
                      <a:pt x="185738" y="234315"/>
                      <a:pt x="185738" y="234315"/>
                      <a:pt x="185738" y="234315"/>
                    </a:cubicBezTo>
                    <a:cubicBezTo>
                      <a:pt x="186690" y="233363"/>
                      <a:pt x="187642" y="232410"/>
                      <a:pt x="188595" y="231458"/>
                    </a:cubicBezTo>
                    <a:cubicBezTo>
                      <a:pt x="189548" y="231458"/>
                      <a:pt x="189548" y="230505"/>
                      <a:pt x="190500" y="230505"/>
                    </a:cubicBezTo>
                    <a:cubicBezTo>
                      <a:pt x="190500" y="230505"/>
                      <a:pt x="190500" y="230505"/>
                      <a:pt x="190500" y="230505"/>
                    </a:cubicBezTo>
                    <a:cubicBezTo>
                      <a:pt x="190500" y="230505"/>
                      <a:pt x="191453" y="229553"/>
                      <a:pt x="191453" y="229553"/>
                    </a:cubicBezTo>
                    <a:cubicBezTo>
                      <a:pt x="191453" y="229553"/>
                      <a:pt x="191453" y="229553"/>
                      <a:pt x="191453" y="229553"/>
                    </a:cubicBezTo>
                    <a:cubicBezTo>
                      <a:pt x="196215" y="224790"/>
                      <a:pt x="204788" y="224790"/>
                      <a:pt x="211455" y="221933"/>
                    </a:cubicBezTo>
                    <a:cubicBezTo>
                      <a:pt x="214313" y="220980"/>
                      <a:pt x="217170" y="222885"/>
                      <a:pt x="220028" y="221933"/>
                    </a:cubicBezTo>
                    <a:cubicBezTo>
                      <a:pt x="221933" y="221933"/>
                      <a:pt x="222885" y="221933"/>
                      <a:pt x="224790" y="222885"/>
                    </a:cubicBezTo>
                    <a:cubicBezTo>
                      <a:pt x="215265" y="222885"/>
                      <a:pt x="211455" y="225742"/>
                      <a:pt x="206692" y="228600"/>
                    </a:cubicBezTo>
                    <a:moveTo>
                      <a:pt x="217170" y="193358"/>
                    </a:moveTo>
                    <a:cubicBezTo>
                      <a:pt x="216217" y="192405"/>
                      <a:pt x="219075" y="193358"/>
                      <a:pt x="219075" y="192405"/>
                    </a:cubicBezTo>
                    <a:lnTo>
                      <a:pt x="215265" y="192405"/>
                    </a:lnTo>
                    <a:cubicBezTo>
                      <a:pt x="214313" y="192405"/>
                      <a:pt x="214313" y="191453"/>
                      <a:pt x="214313" y="191453"/>
                    </a:cubicBezTo>
                    <a:cubicBezTo>
                      <a:pt x="211455" y="192405"/>
                      <a:pt x="208598" y="193358"/>
                      <a:pt x="205740" y="193358"/>
                    </a:cubicBezTo>
                    <a:cubicBezTo>
                      <a:pt x="201930" y="194310"/>
                      <a:pt x="199073" y="197167"/>
                      <a:pt x="195263" y="198120"/>
                    </a:cubicBezTo>
                    <a:cubicBezTo>
                      <a:pt x="189548" y="200025"/>
                      <a:pt x="184785" y="204788"/>
                      <a:pt x="179070" y="206692"/>
                    </a:cubicBezTo>
                    <a:cubicBezTo>
                      <a:pt x="178117" y="206692"/>
                      <a:pt x="178117" y="205740"/>
                      <a:pt x="178117" y="205740"/>
                    </a:cubicBezTo>
                    <a:cubicBezTo>
                      <a:pt x="179070" y="203835"/>
                      <a:pt x="180975" y="203835"/>
                      <a:pt x="181928" y="201930"/>
                    </a:cubicBezTo>
                    <a:cubicBezTo>
                      <a:pt x="181928" y="200978"/>
                      <a:pt x="181928" y="200978"/>
                      <a:pt x="180975" y="200978"/>
                    </a:cubicBezTo>
                    <a:cubicBezTo>
                      <a:pt x="184785" y="195263"/>
                      <a:pt x="190500" y="192405"/>
                      <a:pt x="196215" y="187642"/>
                    </a:cubicBezTo>
                    <a:lnTo>
                      <a:pt x="196215" y="185738"/>
                    </a:lnTo>
                    <a:cubicBezTo>
                      <a:pt x="198120" y="183833"/>
                      <a:pt x="200025" y="182880"/>
                      <a:pt x="200978" y="180023"/>
                    </a:cubicBezTo>
                    <a:cubicBezTo>
                      <a:pt x="201930" y="178117"/>
                      <a:pt x="203835" y="176213"/>
                      <a:pt x="205740" y="175260"/>
                    </a:cubicBezTo>
                    <a:cubicBezTo>
                      <a:pt x="204788" y="174308"/>
                      <a:pt x="203835" y="174308"/>
                      <a:pt x="203835" y="173355"/>
                    </a:cubicBezTo>
                    <a:cubicBezTo>
                      <a:pt x="201930" y="173355"/>
                      <a:pt x="200025" y="174308"/>
                      <a:pt x="198120" y="172403"/>
                    </a:cubicBezTo>
                    <a:cubicBezTo>
                      <a:pt x="199073" y="171450"/>
                      <a:pt x="200025" y="170498"/>
                      <a:pt x="200978" y="170498"/>
                    </a:cubicBezTo>
                    <a:cubicBezTo>
                      <a:pt x="200978" y="170498"/>
                      <a:pt x="200025" y="170498"/>
                      <a:pt x="200025" y="169545"/>
                    </a:cubicBezTo>
                    <a:cubicBezTo>
                      <a:pt x="199073" y="168592"/>
                      <a:pt x="200978" y="167640"/>
                      <a:pt x="202883" y="166688"/>
                    </a:cubicBezTo>
                    <a:cubicBezTo>
                      <a:pt x="204788" y="165735"/>
                      <a:pt x="207645" y="165735"/>
                      <a:pt x="208598" y="164783"/>
                    </a:cubicBezTo>
                    <a:cubicBezTo>
                      <a:pt x="204788" y="163830"/>
                      <a:pt x="200978" y="165735"/>
                      <a:pt x="197167" y="163830"/>
                    </a:cubicBezTo>
                    <a:cubicBezTo>
                      <a:pt x="200025" y="157163"/>
                      <a:pt x="203835" y="151448"/>
                      <a:pt x="209550" y="148590"/>
                    </a:cubicBezTo>
                    <a:cubicBezTo>
                      <a:pt x="210503" y="148590"/>
                      <a:pt x="211455" y="148590"/>
                      <a:pt x="211455" y="149542"/>
                    </a:cubicBezTo>
                    <a:cubicBezTo>
                      <a:pt x="211455" y="152400"/>
                      <a:pt x="209550" y="154305"/>
                      <a:pt x="207645" y="154305"/>
                    </a:cubicBezTo>
                    <a:cubicBezTo>
                      <a:pt x="211455" y="155258"/>
                      <a:pt x="216217" y="155258"/>
                      <a:pt x="220028" y="157163"/>
                    </a:cubicBezTo>
                    <a:cubicBezTo>
                      <a:pt x="219075" y="158115"/>
                      <a:pt x="218123" y="158115"/>
                      <a:pt x="218123" y="158115"/>
                    </a:cubicBezTo>
                    <a:cubicBezTo>
                      <a:pt x="220980" y="160020"/>
                      <a:pt x="223838" y="159067"/>
                      <a:pt x="226695" y="160973"/>
                    </a:cubicBezTo>
                    <a:cubicBezTo>
                      <a:pt x="224790" y="162878"/>
                      <a:pt x="223838" y="160973"/>
                      <a:pt x="221933" y="160973"/>
                    </a:cubicBezTo>
                    <a:cubicBezTo>
                      <a:pt x="238125" y="165735"/>
                      <a:pt x="254317" y="169545"/>
                      <a:pt x="267653" y="179070"/>
                    </a:cubicBezTo>
                    <a:cubicBezTo>
                      <a:pt x="256223" y="184785"/>
                      <a:pt x="244792" y="187642"/>
                      <a:pt x="232410" y="189548"/>
                    </a:cubicBezTo>
                    <a:cubicBezTo>
                      <a:pt x="230505" y="189548"/>
                      <a:pt x="229553" y="189548"/>
                      <a:pt x="228600" y="188595"/>
                    </a:cubicBezTo>
                    <a:cubicBezTo>
                      <a:pt x="228600" y="189548"/>
                      <a:pt x="228600" y="190500"/>
                      <a:pt x="227648" y="190500"/>
                    </a:cubicBezTo>
                    <a:cubicBezTo>
                      <a:pt x="225742" y="190500"/>
                      <a:pt x="223838" y="190500"/>
                      <a:pt x="222885" y="191453"/>
                    </a:cubicBezTo>
                    <a:cubicBezTo>
                      <a:pt x="221933" y="194310"/>
                      <a:pt x="219075" y="194310"/>
                      <a:pt x="217170" y="193358"/>
                    </a:cubicBezTo>
                  </a:path>
                </a:pathLst>
              </a:custGeom>
              <a:solidFill>
                <a:srgbClr val="0000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35" name="Forme libre : forme 34">
                <a:extLst>
                  <a:ext uri="{FF2B5EF4-FFF2-40B4-BE49-F238E27FC236}">
                    <a16:creationId xmlns:a16="http://schemas.microsoft.com/office/drawing/2014/main" id="{4D2FA81F-5A1E-4E3C-84BC-33128EB3922B}"/>
                  </a:ext>
                </a:extLst>
              </p:cNvPr>
              <p:cNvSpPr/>
              <p:nvPr/>
            </p:nvSpPr>
            <p:spPr>
              <a:xfrm>
                <a:off x="687476" y="269557"/>
                <a:ext cx="327888" cy="269557"/>
              </a:xfrm>
              <a:custGeom>
                <a:avLst/>
                <a:gdLst>
                  <a:gd name="connsiteX0" fmla="*/ 325031 w 327888"/>
                  <a:gd name="connsiteY0" fmla="*/ 0 h 269557"/>
                  <a:gd name="connsiteX1" fmla="*/ 34519 w 327888"/>
                  <a:gd name="connsiteY1" fmla="*/ 0 h 269557"/>
                  <a:gd name="connsiteX2" fmla="*/ 37376 w 327888"/>
                  <a:gd name="connsiteY2" fmla="*/ 953 h 269557"/>
                  <a:gd name="connsiteX3" fmla="*/ 44996 w 327888"/>
                  <a:gd name="connsiteY3" fmla="*/ 4763 h 269557"/>
                  <a:gd name="connsiteX4" fmla="*/ 54521 w 327888"/>
                  <a:gd name="connsiteY4" fmla="*/ 13335 h 269557"/>
                  <a:gd name="connsiteX5" fmla="*/ 56426 w 327888"/>
                  <a:gd name="connsiteY5" fmla="*/ 20003 h 269557"/>
                  <a:gd name="connsiteX6" fmla="*/ 52616 w 327888"/>
                  <a:gd name="connsiteY6" fmla="*/ 27623 h 269557"/>
                  <a:gd name="connsiteX7" fmla="*/ 42139 w 327888"/>
                  <a:gd name="connsiteY7" fmla="*/ 28575 h 269557"/>
                  <a:gd name="connsiteX8" fmla="*/ 36424 w 327888"/>
                  <a:gd name="connsiteY8" fmla="*/ 27623 h 269557"/>
                  <a:gd name="connsiteX9" fmla="*/ 56426 w 327888"/>
                  <a:gd name="connsiteY9" fmla="*/ 40957 h 269557"/>
                  <a:gd name="connsiteX10" fmla="*/ 61189 w 327888"/>
                  <a:gd name="connsiteY10" fmla="*/ 42863 h 269557"/>
                  <a:gd name="connsiteX11" fmla="*/ 62141 w 327888"/>
                  <a:gd name="connsiteY11" fmla="*/ 44768 h 269557"/>
                  <a:gd name="connsiteX12" fmla="*/ 60236 w 327888"/>
                  <a:gd name="connsiteY12" fmla="*/ 47625 h 269557"/>
                  <a:gd name="connsiteX13" fmla="*/ 62141 w 327888"/>
                  <a:gd name="connsiteY13" fmla="*/ 47625 h 269557"/>
                  <a:gd name="connsiteX14" fmla="*/ 67856 w 327888"/>
                  <a:gd name="connsiteY14" fmla="*/ 42863 h 269557"/>
                  <a:gd name="connsiteX15" fmla="*/ 69761 w 327888"/>
                  <a:gd name="connsiteY15" fmla="*/ 50482 h 269557"/>
                  <a:gd name="connsiteX16" fmla="*/ 64046 w 327888"/>
                  <a:gd name="connsiteY16" fmla="*/ 55245 h 269557"/>
                  <a:gd name="connsiteX17" fmla="*/ 64046 w 327888"/>
                  <a:gd name="connsiteY17" fmla="*/ 59055 h 269557"/>
                  <a:gd name="connsiteX18" fmla="*/ 66904 w 327888"/>
                  <a:gd name="connsiteY18" fmla="*/ 64770 h 269557"/>
                  <a:gd name="connsiteX19" fmla="*/ 70714 w 327888"/>
                  <a:gd name="connsiteY19" fmla="*/ 76200 h 269557"/>
                  <a:gd name="connsiteX20" fmla="*/ 74524 w 327888"/>
                  <a:gd name="connsiteY20" fmla="*/ 99060 h 269557"/>
                  <a:gd name="connsiteX21" fmla="*/ 73571 w 327888"/>
                  <a:gd name="connsiteY21" fmla="*/ 110490 h 269557"/>
                  <a:gd name="connsiteX22" fmla="*/ 79286 w 327888"/>
                  <a:gd name="connsiteY22" fmla="*/ 120968 h 269557"/>
                  <a:gd name="connsiteX23" fmla="*/ 85001 w 327888"/>
                  <a:gd name="connsiteY23" fmla="*/ 129540 h 269557"/>
                  <a:gd name="connsiteX24" fmla="*/ 90716 w 327888"/>
                  <a:gd name="connsiteY24" fmla="*/ 145733 h 269557"/>
                  <a:gd name="connsiteX25" fmla="*/ 80239 w 327888"/>
                  <a:gd name="connsiteY25" fmla="*/ 150495 h 269557"/>
                  <a:gd name="connsiteX26" fmla="*/ 81191 w 327888"/>
                  <a:gd name="connsiteY26" fmla="*/ 160020 h 269557"/>
                  <a:gd name="connsiteX27" fmla="*/ 74524 w 327888"/>
                  <a:gd name="connsiteY27" fmla="*/ 169545 h 269557"/>
                  <a:gd name="connsiteX28" fmla="*/ 78334 w 327888"/>
                  <a:gd name="connsiteY28" fmla="*/ 171450 h 269557"/>
                  <a:gd name="connsiteX29" fmla="*/ 80239 w 327888"/>
                  <a:gd name="connsiteY29" fmla="*/ 178118 h 269557"/>
                  <a:gd name="connsiteX30" fmla="*/ 75476 w 327888"/>
                  <a:gd name="connsiteY30" fmla="*/ 187643 h 269557"/>
                  <a:gd name="connsiteX31" fmla="*/ 74524 w 327888"/>
                  <a:gd name="connsiteY31" fmla="*/ 199073 h 269557"/>
                  <a:gd name="connsiteX32" fmla="*/ 64999 w 327888"/>
                  <a:gd name="connsiteY32" fmla="*/ 206693 h 269557"/>
                  <a:gd name="connsiteX33" fmla="*/ 55474 w 327888"/>
                  <a:gd name="connsiteY33" fmla="*/ 207645 h 269557"/>
                  <a:gd name="connsiteX34" fmla="*/ 49759 w 327888"/>
                  <a:gd name="connsiteY34" fmla="*/ 206693 h 269557"/>
                  <a:gd name="connsiteX35" fmla="*/ 24041 w 327888"/>
                  <a:gd name="connsiteY35" fmla="*/ 202883 h 269557"/>
                  <a:gd name="connsiteX36" fmla="*/ 17374 w 327888"/>
                  <a:gd name="connsiteY36" fmla="*/ 204788 h 269557"/>
                  <a:gd name="connsiteX37" fmla="*/ 11659 w 327888"/>
                  <a:gd name="connsiteY37" fmla="*/ 210503 h 269557"/>
                  <a:gd name="connsiteX38" fmla="*/ 11659 w 327888"/>
                  <a:gd name="connsiteY38" fmla="*/ 210503 h 269557"/>
                  <a:gd name="connsiteX39" fmla="*/ 10706 w 327888"/>
                  <a:gd name="connsiteY39" fmla="*/ 211455 h 269557"/>
                  <a:gd name="connsiteX40" fmla="*/ 9754 w 327888"/>
                  <a:gd name="connsiteY40" fmla="*/ 212408 h 269557"/>
                  <a:gd name="connsiteX41" fmla="*/ 9754 w 327888"/>
                  <a:gd name="connsiteY41" fmla="*/ 213360 h 269557"/>
                  <a:gd name="connsiteX42" fmla="*/ 5944 w 327888"/>
                  <a:gd name="connsiteY42" fmla="*/ 219075 h 269557"/>
                  <a:gd name="connsiteX43" fmla="*/ 5944 w 327888"/>
                  <a:gd name="connsiteY43" fmla="*/ 219075 h 269557"/>
                  <a:gd name="connsiteX44" fmla="*/ 5944 w 327888"/>
                  <a:gd name="connsiteY44" fmla="*/ 220028 h 269557"/>
                  <a:gd name="connsiteX45" fmla="*/ 2134 w 327888"/>
                  <a:gd name="connsiteY45" fmla="*/ 229553 h 269557"/>
                  <a:gd name="connsiteX46" fmla="*/ 3086 w 327888"/>
                  <a:gd name="connsiteY46" fmla="*/ 253365 h 269557"/>
                  <a:gd name="connsiteX47" fmla="*/ 30709 w 327888"/>
                  <a:gd name="connsiteY47" fmla="*/ 263843 h 269557"/>
                  <a:gd name="connsiteX48" fmla="*/ 43091 w 327888"/>
                  <a:gd name="connsiteY48" fmla="*/ 269558 h 269557"/>
                  <a:gd name="connsiteX49" fmla="*/ 327889 w 327888"/>
                  <a:gd name="connsiteY49" fmla="*/ 269558 h 269557"/>
                  <a:gd name="connsiteX50" fmla="*/ 327889 w 327888"/>
                  <a:gd name="connsiteY50" fmla="*/ 0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327888" h="269557">
                    <a:moveTo>
                      <a:pt x="325031" y="0"/>
                    </a:moveTo>
                    <a:lnTo>
                      <a:pt x="34519" y="0"/>
                    </a:lnTo>
                    <a:cubicBezTo>
                      <a:pt x="34519" y="0"/>
                      <a:pt x="35471" y="0"/>
                      <a:pt x="37376" y="953"/>
                    </a:cubicBezTo>
                    <a:cubicBezTo>
                      <a:pt x="39281" y="1905"/>
                      <a:pt x="43091" y="3810"/>
                      <a:pt x="44996" y="4763"/>
                    </a:cubicBezTo>
                    <a:cubicBezTo>
                      <a:pt x="48806" y="6668"/>
                      <a:pt x="52616" y="9525"/>
                      <a:pt x="54521" y="13335"/>
                    </a:cubicBezTo>
                    <a:cubicBezTo>
                      <a:pt x="55474" y="15240"/>
                      <a:pt x="57379" y="18098"/>
                      <a:pt x="56426" y="20003"/>
                    </a:cubicBezTo>
                    <a:cubicBezTo>
                      <a:pt x="55474" y="22860"/>
                      <a:pt x="54521" y="26670"/>
                      <a:pt x="52616" y="27623"/>
                    </a:cubicBezTo>
                    <a:cubicBezTo>
                      <a:pt x="49759" y="29528"/>
                      <a:pt x="45949" y="29528"/>
                      <a:pt x="42139" y="28575"/>
                    </a:cubicBezTo>
                    <a:cubicBezTo>
                      <a:pt x="40234" y="28575"/>
                      <a:pt x="38329" y="27623"/>
                      <a:pt x="36424" y="27623"/>
                    </a:cubicBezTo>
                    <a:cubicBezTo>
                      <a:pt x="44044" y="30480"/>
                      <a:pt x="51664" y="34290"/>
                      <a:pt x="56426" y="40957"/>
                    </a:cubicBezTo>
                    <a:cubicBezTo>
                      <a:pt x="57379" y="41910"/>
                      <a:pt x="59284" y="42863"/>
                      <a:pt x="61189" y="42863"/>
                    </a:cubicBezTo>
                    <a:cubicBezTo>
                      <a:pt x="62141" y="42863"/>
                      <a:pt x="62141" y="43815"/>
                      <a:pt x="62141" y="44768"/>
                    </a:cubicBezTo>
                    <a:cubicBezTo>
                      <a:pt x="61189" y="45720"/>
                      <a:pt x="60236" y="46673"/>
                      <a:pt x="60236" y="47625"/>
                    </a:cubicBezTo>
                    <a:lnTo>
                      <a:pt x="62141" y="47625"/>
                    </a:lnTo>
                    <a:cubicBezTo>
                      <a:pt x="64999" y="46673"/>
                      <a:pt x="64046" y="41910"/>
                      <a:pt x="67856" y="42863"/>
                    </a:cubicBezTo>
                    <a:cubicBezTo>
                      <a:pt x="70714" y="44768"/>
                      <a:pt x="71666" y="47625"/>
                      <a:pt x="69761" y="50482"/>
                    </a:cubicBezTo>
                    <a:cubicBezTo>
                      <a:pt x="67856" y="52388"/>
                      <a:pt x="65951" y="54293"/>
                      <a:pt x="64046" y="55245"/>
                    </a:cubicBezTo>
                    <a:cubicBezTo>
                      <a:pt x="63094" y="56198"/>
                      <a:pt x="63094" y="58103"/>
                      <a:pt x="64046" y="59055"/>
                    </a:cubicBezTo>
                    <a:cubicBezTo>
                      <a:pt x="65951" y="60960"/>
                      <a:pt x="65951" y="62865"/>
                      <a:pt x="66904" y="64770"/>
                    </a:cubicBezTo>
                    <a:cubicBezTo>
                      <a:pt x="68809" y="68580"/>
                      <a:pt x="68809" y="72390"/>
                      <a:pt x="70714" y="76200"/>
                    </a:cubicBezTo>
                    <a:cubicBezTo>
                      <a:pt x="72619" y="83820"/>
                      <a:pt x="74524" y="91440"/>
                      <a:pt x="74524" y="99060"/>
                    </a:cubicBezTo>
                    <a:cubicBezTo>
                      <a:pt x="74524" y="102870"/>
                      <a:pt x="72619" y="106680"/>
                      <a:pt x="73571" y="110490"/>
                    </a:cubicBezTo>
                    <a:cubicBezTo>
                      <a:pt x="74524" y="114300"/>
                      <a:pt x="77381" y="118110"/>
                      <a:pt x="79286" y="120968"/>
                    </a:cubicBezTo>
                    <a:cubicBezTo>
                      <a:pt x="81191" y="123825"/>
                      <a:pt x="83096" y="125730"/>
                      <a:pt x="85001" y="129540"/>
                    </a:cubicBezTo>
                    <a:cubicBezTo>
                      <a:pt x="87859" y="134303"/>
                      <a:pt x="93574" y="140018"/>
                      <a:pt x="90716" y="145733"/>
                    </a:cubicBezTo>
                    <a:cubicBezTo>
                      <a:pt x="88811" y="149543"/>
                      <a:pt x="83096" y="148590"/>
                      <a:pt x="80239" y="150495"/>
                    </a:cubicBezTo>
                    <a:cubicBezTo>
                      <a:pt x="77381" y="153353"/>
                      <a:pt x="79286" y="157163"/>
                      <a:pt x="81191" y="160020"/>
                    </a:cubicBezTo>
                    <a:cubicBezTo>
                      <a:pt x="84049" y="164783"/>
                      <a:pt x="78334" y="167640"/>
                      <a:pt x="74524" y="169545"/>
                    </a:cubicBezTo>
                    <a:cubicBezTo>
                      <a:pt x="75476" y="171450"/>
                      <a:pt x="77381" y="170498"/>
                      <a:pt x="78334" y="171450"/>
                    </a:cubicBezTo>
                    <a:cubicBezTo>
                      <a:pt x="79286" y="174308"/>
                      <a:pt x="81191" y="175260"/>
                      <a:pt x="80239" y="178118"/>
                    </a:cubicBezTo>
                    <a:cubicBezTo>
                      <a:pt x="78334" y="180975"/>
                      <a:pt x="71666" y="182880"/>
                      <a:pt x="75476" y="187643"/>
                    </a:cubicBezTo>
                    <a:cubicBezTo>
                      <a:pt x="77381" y="191453"/>
                      <a:pt x="76429" y="195263"/>
                      <a:pt x="74524" y="199073"/>
                    </a:cubicBezTo>
                    <a:cubicBezTo>
                      <a:pt x="72619" y="203835"/>
                      <a:pt x="68809" y="205740"/>
                      <a:pt x="64999" y="206693"/>
                    </a:cubicBezTo>
                    <a:cubicBezTo>
                      <a:pt x="62141" y="207645"/>
                      <a:pt x="58331" y="207645"/>
                      <a:pt x="55474" y="207645"/>
                    </a:cubicBezTo>
                    <a:cubicBezTo>
                      <a:pt x="51664" y="206693"/>
                      <a:pt x="50711" y="206693"/>
                      <a:pt x="49759" y="206693"/>
                    </a:cubicBezTo>
                    <a:cubicBezTo>
                      <a:pt x="41186" y="205740"/>
                      <a:pt x="32614" y="202883"/>
                      <a:pt x="24041" y="202883"/>
                    </a:cubicBezTo>
                    <a:cubicBezTo>
                      <a:pt x="21184" y="203835"/>
                      <a:pt x="19279" y="203835"/>
                      <a:pt x="17374" y="204788"/>
                    </a:cubicBezTo>
                    <a:cubicBezTo>
                      <a:pt x="15469" y="206693"/>
                      <a:pt x="12611" y="208598"/>
                      <a:pt x="11659" y="210503"/>
                    </a:cubicBezTo>
                    <a:cubicBezTo>
                      <a:pt x="11659" y="210503"/>
                      <a:pt x="11659" y="210503"/>
                      <a:pt x="11659" y="210503"/>
                    </a:cubicBezTo>
                    <a:cubicBezTo>
                      <a:pt x="11659" y="210503"/>
                      <a:pt x="10706" y="211455"/>
                      <a:pt x="10706" y="211455"/>
                    </a:cubicBezTo>
                    <a:cubicBezTo>
                      <a:pt x="10706" y="211455"/>
                      <a:pt x="10706" y="212408"/>
                      <a:pt x="9754" y="212408"/>
                    </a:cubicBezTo>
                    <a:cubicBezTo>
                      <a:pt x="9754" y="212408"/>
                      <a:pt x="9754" y="212408"/>
                      <a:pt x="9754" y="213360"/>
                    </a:cubicBezTo>
                    <a:cubicBezTo>
                      <a:pt x="7849" y="215265"/>
                      <a:pt x="6896" y="217170"/>
                      <a:pt x="5944" y="219075"/>
                    </a:cubicBezTo>
                    <a:cubicBezTo>
                      <a:pt x="5944" y="219075"/>
                      <a:pt x="5944" y="219075"/>
                      <a:pt x="5944" y="219075"/>
                    </a:cubicBezTo>
                    <a:cubicBezTo>
                      <a:pt x="5944" y="219075"/>
                      <a:pt x="5944" y="220028"/>
                      <a:pt x="5944" y="220028"/>
                    </a:cubicBezTo>
                    <a:cubicBezTo>
                      <a:pt x="4039" y="222885"/>
                      <a:pt x="3086" y="226695"/>
                      <a:pt x="2134" y="229553"/>
                    </a:cubicBezTo>
                    <a:cubicBezTo>
                      <a:pt x="-1676" y="240983"/>
                      <a:pt x="229" y="251460"/>
                      <a:pt x="3086" y="253365"/>
                    </a:cubicBezTo>
                    <a:cubicBezTo>
                      <a:pt x="4039" y="254318"/>
                      <a:pt x="20231" y="259080"/>
                      <a:pt x="30709" y="263843"/>
                    </a:cubicBezTo>
                    <a:cubicBezTo>
                      <a:pt x="36424" y="265748"/>
                      <a:pt x="39281" y="267653"/>
                      <a:pt x="43091" y="269558"/>
                    </a:cubicBezTo>
                    <a:lnTo>
                      <a:pt x="327889" y="269558"/>
                    </a:lnTo>
                    <a:lnTo>
                      <a:pt x="327889" y="0"/>
                    </a:lnTo>
                    <a:close/>
                  </a:path>
                </a:pathLst>
              </a:custGeom>
              <a:solidFill>
                <a:srgbClr val="E1000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36" name="Forme libre : forme 35">
                <a:extLst>
                  <a:ext uri="{FF2B5EF4-FFF2-40B4-BE49-F238E27FC236}">
                    <a16:creationId xmlns:a16="http://schemas.microsoft.com/office/drawing/2014/main" id="{77C4A9B6-98D3-43FF-90C5-BEA89CD3B46B}"/>
                  </a:ext>
                </a:extLst>
              </p:cNvPr>
              <p:cNvSpPr/>
              <p:nvPr/>
            </p:nvSpPr>
            <p:spPr>
              <a:xfrm>
                <a:off x="717232" y="362507"/>
                <a:ext cx="33524" cy="30636"/>
              </a:xfrm>
              <a:custGeom>
                <a:avLst/>
                <a:gdLst>
                  <a:gd name="connsiteX0" fmla="*/ 21907 w 33524"/>
                  <a:gd name="connsiteY0" fmla="*/ 6110 h 30636"/>
                  <a:gd name="connsiteX1" fmla="*/ 26670 w 33524"/>
                  <a:gd name="connsiteY1" fmla="*/ 8015 h 30636"/>
                  <a:gd name="connsiteX2" fmla="*/ 16192 w 33524"/>
                  <a:gd name="connsiteY2" fmla="*/ 17540 h 30636"/>
                  <a:gd name="connsiteX3" fmla="*/ 14288 w 33524"/>
                  <a:gd name="connsiteY3" fmla="*/ 17540 h 30636"/>
                  <a:gd name="connsiteX4" fmla="*/ 11430 w 33524"/>
                  <a:gd name="connsiteY4" fmla="*/ 21350 h 30636"/>
                  <a:gd name="connsiteX5" fmla="*/ 6667 w 33524"/>
                  <a:gd name="connsiteY5" fmla="*/ 22302 h 30636"/>
                  <a:gd name="connsiteX6" fmla="*/ 14288 w 33524"/>
                  <a:gd name="connsiteY6" fmla="*/ 25160 h 30636"/>
                  <a:gd name="connsiteX7" fmla="*/ 16192 w 33524"/>
                  <a:gd name="connsiteY7" fmla="*/ 27065 h 30636"/>
                  <a:gd name="connsiteX8" fmla="*/ 17145 w 33524"/>
                  <a:gd name="connsiteY8" fmla="*/ 26112 h 30636"/>
                  <a:gd name="connsiteX9" fmla="*/ 18097 w 33524"/>
                  <a:gd name="connsiteY9" fmla="*/ 27065 h 30636"/>
                  <a:gd name="connsiteX10" fmla="*/ 18097 w 33524"/>
                  <a:gd name="connsiteY10" fmla="*/ 28017 h 30636"/>
                  <a:gd name="connsiteX11" fmla="*/ 12382 w 33524"/>
                  <a:gd name="connsiteY11" fmla="*/ 29922 h 30636"/>
                  <a:gd name="connsiteX12" fmla="*/ 23813 w 33524"/>
                  <a:gd name="connsiteY12" fmla="*/ 29922 h 30636"/>
                  <a:gd name="connsiteX13" fmla="*/ 25717 w 33524"/>
                  <a:gd name="connsiteY13" fmla="*/ 21350 h 30636"/>
                  <a:gd name="connsiteX14" fmla="*/ 24765 w 33524"/>
                  <a:gd name="connsiteY14" fmla="*/ 19445 h 30636"/>
                  <a:gd name="connsiteX15" fmla="*/ 27622 w 33524"/>
                  <a:gd name="connsiteY15" fmla="*/ 16587 h 30636"/>
                  <a:gd name="connsiteX16" fmla="*/ 30480 w 33524"/>
                  <a:gd name="connsiteY16" fmla="*/ 14682 h 30636"/>
                  <a:gd name="connsiteX17" fmla="*/ 28575 w 33524"/>
                  <a:gd name="connsiteY17" fmla="*/ 11825 h 30636"/>
                  <a:gd name="connsiteX18" fmla="*/ 33338 w 33524"/>
                  <a:gd name="connsiteY18" fmla="*/ 3252 h 30636"/>
                  <a:gd name="connsiteX19" fmla="*/ 25717 w 33524"/>
                  <a:gd name="connsiteY19" fmla="*/ 395 h 30636"/>
                  <a:gd name="connsiteX20" fmla="*/ 17145 w 33524"/>
                  <a:gd name="connsiteY20" fmla="*/ 1347 h 30636"/>
                  <a:gd name="connsiteX21" fmla="*/ 9525 w 33524"/>
                  <a:gd name="connsiteY21" fmla="*/ 3252 h 30636"/>
                  <a:gd name="connsiteX22" fmla="*/ 0 w 33524"/>
                  <a:gd name="connsiteY22" fmla="*/ 8015 h 30636"/>
                  <a:gd name="connsiteX23" fmla="*/ 11430 w 33524"/>
                  <a:gd name="connsiteY23" fmla="*/ 5157 h 30636"/>
                  <a:gd name="connsiteX24" fmla="*/ 21907 w 33524"/>
                  <a:gd name="connsiteY24" fmla="*/ 6110 h 3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3524" h="30636">
                    <a:moveTo>
                      <a:pt x="21907" y="6110"/>
                    </a:moveTo>
                    <a:cubicBezTo>
                      <a:pt x="23813" y="7062"/>
                      <a:pt x="26670" y="7062"/>
                      <a:pt x="26670" y="8015"/>
                    </a:cubicBezTo>
                    <a:cubicBezTo>
                      <a:pt x="25717" y="11825"/>
                      <a:pt x="20002" y="12777"/>
                      <a:pt x="16192" y="17540"/>
                    </a:cubicBezTo>
                    <a:lnTo>
                      <a:pt x="14288" y="17540"/>
                    </a:lnTo>
                    <a:cubicBezTo>
                      <a:pt x="12382" y="18492"/>
                      <a:pt x="13335" y="21350"/>
                      <a:pt x="11430" y="21350"/>
                    </a:cubicBezTo>
                    <a:cubicBezTo>
                      <a:pt x="9525" y="20397"/>
                      <a:pt x="8572" y="21350"/>
                      <a:pt x="6667" y="22302"/>
                    </a:cubicBezTo>
                    <a:cubicBezTo>
                      <a:pt x="8572" y="24207"/>
                      <a:pt x="11430" y="26112"/>
                      <a:pt x="14288" y="25160"/>
                    </a:cubicBezTo>
                    <a:cubicBezTo>
                      <a:pt x="15240" y="25160"/>
                      <a:pt x="16192" y="26112"/>
                      <a:pt x="16192" y="27065"/>
                    </a:cubicBezTo>
                    <a:cubicBezTo>
                      <a:pt x="16192" y="27065"/>
                      <a:pt x="17145" y="27065"/>
                      <a:pt x="17145" y="26112"/>
                    </a:cubicBezTo>
                    <a:cubicBezTo>
                      <a:pt x="18097" y="26112"/>
                      <a:pt x="18097" y="26112"/>
                      <a:pt x="18097" y="27065"/>
                    </a:cubicBezTo>
                    <a:lnTo>
                      <a:pt x="18097" y="28017"/>
                    </a:lnTo>
                    <a:cubicBezTo>
                      <a:pt x="16192" y="29922"/>
                      <a:pt x="14288" y="28970"/>
                      <a:pt x="12382" y="29922"/>
                    </a:cubicBezTo>
                    <a:cubicBezTo>
                      <a:pt x="16192" y="30875"/>
                      <a:pt x="20955" y="30875"/>
                      <a:pt x="23813" y="29922"/>
                    </a:cubicBezTo>
                    <a:cubicBezTo>
                      <a:pt x="26670" y="28970"/>
                      <a:pt x="23813" y="24207"/>
                      <a:pt x="25717" y="21350"/>
                    </a:cubicBezTo>
                    <a:cubicBezTo>
                      <a:pt x="24765" y="21350"/>
                      <a:pt x="25717" y="19445"/>
                      <a:pt x="24765" y="19445"/>
                    </a:cubicBezTo>
                    <a:cubicBezTo>
                      <a:pt x="25717" y="18492"/>
                      <a:pt x="26670" y="16587"/>
                      <a:pt x="27622" y="16587"/>
                    </a:cubicBezTo>
                    <a:cubicBezTo>
                      <a:pt x="28575" y="16587"/>
                      <a:pt x="30480" y="15635"/>
                      <a:pt x="30480" y="14682"/>
                    </a:cubicBezTo>
                    <a:cubicBezTo>
                      <a:pt x="30480" y="13730"/>
                      <a:pt x="28575" y="12777"/>
                      <a:pt x="28575" y="11825"/>
                    </a:cubicBezTo>
                    <a:cubicBezTo>
                      <a:pt x="31432" y="9920"/>
                      <a:pt x="34290" y="7062"/>
                      <a:pt x="33338" y="3252"/>
                    </a:cubicBezTo>
                    <a:cubicBezTo>
                      <a:pt x="32385" y="1347"/>
                      <a:pt x="28575" y="1347"/>
                      <a:pt x="25717" y="395"/>
                    </a:cubicBezTo>
                    <a:cubicBezTo>
                      <a:pt x="22860" y="-558"/>
                      <a:pt x="20002" y="395"/>
                      <a:pt x="17145" y="1347"/>
                    </a:cubicBezTo>
                    <a:cubicBezTo>
                      <a:pt x="14288" y="1347"/>
                      <a:pt x="12382" y="3252"/>
                      <a:pt x="9525" y="3252"/>
                    </a:cubicBezTo>
                    <a:cubicBezTo>
                      <a:pt x="5715" y="4205"/>
                      <a:pt x="2857" y="6110"/>
                      <a:pt x="0" y="8015"/>
                    </a:cubicBezTo>
                    <a:cubicBezTo>
                      <a:pt x="3810" y="6110"/>
                      <a:pt x="7620" y="6110"/>
                      <a:pt x="11430" y="5157"/>
                    </a:cubicBezTo>
                    <a:cubicBezTo>
                      <a:pt x="16192" y="6110"/>
                      <a:pt x="19050" y="5157"/>
                      <a:pt x="21907" y="6110"/>
                    </a:cubicBezTo>
                  </a:path>
                </a:pathLst>
              </a:custGeom>
              <a:solidFill>
                <a:srgbClr val="9C9B9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B4DE3489-48E7-4BEC-BD4C-757ADE8FA8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0000" y="1778322"/>
            <a:ext cx="1990800" cy="484712"/>
          </a:xfrm>
          <a:solidFill>
            <a:schemeClr val="bg1"/>
          </a:solidFill>
        </p:spPr>
        <p:txBody>
          <a:bodyPr wrap="square" lIns="540000" tIns="144000" rIns="144000" bIns="14400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tx1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tx1"/>
                </a:solidFill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tx1"/>
                </a:solidFill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tx1"/>
                </a:solidFill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1400" b="1" cap="all" baseline="0">
                <a:solidFill>
                  <a:schemeClr val="tx1"/>
                </a:solidFill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tx1"/>
                </a:solidFill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tx1"/>
                </a:solidFill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tx1"/>
                </a:solidFill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cap="all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fr-FR" dirty="0"/>
              <a:t>Lorem ipsum</a:t>
            </a:r>
          </a:p>
        </p:txBody>
      </p:sp>
    </p:spTree>
    <p:extLst>
      <p:ext uri="{BB962C8B-B14F-4D97-AF65-F5344CB8AC3E}">
        <p14:creationId xmlns:p14="http://schemas.microsoft.com/office/powerpoint/2010/main" val="2978306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- Full avec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space réservé pour une image  21">
            <a:extLst>
              <a:ext uri="{FF2B5EF4-FFF2-40B4-BE49-F238E27FC236}">
                <a16:creationId xmlns:a16="http://schemas.microsoft.com/office/drawing/2014/main" id="{A8B1F395-3B50-4F7C-B3EA-4120D9B2C6E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043998"/>
            <a:ext cx="12192000" cy="5814002"/>
          </a:xfrm>
          <a:solidFill>
            <a:schemeClr val="accent2"/>
          </a:solidFill>
        </p:spPr>
        <p:txBody>
          <a:bodyPr anchor="ctr"/>
          <a:lstStyle>
            <a:lvl1pPr algn="ct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SÉLECTIONNER L’ICÔNE POUR INSÉRER UNE IMAGE, </a:t>
            </a:r>
            <a:br>
              <a:rPr lang="fr-FR" dirty="0"/>
            </a:br>
            <a:r>
              <a:rPr lang="fr-FR" dirty="0"/>
              <a:t>PUIS DISPOSER L’IMAGE EN ARRIÈRE PLAN </a:t>
            </a:r>
            <a:br>
              <a:rPr lang="fr-FR" dirty="0"/>
            </a:br>
            <a:r>
              <a:rPr lang="fr-FR" dirty="0"/>
              <a:t>(Sélectionner l’image puis avec le bouton droit de la souris / </a:t>
            </a:r>
            <a:br>
              <a:rPr lang="fr-FR" dirty="0"/>
            </a:br>
            <a:r>
              <a:rPr lang="fr-FR" dirty="0"/>
              <a:t>Mettre à l’arrière plan)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A52FDD7-76B5-4B8E-A008-DBC75B8F4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7624DB8-5159-4B87-B44B-7D891CE92F46}" type="datetime1">
              <a:rPr lang="fr-FR" smtClean="0"/>
              <a:t>22/11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02BE54F-4953-4F0A-AA2E-99A3D6292F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COMEX – 9 avril 2021 - POUR INFORM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35E73AA-FFC7-4E68-A1E5-2653FA5B5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3598" y="6511056"/>
            <a:ext cx="650240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C02D038-4989-45BB-AD16-38E0E231338A}" type="slidenum">
              <a:rPr lang="fr-FR" smtClean="0"/>
              <a:pPr/>
              <a:t>‹N°›</a:t>
            </a:fld>
            <a:endParaRPr lang="fr-FR" dirty="0"/>
          </a:p>
        </p:txBody>
      </p:sp>
      <p:grpSp>
        <p:nvGrpSpPr>
          <p:cNvPr id="11" name="Graphique 2">
            <a:extLst>
              <a:ext uri="{FF2B5EF4-FFF2-40B4-BE49-F238E27FC236}">
                <a16:creationId xmlns:a16="http://schemas.microsoft.com/office/drawing/2014/main" id="{889398C8-CCDA-460C-8D6D-66F796CDB51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40000" y="270000"/>
            <a:ext cx="432404" cy="504000"/>
            <a:chOff x="269557" y="269557"/>
            <a:chExt cx="1311592" cy="1528762"/>
          </a:xfrm>
        </p:grpSpPr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B68CE830-96CE-42DC-A43C-3F0242DFFD10}"/>
                </a:ext>
              </a:extLst>
            </p:cNvPr>
            <p:cNvSpPr/>
            <p:nvPr/>
          </p:nvSpPr>
          <p:spPr>
            <a:xfrm>
              <a:off x="269557" y="1304925"/>
              <a:ext cx="693419" cy="493395"/>
            </a:xfrm>
            <a:custGeom>
              <a:avLst/>
              <a:gdLst>
                <a:gd name="connsiteX0" fmla="*/ 659130 w 693419"/>
                <a:gd name="connsiteY0" fmla="*/ 422910 h 493395"/>
                <a:gd name="connsiteX1" fmla="*/ 666750 w 693419"/>
                <a:gd name="connsiteY1" fmla="*/ 437197 h 493395"/>
                <a:gd name="connsiteX2" fmla="*/ 641033 w 693419"/>
                <a:gd name="connsiteY2" fmla="*/ 442913 h 493395"/>
                <a:gd name="connsiteX3" fmla="*/ 659130 w 693419"/>
                <a:gd name="connsiteY3" fmla="*/ 422910 h 493395"/>
                <a:gd name="connsiteX4" fmla="*/ 673418 w 693419"/>
                <a:gd name="connsiteY4" fmla="*/ 464820 h 493395"/>
                <a:gd name="connsiteX5" fmla="*/ 668655 w 693419"/>
                <a:gd name="connsiteY5" fmla="*/ 464820 h 493395"/>
                <a:gd name="connsiteX6" fmla="*/ 648653 w 693419"/>
                <a:gd name="connsiteY6" fmla="*/ 478155 h 493395"/>
                <a:gd name="connsiteX7" fmla="*/ 638175 w 693419"/>
                <a:gd name="connsiteY7" fmla="*/ 464820 h 493395"/>
                <a:gd name="connsiteX8" fmla="*/ 639128 w 693419"/>
                <a:gd name="connsiteY8" fmla="*/ 453390 h 493395"/>
                <a:gd name="connsiteX9" fmla="*/ 680085 w 693419"/>
                <a:gd name="connsiteY9" fmla="*/ 440055 h 493395"/>
                <a:gd name="connsiteX10" fmla="*/ 666750 w 693419"/>
                <a:gd name="connsiteY10" fmla="*/ 412433 h 493395"/>
                <a:gd name="connsiteX11" fmla="*/ 624840 w 693419"/>
                <a:gd name="connsiteY11" fmla="*/ 473392 h 493395"/>
                <a:gd name="connsiteX12" fmla="*/ 640080 w 693419"/>
                <a:gd name="connsiteY12" fmla="*/ 493395 h 493395"/>
                <a:gd name="connsiteX13" fmla="*/ 673418 w 693419"/>
                <a:gd name="connsiteY13" fmla="*/ 464820 h 493395"/>
                <a:gd name="connsiteX14" fmla="*/ 664845 w 693419"/>
                <a:gd name="connsiteY14" fmla="*/ 404813 h 493395"/>
                <a:gd name="connsiteX15" fmla="*/ 693420 w 693419"/>
                <a:gd name="connsiteY15" fmla="*/ 378142 h 493395"/>
                <a:gd name="connsiteX16" fmla="*/ 693420 w 693419"/>
                <a:gd name="connsiteY16" fmla="*/ 375285 h 493395"/>
                <a:gd name="connsiteX17" fmla="*/ 678180 w 693419"/>
                <a:gd name="connsiteY17" fmla="*/ 375285 h 493395"/>
                <a:gd name="connsiteX18" fmla="*/ 660083 w 693419"/>
                <a:gd name="connsiteY18" fmla="*/ 405765 h 493395"/>
                <a:gd name="connsiteX19" fmla="*/ 664845 w 693419"/>
                <a:gd name="connsiteY19" fmla="*/ 405765 h 493395"/>
                <a:gd name="connsiteX20" fmla="*/ 576263 w 693419"/>
                <a:gd name="connsiteY20" fmla="*/ 423863 h 493395"/>
                <a:gd name="connsiteX21" fmla="*/ 589598 w 693419"/>
                <a:gd name="connsiteY21" fmla="*/ 423863 h 493395"/>
                <a:gd name="connsiteX22" fmla="*/ 567690 w 693419"/>
                <a:gd name="connsiteY22" fmla="*/ 482917 h 493395"/>
                <a:gd name="connsiteX23" fmla="*/ 573405 w 693419"/>
                <a:gd name="connsiteY23" fmla="*/ 493395 h 493395"/>
                <a:gd name="connsiteX24" fmla="*/ 612458 w 693419"/>
                <a:gd name="connsiteY24" fmla="*/ 464820 h 493395"/>
                <a:gd name="connsiteX25" fmla="*/ 608648 w 693419"/>
                <a:gd name="connsiteY25" fmla="*/ 464820 h 493395"/>
                <a:gd name="connsiteX26" fmla="*/ 583883 w 693419"/>
                <a:gd name="connsiteY26" fmla="*/ 480060 h 493395"/>
                <a:gd name="connsiteX27" fmla="*/ 603885 w 693419"/>
                <a:gd name="connsiteY27" fmla="*/ 424815 h 493395"/>
                <a:gd name="connsiteX28" fmla="*/ 623888 w 693419"/>
                <a:gd name="connsiteY28" fmla="*/ 424815 h 493395"/>
                <a:gd name="connsiteX29" fmla="*/ 626745 w 693419"/>
                <a:gd name="connsiteY29" fmla="*/ 416242 h 493395"/>
                <a:gd name="connsiteX30" fmla="*/ 606743 w 693419"/>
                <a:gd name="connsiteY30" fmla="*/ 416242 h 493395"/>
                <a:gd name="connsiteX31" fmla="*/ 614363 w 693419"/>
                <a:gd name="connsiteY31" fmla="*/ 395288 h 493395"/>
                <a:gd name="connsiteX32" fmla="*/ 606743 w 693419"/>
                <a:gd name="connsiteY32" fmla="*/ 395288 h 493395"/>
                <a:gd name="connsiteX33" fmla="*/ 592455 w 693419"/>
                <a:gd name="connsiteY33" fmla="*/ 416242 h 493395"/>
                <a:gd name="connsiteX34" fmla="*/ 575310 w 693419"/>
                <a:gd name="connsiteY34" fmla="*/ 418147 h 493395"/>
                <a:gd name="connsiteX35" fmla="*/ 575310 w 693419"/>
                <a:gd name="connsiteY35" fmla="*/ 423863 h 493395"/>
                <a:gd name="connsiteX36" fmla="*/ 558165 w 693419"/>
                <a:gd name="connsiteY36" fmla="*/ 421005 h 493395"/>
                <a:gd name="connsiteX37" fmla="*/ 553403 w 693419"/>
                <a:gd name="connsiteY37" fmla="*/ 412433 h 493395"/>
                <a:gd name="connsiteX38" fmla="*/ 521970 w 693419"/>
                <a:gd name="connsiteY38" fmla="*/ 438150 h 493395"/>
                <a:gd name="connsiteX39" fmla="*/ 525780 w 693419"/>
                <a:gd name="connsiteY39" fmla="*/ 438150 h 493395"/>
                <a:gd name="connsiteX40" fmla="*/ 541973 w 693419"/>
                <a:gd name="connsiteY40" fmla="*/ 425767 h 493395"/>
                <a:gd name="connsiteX41" fmla="*/ 519113 w 693419"/>
                <a:gd name="connsiteY41" fmla="*/ 484822 h 493395"/>
                <a:gd name="connsiteX42" fmla="*/ 523875 w 693419"/>
                <a:gd name="connsiteY42" fmla="*/ 493395 h 493395"/>
                <a:gd name="connsiteX43" fmla="*/ 554355 w 693419"/>
                <a:gd name="connsiteY43" fmla="*/ 467678 h 493395"/>
                <a:gd name="connsiteX44" fmla="*/ 550545 w 693419"/>
                <a:gd name="connsiteY44" fmla="*/ 467678 h 493395"/>
                <a:gd name="connsiteX45" fmla="*/ 534353 w 693419"/>
                <a:gd name="connsiteY45" fmla="*/ 480060 h 493395"/>
                <a:gd name="connsiteX46" fmla="*/ 558165 w 693419"/>
                <a:gd name="connsiteY46" fmla="*/ 421005 h 493395"/>
                <a:gd name="connsiteX47" fmla="*/ 561975 w 693419"/>
                <a:gd name="connsiteY47" fmla="*/ 391478 h 493395"/>
                <a:gd name="connsiteX48" fmla="*/ 571500 w 693419"/>
                <a:gd name="connsiteY48" fmla="*/ 381953 h 493395"/>
                <a:gd name="connsiteX49" fmla="*/ 561975 w 693419"/>
                <a:gd name="connsiteY49" fmla="*/ 372428 h 493395"/>
                <a:gd name="connsiteX50" fmla="*/ 552450 w 693419"/>
                <a:gd name="connsiteY50" fmla="*/ 381953 h 493395"/>
                <a:gd name="connsiteX51" fmla="*/ 561975 w 693419"/>
                <a:gd name="connsiteY51" fmla="*/ 391478 h 493395"/>
                <a:gd name="connsiteX52" fmla="*/ 431483 w 693419"/>
                <a:gd name="connsiteY52" fmla="*/ 481965 h 493395"/>
                <a:gd name="connsiteX53" fmla="*/ 438150 w 693419"/>
                <a:gd name="connsiteY53" fmla="*/ 493395 h 493395"/>
                <a:gd name="connsiteX54" fmla="*/ 445770 w 693419"/>
                <a:gd name="connsiteY54" fmla="*/ 487680 h 493395"/>
                <a:gd name="connsiteX55" fmla="*/ 461963 w 693419"/>
                <a:gd name="connsiteY55" fmla="*/ 445770 h 493395"/>
                <a:gd name="connsiteX56" fmla="*/ 490538 w 693419"/>
                <a:gd name="connsiteY56" fmla="*/ 427672 h 493395"/>
                <a:gd name="connsiteX57" fmla="*/ 491490 w 693419"/>
                <a:gd name="connsiteY57" fmla="*/ 436245 h 493395"/>
                <a:gd name="connsiteX58" fmla="*/ 467678 w 693419"/>
                <a:gd name="connsiteY58" fmla="*/ 482917 h 493395"/>
                <a:gd name="connsiteX59" fmla="*/ 473393 w 693419"/>
                <a:gd name="connsiteY59" fmla="*/ 493395 h 493395"/>
                <a:gd name="connsiteX60" fmla="*/ 504825 w 693419"/>
                <a:gd name="connsiteY60" fmla="*/ 467678 h 493395"/>
                <a:gd name="connsiteX61" fmla="*/ 501015 w 693419"/>
                <a:gd name="connsiteY61" fmla="*/ 467678 h 493395"/>
                <a:gd name="connsiteX62" fmla="*/ 484822 w 693419"/>
                <a:gd name="connsiteY62" fmla="*/ 480060 h 493395"/>
                <a:gd name="connsiteX63" fmla="*/ 505778 w 693419"/>
                <a:gd name="connsiteY63" fmla="*/ 438150 h 493395"/>
                <a:gd name="connsiteX64" fmla="*/ 509588 w 693419"/>
                <a:gd name="connsiteY64" fmla="*/ 423863 h 493395"/>
                <a:gd name="connsiteX65" fmla="*/ 498158 w 693419"/>
                <a:gd name="connsiteY65" fmla="*/ 412433 h 493395"/>
                <a:gd name="connsiteX66" fmla="*/ 464820 w 693419"/>
                <a:gd name="connsiteY66" fmla="*/ 438150 h 493395"/>
                <a:gd name="connsiteX67" fmla="*/ 464820 w 693419"/>
                <a:gd name="connsiteY67" fmla="*/ 426720 h 493395"/>
                <a:gd name="connsiteX68" fmla="*/ 455295 w 693419"/>
                <a:gd name="connsiteY68" fmla="*/ 411480 h 493395"/>
                <a:gd name="connsiteX69" fmla="*/ 442913 w 693419"/>
                <a:gd name="connsiteY69" fmla="*/ 421005 h 493395"/>
                <a:gd name="connsiteX70" fmla="*/ 442913 w 693419"/>
                <a:gd name="connsiteY70" fmla="*/ 422910 h 493395"/>
                <a:gd name="connsiteX71" fmla="*/ 448628 w 693419"/>
                <a:gd name="connsiteY71" fmla="*/ 445770 h 493395"/>
                <a:gd name="connsiteX72" fmla="*/ 431483 w 693419"/>
                <a:gd name="connsiteY72" fmla="*/ 481965 h 493395"/>
                <a:gd name="connsiteX73" fmla="*/ 431483 w 693419"/>
                <a:gd name="connsiteY73" fmla="*/ 430530 h 493395"/>
                <a:gd name="connsiteX74" fmla="*/ 425768 w 693419"/>
                <a:gd name="connsiteY74" fmla="*/ 412433 h 493395"/>
                <a:gd name="connsiteX75" fmla="*/ 405765 w 693419"/>
                <a:gd name="connsiteY75" fmla="*/ 438150 h 493395"/>
                <a:gd name="connsiteX76" fmla="*/ 405765 w 693419"/>
                <a:gd name="connsiteY76" fmla="*/ 426720 h 493395"/>
                <a:gd name="connsiteX77" fmla="*/ 396240 w 693419"/>
                <a:gd name="connsiteY77" fmla="*/ 411480 h 493395"/>
                <a:gd name="connsiteX78" fmla="*/ 374333 w 693419"/>
                <a:gd name="connsiteY78" fmla="*/ 437197 h 493395"/>
                <a:gd name="connsiteX79" fmla="*/ 378143 w 693419"/>
                <a:gd name="connsiteY79" fmla="*/ 437197 h 493395"/>
                <a:gd name="connsiteX80" fmla="*/ 388620 w 693419"/>
                <a:gd name="connsiteY80" fmla="*/ 427672 h 493395"/>
                <a:gd name="connsiteX81" fmla="*/ 388620 w 693419"/>
                <a:gd name="connsiteY81" fmla="*/ 445770 h 493395"/>
                <a:gd name="connsiteX82" fmla="*/ 372428 w 693419"/>
                <a:gd name="connsiteY82" fmla="*/ 481013 h 493395"/>
                <a:gd name="connsiteX83" fmla="*/ 379095 w 693419"/>
                <a:gd name="connsiteY83" fmla="*/ 492442 h 493395"/>
                <a:gd name="connsiteX84" fmla="*/ 386715 w 693419"/>
                <a:gd name="connsiteY84" fmla="*/ 486728 h 493395"/>
                <a:gd name="connsiteX85" fmla="*/ 402908 w 693419"/>
                <a:gd name="connsiteY85" fmla="*/ 444817 h 493395"/>
                <a:gd name="connsiteX86" fmla="*/ 416243 w 693419"/>
                <a:gd name="connsiteY86" fmla="*/ 429578 h 493395"/>
                <a:gd name="connsiteX87" fmla="*/ 431483 w 693419"/>
                <a:gd name="connsiteY87" fmla="*/ 429578 h 493395"/>
                <a:gd name="connsiteX88" fmla="*/ 340043 w 693419"/>
                <a:gd name="connsiteY88" fmla="*/ 422910 h 493395"/>
                <a:gd name="connsiteX89" fmla="*/ 347663 w 693419"/>
                <a:gd name="connsiteY89" fmla="*/ 437197 h 493395"/>
                <a:gd name="connsiteX90" fmla="*/ 321945 w 693419"/>
                <a:gd name="connsiteY90" fmla="*/ 442913 h 493395"/>
                <a:gd name="connsiteX91" fmla="*/ 340043 w 693419"/>
                <a:gd name="connsiteY91" fmla="*/ 422910 h 493395"/>
                <a:gd name="connsiteX92" fmla="*/ 354330 w 693419"/>
                <a:gd name="connsiteY92" fmla="*/ 464820 h 493395"/>
                <a:gd name="connsiteX93" fmla="*/ 349568 w 693419"/>
                <a:gd name="connsiteY93" fmla="*/ 464820 h 493395"/>
                <a:gd name="connsiteX94" fmla="*/ 329565 w 693419"/>
                <a:gd name="connsiteY94" fmla="*/ 478155 h 493395"/>
                <a:gd name="connsiteX95" fmla="*/ 319088 w 693419"/>
                <a:gd name="connsiteY95" fmla="*/ 464820 h 493395"/>
                <a:gd name="connsiteX96" fmla="*/ 320040 w 693419"/>
                <a:gd name="connsiteY96" fmla="*/ 453390 h 493395"/>
                <a:gd name="connsiteX97" fmla="*/ 360997 w 693419"/>
                <a:gd name="connsiteY97" fmla="*/ 440055 h 493395"/>
                <a:gd name="connsiteX98" fmla="*/ 347663 w 693419"/>
                <a:gd name="connsiteY98" fmla="*/ 412433 h 493395"/>
                <a:gd name="connsiteX99" fmla="*/ 305753 w 693419"/>
                <a:gd name="connsiteY99" fmla="*/ 473392 h 493395"/>
                <a:gd name="connsiteX100" fmla="*/ 320993 w 693419"/>
                <a:gd name="connsiteY100" fmla="*/ 493395 h 493395"/>
                <a:gd name="connsiteX101" fmla="*/ 354330 w 693419"/>
                <a:gd name="connsiteY101" fmla="*/ 464820 h 493395"/>
                <a:gd name="connsiteX102" fmla="*/ 257175 w 693419"/>
                <a:gd name="connsiteY102" fmla="*/ 423863 h 493395"/>
                <a:gd name="connsiteX103" fmla="*/ 270510 w 693419"/>
                <a:gd name="connsiteY103" fmla="*/ 423863 h 493395"/>
                <a:gd name="connsiteX104" fmla="*/ 248603 w 693419"/>
                <a:gd name="connsiteY104" fmla="*/ 482917 h 493395"/>
                <a:gd name="connsiteX105" fmla="*/ 254318 w 693419"/>
                <a:gd name="connsiteY105" fmla="*/ 493395 h 493395"/>
                <a:gd name="connsiteX106" fmla="*/ 293370 w 693419"/>
                <a:gd name="connsiteY106" fmla="*/ 464820 h 493395"/>
                <a:gd name="connsiteX107" fmla="*/ 289560 w 693419"/>
                <a:gd name="connsiteY107" fmla="*/ 464820 h 493395"/>
                <a:gd name="connsiteX108" fmla="*/ 264795 w 693419"/>
                <a:gd name="connsiteY108" fmla="*/ 480060 h 493395"/>
                <a:gd name="connsiteX109" fmla="*/ 284798 w 693419"/>
                <a:gd name="connsiteY109" fmla="*/ 424815 h 493395"/>
                <a:gd name="connsiteX110" fmla="*/ 304800 w 693419"/>
                <a:gd name="connsiteY110" fmla="*/ 424815 h 493395"/>
                <a:gd name="connsiteX111" fmla="*/ 307658 w 693419"/>
                <a:gd name="connsiteY111" fmla="*/ 416242 h 493395"/>
                <a:gd name="connsiteX112" fmla="*/ 287655 w 693419"/>
                <a:gd name="connsiteY112" fmla="*/ 416242 h 493395"/>
                <a:gd name="connsiteX113" fmla="*/ 295275 w 693419"/>
                <a:gd name="connsiteY113" fmla="*/ 395288 h 493395"/>
                <a:gd name="connsiteX114" fmla="*/ 287655 w 693419"/>
                <a:gd name="connsiteY114" fmla="*/ 395288 h 493395"/>
                <a:gd name="connsiteX115" fmla="*/ 273368 w 693419"/>
                <a:gd name="connsiteY115" fmla="*/ 416242 h 493395"/>
                <a:gd name="connsiteX116" fmla="*/ 256223 w 693419"/>
                <a:gd name="connsiteY116" fmla="*/ 418147 h 493395"/>
                <a:gd name="connsiteX117" fmla="*/ 256223 w 693419"/>
                <a:gd name="connsiteY117" fmla="*/ 423863 h 493395"/>
                <a:gd name="connsiteX118" fmla="*/ 181928 w 693419"/>
                <a:gd name="connsiteY118" fmla="*/ 469583 h 493395"/>
                <a:gd name="connsiteX119" fmla="*/ 213360 w 693419"/>
                <a:gd name="connsiteY119" fmla="*/ 426720 h 493395"/>
                <a:gd name="connsiteX120" fmla="*/ 220028 w 693419"/>
                <a:gd name="connsiteY120" fmla="*/ 427672 h 493395"/>
                <a:gd name="connsiteX121" fmla="*/ 208598 w 693419"/>
                <a:gd name="connsiteY121" fmla="*/ 459105 h 493395"/>
                <a:gd name="connsiteX122" fmla="*/ 186690 w 693419"/>
                <a:gd name="connsiteY122" fmla="*/ 477203 h 493395"/>
                <a:gd name="connsiteX123" fmla="*/ 181928 w 693419"/>
                <a:gd name="connsiteY123" fmla="*/ 469583 h 493395"/>
                <a:gd name="connsiteX124" fmla="*/ 244793 w 693419"/>
                <a:gd name="connsiteY124" fmla="*/ 408622 h 493395"/>
                <a:gd name="connsiteX125" fmla="*/ 238125 w 693419"/>
                <a:gd name="connsiteY125" fmla="*/ 408622 h 493395"/>
                <a:gd name="connsiteX126" fmla="*/ 231458 w 693419"/>
                <a:gd name="connsiteY126" fmla="*/ 415290 h 493395"/>
                <a:gd name="connsiteX127" fmla="*/ 229553 w 693419"/>
                <a:gd name="connsiteY127" fmla="*/ 415290 h 493395"/>
                <a:gd name="connsiteX128" fmla="*/ 166688 w 693419"/>
                <a:gd name="connsiteY128" fmla="*/ 481013 h 493395"/>
                <a:gd name="connsiteX129" fmla="*/ 179070 w 693419"/>
                <a:gd name="connsiteY129" fmla="*/ 493395 h 493395"/>
                <a:gd name="connsiteX130" fmla="*/ 205740 w 693419"/>
                <a:gd name="connsiteY130" fmla="*/ 467678 h 493395"/>
                <a:gd name="connsiteX131" fmla="*/ 205740 w 693419"/>
                <a:gd name="connsiteY131" fmla="*/ 472440 h 493395"/>
                <a:gd name="connsiteX132" fmla="*/ 216218 w 693419"/>
                <a:gd name="connsiteY132" fmla="*/ 493395 h 493395"/>
                <a:gd name="connsiteX133" fmla="*/ 238125 w 693419"/>
                <a:gd name="connsiteY133" fmla="*/ 467678 h 493395"/>
                <a:gd name="connsiteX134" fmla="*/ 234315 w 693419"/>
                <a:gd name="connsiteY134" fmla="*/ 467678 h 493395"/>
                <a:gd name="connsiteX135" fmla="*/ 223838 w 693419"/>
                <a:gd name="connsiteY135" fmla="*/ 477203 h 493395"/>
                <a:gd name="connsiteX136" fmla="*/ 223838 w 693419"/>
                <a:gd name="connsiteY136" fmla="*/ 459105 h 493395"/>
                <a:gd name="connsiteX137" fmla="*/ 244793 w 693419"/>
                <a:gd name="connsiteY137" fmla="*/ 408622 h 493395"/>
                <a:gd name="connsiteX138" fmla="*/ 172403 w 693419"/>
                <a:gd name="connsiteY138" fmla="*/ 430530 h 493395"/>
                <a:gd name="connsiteX139" fmla="*/ 166688 w 693419"/>
                <a:gd name="connsiteY139" fmla="*/ 412433 h 493395"/>
                <a:gd name="connsiteX140" fmla="*/ 146685 w 693419"/>
                <a:gd name="connsiteY140" fmla="*/ 438150 h 493395"/>
                <a:gd name="connsiteX141" fmla="*/ 146685 w 693419"/>
                <a:gd name="connsiteY141" fmla="*/ 426720 h 493395"/>
                <a:gd name="connsiteX142" fmla="*/ 137160 w 693419"/>
                <a:gd name="connsiteY142" fmla="*/ 411480 h 493395"/>
                <a:gd name="connsiteX143" fmla="*/ 115253 w 693419"/>
                <a:gd name="connsiteY143" fmla="*/ 437197 h 493395"/>
                <a:gd name="connsiteX144" fmla="*/ 119063 w 693419"/>
                <a:gd name="connsiteY144" fmla="*/ 437197 h 493395"/>
                <a:gd name="connsiteX145" fmla="*/ 129540 w 693419"/>
                <a:gd name="connsiteY145" fmla="*/ 427672 h 493395"/>
                <a:gd name="connsiteX146" fmla="*/ 129540 w 693419"/>
                <a:gd name="connsiteY146" fmla="*/ 445770 h 493395"/>
                <a:gd name="connsiteX147" fmla="*/ 113348 w 693419"/>
                <a:gd name="connsiteY147" fmla="*/ 481013 h 493395"/>
                <a:gd name="connsiteX148" fmla="*/ 120015 w 693419"/>
                <a:gd name="connsiteY148" fmla="*/ 492442 h 493395"/>
                <a:gd name="connsiteX149" fmla="*/ 127635 w 693419"/>
                <a:gd name="connsiteY149" fmla="*/ 486728 h 493395"/>
                <a:gd name="connsiteX150" fmla="*/ 143828 w 693419"/>
                <a:gd name="connsiteY150" fmla="*/ 444817 h 493395"/>
                <a:gd name="connsiteX151" fmla="*/ 157163 w 693419"/>
                <a:gd name="connsiteY151" fmla="*/ 429578 h 493395"/>
                <a:gd name="connsiteX152" fmla="*/ 172403 w 693419"/>
                <a:gd name="connsiteY152" fmla="*/ 429578 h 493395"/>
                <a:gd name="connsiteX153" fmla="*/ 59055 w 693419"/>
                <a:gd name="connsiteY153" fmla="*/ 489585 h 493395"/>
                <a:gd name="connsiteX154" fmla="*/ 60960 w 693419"/>
                <a:gd name="connsiteY154" fmla="*/ 484822 h 493395"/>
                <a:gd name="connsiteX155" fmla="*/ 46673 w 693419"/>
                <a:gd name="connsiteY155" fmla="*/ 460058 h 493395"/>
                <a:gd name="connsiteX156" fmla="*/ 54293 w 693419"/>
                <a:gd name="connsiteY156" fmla="*/ 438150 h 493395"/>
                <a:gd name="connsiteX157" fmla="*/ 76200 w 693419"/>
                <a:gd name="connsiteY157" fmla="*/ 438150 h 493395"/>
                <a:gd name="connsiteX158" fmla="*/ 84773 w 693419"/>
                <a:gd name="connsiteY158" fmla="*/ 452438 h 493395"/>
                <a:gd name="connsiteX159" fmla="*/ 90488 w 693419"/>
                <a:gd name="connsiteY159" fmla="*/ 452438 h 493395"/>
                <a:gd name="connsiteX160" fmla="*/ 103823 w 693419"/>
                <a:gd name="connsiteY160" fmla="*/ 416242 h 493395"/>
                <a:gd name="connsiteX161" fmla="*/ 98107 w 693419"/>
                <a:gd name="connsiteY161" fmla="*/ 416242 h 493395"/>
                <a:gd name="connsiteX162" fmla="*/ 79057 w 693419"/>
                <a:gd name="connsiteY162" fmla="*/ 430530 h 493395"/>
                <a:gd name="connsiteX163" fmla="*/ 57150 w 693419"/>
                <a:gd name="connsiteY163" fmla="*/ 430530 h 493395"/>
                <a:gd name="connsiteX164" fmla="*/ 68580 w 693419"/>
                <a:gd name="connsiteY164" fmla="*/ 399097 h 493395"/>
                <a:gd name="connsiteX165" fmla="*/ 87630 w 693419"/>
                <a:gd name="connsiteY165" fmla="*/ 386715 h 493395"/>
                <a:gd name="connsiteX166" fmla="*/ 97155 w 693419"/>
                <a:gd name="connsiteY166" fmla="*/ 386715 h 493395"/>
                <a:gd name="connsiteX167" fmla="*/ 112395 w 693419"/>
                <a:gd name="connsiteY167" fmla="*/ 404813 h 493395"/>
                <a:gd name="connsiteX168" fmla="*/ 118110 w 693419"/>
                <a:gd name="connsiteY168" fmla="*/ 404813 h 493395"/>
                <a:gd name="connsiteX169" fmla="*/ 122873 w 693419"/>
                <a:gd name="connsiteY169" fmla="*/ 380047 h 493395"/>
                <a:gd name="connsiteX170" fmla="*/ 40957 w 693419"/>
                <a:gd name="connsiteY170" fmla="*/ 380047 h 493395"/>
                <a:gd name="connsiteX171" fmla="*/ 39053 w 693419"/>
                <a:gd name="connsiteY171" fmla="*/ 384810 h 493395"/>
                <a:gd name="connsiteX172" fmla="*/ 48578 w 693419"/>
                <a:gd name="connsiteY172" fmla="*/ 409575 h 493395"/>
                <a:gd name="connsiteX173" fmla="*/ 30480 w 693419"/>
                <a:gd name="connsiteY173" fmla="*/ 458153 h 493395"/>
                <a:gd name="connsiteX174" fmla="*/ 1905 w 693419"/>
                <a:gd name="connsiteY174" fmla="*/ 482917 h 493395"/>
                <a:gd name="connsiteX175" fmla="*/ 953 w 693419"/>
                <a:gd name="connsiteY175" fmla="*/ 487680 h 493395"/>
                <a:gd name="connsiteX176" fmla="*/ 59055 w 693419"/>
                <a:gd name="connsiteY176" fmla="*/ 487680 h 493395"/>
                <a:gd name="connsiteX177" fmla="*/ 460058 w 693419"/>
                <a:gd name="connsiteY177" fmla="*/ 238125 h 493395"/>
                <a:gd name="connsiteX178" fmla="*/ 467678 w 693419"/>
                <a:gd name="connsiteY178" fmla="*/ 252413 h 493395"/>
                <a:gd name="connsiteX179" fmla="*/ 441960 w 693419"/>
                <a:gd name="connsiteY179" fmla="*/ 258128 h 493395"/>
                <a:gd name="connsiteX180" fmla="*/ 460058 w 693419"/>
                <a:gd name="connsiteY180" fmla="*/ 238125 h 493395"/>
                <a:gd name="connsiteX181" fmla="*/ 474345 w 693419"/>
                <a:gd name="connsiteY181" fmla="*/ 279083 h 493395"/>
                <a:gd name="connsiteX182" fmla="*/ 469583 w 693419"/>
                <a:gd name="connsiteY182" fmla="*/ 279083 h 493395"/>
                <a:gd name="connsiteX183" fmla="*/ 449580 w 693419"/>
                <a:gd name="connsiteY183" fmla="*/ 292417 h 493395"/>
                <a:gd name="connsiteX184" fmla="*/ 439103 w 693419"/>
                <a:gd name="connsiteY184" fmla="*/ 279083 h 493395"/>
                <a:gd name="connsiteX185" fmla="*/ 440055 w 693419"/>
                <a:gd name="connsiteY185" fmla="*/ 267653 h 493395"/>
                <a:gd name="connsiteX186" fmla="*/ 481013 w 693419"/>
                <a:gd name="connsiteY186" fmla="*/ 254317 h 493395"/>
                <a:gd name="connsiteX187" fmla="*/ 467678 w 693419"/>
                <a:gd name="connsiteY187" fmla="*/ 226695 h 493395"/>
                <a:gd name="connsiteX188" fmla="*/ 425768 w 693419"/>
                <a:gd name="connsiteY188" fmla="*/ 287655 h 493395"/>
                <a:gd name="connsiteX189" fmla="*/ 441008 w 693419"/>
                <a:gd name="connsiteY189" fmla="*/ 307658 h 493395"/>
                <a:gd name="connsiteX190" fmla="*/ 474345 w 693419"/>
                <a:gd name="connsiteY190" fmla="*/ 279083 h 493395"/>
                <a:gd name="connsiteX191" fmla="*/ 466725 w 693419"/>
                <a:gd name="connsiteY191" fmla="*/ 219075 h 493395"/>
                <a:gd name="connsiteX192" fmla="*/ 495300 w 693419"/>
                <a:gd name="connsiteY192" fmla="*/ 192405 h 493395"/>
                <a:gd name="connsiteX193" fmla="*/ 495300 w 693419"/>
                <a:gd name="connsiteY193" fmla="*/ 189547 h 493395"/>
                <a:gd name="connsiteX194" fmla="*/ 480060 w 693419"/>
                <a:gd name="connsiteY194" fmla="*/ 189547 h 493395"/>
                <a:gd name="connsiteX195" fmla="*/ 461963 w 693419"/>
                <a:gd name="connsiteY195" fmla="*/ 220028 h 493395"/>
                <a:gd name="connsiteX196" fmla="*/ 466725 w 693419"/>
                <a:gd name="connsiteY196" fmla="*/ 220028 h 493395"/>
                <a:gd name="connsiteX197" fmla="*/ 378143 w 693419"/>
                <a:gd name="connsiteY197" fmla="*/ 238125 h 493395"/>
                <a:gd name="connsiteX198" fmla="*/ 391478 w 693419"/>
                <a:gd name="connsiteY198" fmla="*/ 238125 h 493395"/>
                <a:gd name="connsiteX199" fmla="*/ 369570 w 693419"/>
                <a:gd name="connsiteY199" fmla="*/ 297180 h 493395"/>
                <a:gd name="connsiteX200" fmla="*/ 375285 w 693419"/>
                <a:gd name="connsiteY200" fmla="*/ 307658 h 493395"/>
                <a:gd name="connsiteX201" fmla="*/ 414338 w 693419"/>
                <a:gd name="connsiteY201" fmla="*/ 279083 h 493395"/>
                <a:gd name="connsiteX202" fmla="*/ 410528 w 693419"/>
                <a:gd name="connsiteY202" fmla="*/ 279083 h 493395"/>
                <a:gd name="connsiteX203" fmla="*/ 385763 w 693419"/>
                <a:gd name="connsiteY203" fmla="*/ 294322 h 493395"/>
                <a:gd name="connsiteX204" fmla="*/ 405765 w 693419"/>
                <a:gd name="connsiteY204" fmla="*/ 239078 h 493395"/>
                <a:gd name="connsiteX205" fmla="*/ 425768 w 693419"/>
                <a:gd name="connsiteY205" fmla="*/ 239078 h 493395"/>
                <a:gd name="connsiteX206" fmla="*/ 428625 w 693419"/>
                <a:gd name="connsiteY206" fmla="*/ 230505 h 493395"/>
                <a:gd name="connsiteX207" fmla="*/ 408622 w 693419"/>
                <a:gd name="connsiteY207" fmla="*/ 230505 h 493395"/>
                <a:gd name="connsiteX208" fmla="*/ 416243 w 693419"/>
                <a:gd name="connsiteY208" fmla="*/ 209550 h 493395"/>
                <a:gd name="connsiteX209" fmla="*/ 408622 w 693419"/>
                <a:gd name="connsiteY209" fmla="*/ 209550 h 493395"/>
                <a:gd name="connsiteX210" fmla="*/ 394335 w 693419"/>
                <a:gd name="connsiteY210" fmla="*/ 230505 h 493395"/>
                <a:gd name="connsiteX211" fmla="*/ 377190 w 693419"/>
                <a:gd name="connsiteY211" fmla="*/ 232410 h 493395"/>
                <a:gd name="connsiteX212" fmla="*/ 377190 w 693419"/>
                <a:gd name="connsiteY212" fmla="*/ 238125 h 493395"/>
                <a:gd name="connsiteX213" fmla="*/ 359093 w 693419"/>
                <a:gd name="connsiteY213" fmla="*/ 235267 h 493395"/>
                <a:gd name="connsiteX214" fmla="*/ 354330 w 693419"/>
                <a:gd name="connsiteY214" fmla="*/ 226695 h 493395"/>
                <a:gd name="connsiteX215" fmla="*/ 322898 w 693419"/>
                <a:gd name="connsiteY215" fmla="*/ 252413 h 493395"/>
                <a:gd name="connsiteX216" fmla="*/ 326708 w 693419"/>
                <a:gd name="connsiteY216" fmla="*/ 252413 h 493395"/>
                <a:gd name="connsiteX217" fmla="*/ 342900 w 693419"/>
                <a:gd name="connsiteY217" fmla="*/ 240030 h 493395"/>
                <a:gd name="connsiteX218" fmla="*/ 320040 w 693419"/>
                <a:gd name="connsiteY218" fmla="*/ 299085 h 493395"/>
                <a:gd name="connsiteX219" fmla="*/ 324803 w 693419"/>
                <a:gd name="connsiteY219" fmla="*/ 307658 h 493395"/>
                <a:gd name="connsiteX220" fmla="*/ 355283 w 693419"/>
                <a:gd name="connsiteY220" fmla="*/ 281940 h 493395"/>
                <a:gd name="connsiteX221" fmla="*/ 351472 w 693419"/>
                <a:gd name="connsiteY221" fmla="*/ 281940 h 493395"/>
                <a:gd name="connsiteX222" fmla="*/ 335280 w 693419"/>
                <a:gd name="connsiteY222" fmla="*/ 294322 h 493395"/>
                <a:gd name="connsiteX223" fmla="*/ 359093 w 693419"/>
                <a:gd name="connsiteY223" fmla="*/ 235267 h 493395"/>
                <a:gd name="connsiteX224" fmla="*/ 363855 w 693419"/>
                <a:gd name="connsiteY224" fmla="*/ 205740 h 493395"/>
                <a:gd name="connsiteX225" fmla="*/ 373380 w 693419"/>
                <a:gd name="connsiteY225" fmla="*/ 196215 h 493395"/>
                <a:gd name="connsiteX226" fmla="*/ 363855 w 693419"/>
                <a:gd name="connsiteY226" fmla="*/ 186690 h 493395"/>
                <a:gd name="connsiteX227" fmla="*/ 354330 w 693419"/>
                <a:gd name="connsiteY227" fmla="*/ 196215 h 493395"/>
                <a:gd name="connsiteX228" fmla="*/ 363855 w 693419"/>
                <a:gd name="connsiteY228" fmla="*/ 205740 h 493395"/>
                <a:gd name="connsiteX229" fmla="*/ 284798 w 693419"/>
                <a:gd name="connsiteY229" fmla="*/ 294322 h 493395"/>
                <a:gd name="connsiteX230" fmla="*/ 325755 w 693419"/>
                <a:gd name="connsiteY230" fmla="*/ 185738 h 493395"/>
                <a:gd name="connsiteX231" fmla="*/ 324803 w 693419"/>
                <a:gd name="connsiteY231" fmla="*/ 183833 h 493395"/>
                <a:gd name="connsiteX232" fmla="*/ 299085 w 693419"/>
                <a:gd name="connsiteY232" fmla="*/ 186690 h 493395"/>
                <a:gd name="connsiteX233" fmla="*/ 299085 w 693419"/>
                <a:gd name="connsiteY233" fmla="*/ 189547 h 493395"/>
                <a:gd name="connsiteX234" fmla="*/ 303848 w 693419"/>
                <a:gd name="connsiteY234" fmla="*/ 193358 h 493395"/>
                <a:gd name="connsiteX235" fmla="*/ 302895 w 693419"/>
                <a:gd name="connsiteY235" fmla="*/ 211455 h 493395"/>
                <a:gd name="connsiteX236" fmla="*/ 270510 w 693419"/>
                <a:gd name="connsiteY236" fmla="*/ 296228 h 493395"/>
                <a:gd name="connsiteX237" fmla="*/ 276225 w 693419"/>
                <a:gd name="connsiteY237" fmla="*/ 306705 h 493395"/>
                <a:gd name="connsiteX238" fmla="*/ 306705 w 693419"/>
                <a:gd name="connsiteY238" fmla="*/ 280988 h 493395"/>
                <a:gd name="connsiteX239" fmla="*/ 302895 w 693419"/>
                <a:gd name="connsiteY239" fmla="*/ 280988 h 493395"/>
                <a:gd name="connsiteX240" fmla="*/ 284798 w 693419"/>
                <a:gd name="connsiteY240" fmla="*/ 294322 h 493395"/>
                <a:gd name="connsiteX241" fmla="*/ 205740 w 693419"/>
                <a:gd name="connsiteY241" fmla="*/ 284797 h 493395"/>
                <a:gd name="connsiteX242" fmla="*/ 237173 w 693419"/>
                <a:gd name="connsiteY242" fmla="*/ 241935 h 493395"/>
                <a:gd name="connsiteX243" fmla="*/ 243840 w 693419"/>
                <a:gd name="connsiteY243" fmla="*/ 242888 h 493395"/>
                <a:gd name="connsiteX244" fmla="*/ 232410 w 693419"/>
                <a:gd name="connsiteY244" fmla="*/ 274320 h 493395"/>
                <a:gd name="connsiteX245" fmla="*/ 210503 w 693419"/>
                <a:gd name="connsiteY245" fmla="*/ 292417 h 493395"/>
                <a:gd name="connsiteX246" fmla="*/ 205740 w 693419"/>
                <a:gd name="connsiteY246" fmla="*/ 284797 h 493395"/>
                <a:gd name="connsiteX247" fmla="*/ 268605 w 693419"/>
                <a:gd name="connsiteY247" fmla="*/ 223838 h 493395"/>
                <a:gd name="connsiteX248" fmla="*/ 261938 w 693419"/>
                <a:gd name="connsiteY248" fmla="*/ 223838 h 493395"/>
                <a:gd name="connsiteX249" fmla="*/ 255270 w 693419"/>
                <a:gd name="connsiteY249" fmla="*/ 230505 h 493395"/>
                <a:gd name="connsiteX250" fmla="*/ 253365 w 693419"/>
                <a:gd name="connsiteY250" fmla="*/ 230505 h 493395"/>
                <a:gd name="connsiteX251" fmla="*/ 190500 w 693419"/>
                <a:gd name="connsiteY251" fmla="*/ 296228 h 493395"/>
                <a:gd name="connsiteX252" fmla="*/ 202883 w 693419"/>
                <a:gd name="connsiteY252" fmla="*/ 308610 h 493395"/>
                <a:gd name="connsiteX253" fmla="*/ 229553 w 693419"/>
                <a:gd name="connsiteY253" fmla="*/ 282892 h 493395"/>
                <a:gd name="connsiteX254" fmla="*/ 229553 w 693419"/>
                <a:gd name="connsiteY254" fmla="*/ 287655 h 493395"/>
                <a:gd name="connsiteX255" fmla="*/ 240030 w 693419"/>
                <a:gd name="connsiteY255" fmla="*/ 308610 h 493395"/>
                <a:gd name="connsiteX256" fmla="*/ 261938 w 693419"/>
                <a:gd name="connsiteY256" fmla="*/ 282892 h 493395"/>
                <a:gd name="connsiteX257" fmla="*/ 258128 w 693419"/>
                <a:gd name="connsiteY257" fmla="*/ 282892 h 493395"/>
                <a:gd name="connsiteX258" fmla="*/ 247650 w 693419"/>
                <a:gd name="connsiteY258" fmla="*/ 292417 h 493395"/>
                <a:gd name="connsiteX259" fmla="*/ 247650 w 693419"/>
                <a:gd name="connsiteY259" fmla="*/ 274320 h 493395"/>
                <a:gd name="connsiteX260" fmla="*/ 268605 w 693419"/>
                <a:gd name="connsiteY260" fmla="*/ 223838 h 493395"/>
                <a:gd name="connsiteX261" fmla="*/ 117157 w 693419"/>
                <a:gd name="connsiteY261" fmla="*/ 321945 h 493395"/>
                <a:gd name="connsiteX262" fmla="*/ 135255 w 693419"/>
                <a:gd name="connsiteY262" fmla="*/ 304800 h 493395"/>
                <a:gd name="connsiteX263" fmla="*/ 151448 w 693419"/>
                <a:gd name="connsiteY263" fmla="*/ 310515 h 493395"/>
                <a:gd name="connsiteX264" fmla="*/ 166688 w 693419"/>
                <a:gd name="connsiteY264" fmla="*/ 319088 h 493395"/>
                <a:gd name="connsiteX265" fmla="*/ 137160 w 693419"/>
                <a:gd name="connsiteY265" fmla="*/ 331470 h 493395"/>
                <a:gd name="connsiteX266" fmla="*/ 117157 w 693419"/>
                <a:gd name="connsiteY266" fmla="*/ 321945 h 493395"/>
                <a:gd name="connsiteX267" fmla="*/ 147638 w 693419"/>
                <a:gd name="connsiteY267" fmla="*/ 274320 h 493395"/>
                <a:gd name="connsiteX268" fmla="*/ 140970 w 693419"/>
                <a:gd name="connsiteY268" fmla="*/ 265747 h 493395"/>
                <a:gd name="connsiteX269" fmla="*/ 159068 w 693419"/>
                <a:gd name="connsiteY269" fmla="*/ 233363 h 493395"/>
                <a:gd name="connsiteX270" fmla="*/ 165735 w 693419"/>
                <a:gd name="connsiteY270" fmla="*/ 241935 h 493395"/>
                <a:gd name="connsiteX271" fmla="*/ 147638 w 693419"/>
                <a:gd name="connsiteY271" fmla="*/ 274320 h 493395"/>
                <a:gd name="connsiteX272" fmla="*/ 180023 w 693419"/>
                <a:gd name="connsiteY272" fmla="*/ 314325 h 493395"/>
                <a:gd name="connsiteX273" fmla="*/ 158115 w 693419"/>
                <a:gd name="connsiteY273" fmla="*/ 297180 h 493395"/>
                <a:gd name="connsiteX274" fmla="*/ 140970 w 693419"/>
                <a:gd name="connsiteY274" fmla="*/ 288608 h 493395"/>
                <a:gd name="connsiteX275" fmla="*/ 148590 w 693419"/>
                <a:gd name="connsiteY275" fmla="*/ 279083 h 493395"/>
                <a:gd name="connsiteX276" fmla="*/ 180975 w 693419"/>
                <a:gd name="connsiteY276" fmla="*/ 245745 h 493395"/>
                <a:gd name="connsiteX277" fmla="*/ 179070 w 693419"/>
                <a:gd name="connsiteY277" fmla="*/ 237172 h 493395"/>
                <a:gd name="connsiteX278" fmla="*/ 195263 w 693419"/>
                <a:gd name="connsiteY278" fmla="*/ 237172 h 493395"/>
                <a:gd name="connsiteX279" fmla="*/ 198120 w 693419"/>
                <a:gd name="connsiteY279" fmla="*/ 228600 h 493395"/>
                <a:gd name="connsiteX280" fmla="*/ 172403 w 693419"/>
                <a:gd name="connsiteY280" fmla="*/ 228600 h 493395"/>
                <a:gd name="connsiteX281" fmla="*/ 161925 w 693419"/>
                <a:gd name="connsiteY281" fmla="*/ 225742 h 493395"/>
                <a:gd name="connsiteX282" fmla="*/ 127635 w 693419"/>
                <a:gd name="connsiteY282" fmla="*/ 258128 h 493395"/>
                <a:gd name="connsiteX283" fmla="*/ 143828 w 693419"/>
                <a:gd name="connsiteY283" fmla="*/ 278130 h 493395"/>
                <a:gd name="connsiteX284" fmla="*/ 128588 w 693419"/>
                <a:gd name="connsiteY284" fmla="*/ 293370 h 493395"/>
                <a:gd name="connsiteX285" fmla="*/ 132398 w 693419"/>
                <a:gd name="connsiteY285" fmla="*/ 300990 h 493395"/>
                <a:gd name="connsiteX286" fmla="*/ 100965 w 693419"/>
                <a:gd name="connsiteY286" fmla="*/ 325755 h 493395"/>
                <a:gd name="connsiteX287" fmla="*/ 130493 w 693419"/>
                <a:gd name="connsiteY287" fmla="*/ 340042 h 493395"/>
                <a:gd name="connsiteX288" fmla="*/ 180023 w 693419"/>
                <a:gd name="connsiteY288" fmla="*/ 314325 h 493395"/>
                <a:gd name="connsiteX289" fmla="*/ 76200 w 693419"/>
                <a:gd name="connsiteY289" fmla="*/ 251460 h 493395"/>
                <a:gd name="connsiteX290" fmla="*/ 84773 w 693419"/>
                <a:gd name="connsiteY290" fmla="*/ 265747 h 493395"/>
                <a:gd name="connsiteX291" fmla="*/ 90488 w 693419"/>
                <a:gd name="connsiteY291" fmla="*/ 265747 h 493395"/>
                <a:gd name="connsiteX292" fmla="*/ 103823 w 693419"/>
                <a:gd name="connsiteY292" fmla="*/ 229553 h 493395"/>
                <a:gd name="connsiteX293" fmla="*/ 98107 w 693419"/>
                <a:gd name="connsiteY293" fmla="*/ 229553 h 493395"/>
                <a:gd name="connsiteX294" fmla="*/ 79057 w 693419"/>
                <a:gd name="connsiteY294" fmla="*/ 243840 h 493395"/>
                <a:gd name="connsiteX295" fmla="*/ 57150 w 693419"/>
                <a:gd name="connsiteY295" fmla="*/ 243840 h 493395"/>
                <a:gd name="connsiteX296" fmla="*/ 67628 w 693419"/>
                <a:gd name="connsiteY296" fmla="*/ 214313 h 493395"/>
                <a:gd name="connsiteX297" fmla="*/ 86678 w 693419"/>
                <a:gd name="connsiteY297" fmla="*/ 202883 h 493395"/>
                <a:gd name="connsiteX298" fmla="*/ 96203 w 693419"/>
                <a:gd name="connsiteY298" fmla="*/ 202883 h 493395"/>
                <a:gd name="connsiteX299" fmla="*/ 111443 w 693419"/>
                <a:gd name="connsiteY299" fmla="*/ 220028 h 493395"/>
                <a:gd name="connsiteX300" fmla="*/ 117157 w 693419"/>
                <a:gd name="connsiteY300" fmla="*/ 220028 h 493395"/>
                <a:gd name="connsiteX301" fmla="*/ 121920 w 693419"/>
                <a:gd name="connsiteY301" fmla="*/ 195263 h 493395"/>
                <a:gd name="connsiteX302" fmla="*/ 40005 w 693419"/>
                <a:gd name="connsiteY302" fmla="*/ 195263 h 493395"/>
                <a:gd name="connsiteX303" fmla="*/ 38100 w 693419"/>
                <a:gd name="connsiteY303" fmla="*/ 200025 h 493395"/>
                <a:gd name="connsiteX304" fmla="*/ 47625 w 693419"/>
                <a:gd name="connsiteY304" fmla="*/ 224790 h 493395"/>
                <a:gd name="connsiteX305" fmla="*/ 29528 w 693419"/>
                <a:gd name="connsiteY305" fmla="*/ 273367 h 493395"/>
                <a:gd name="connsiteX306" fmla="*/ 953 w 693419"/>
                <a:gd name="connsiteY306" fmla="*/ 298133 h 493395"/>
                <a:gd name="connsiteX307" fmla="*/ 0 w 693419"/>
                <a:gd name="connsiteY307" fmla="*/ 302895 h 493395"/>
                <a:gd name="connsiteX308" fmla="*/ 91440 w 693419"/>
                <a:gd name="connsiteY308" fmla="*/ 302895 h 493395"/>
                <a:gd name="connsiteX309" fmla="*/ 107632 w 693419"/>
                <a:gd name="connsiteY309" fmla="*/ 277178 h 493395"/>
                <a:gd name="connsiteX310" fmla="*/ 101918 w 693419"/>
                <a:gd name="connsiteY310" fmla="*/ 277178 h 493395"/>
                <a:gd name="connsiteX311" fmla="*/ 60007 w 693419"/>
                <a:gd name="connsiteY311" fmla="*/ 296228 h 493395"/>
                <a:gd name="connsiteX312" fmla="*/ 45720 w 693419"/>
                <a:gd name="connsiteY312" fmla="*/ 273367 h 493395"/>
                <a:gd name="connsiteX313" fmla="*/ 54293 w 693419"/>
                <a:gd name="connsiteY313" fmla="*/ 249555 h 493395"/>
                <a:gd name="connsiteX314" fmla="*/ 76200 w 693419"/>
                <a:gd name="connsiteY314" fmla="*/ 249555 h 493395"/>
                <a:gd name="connsiteX315" fmla="*/ 88582 w 693419"/>
                <a:gd name="connsiteY315" fmla="*/ 188595 h 493395"/>
                <a:gd name="connsiteX316" fmla="*/ 117157 w 693419"/>
                <a:gd name="connsiteY316" fmla="*/ 168592 h 493395"/>
                <a:gd name="connsiteX317" fmla="*/ 117157 w 693419"/>
                <a:gd name="connsiteY317" fmla="*/ 165735 h 493395"/>
                <a:gd name="connsiteX318" fmla="*/ 100013 w 693419"/>
                <a:gd name="connsiteY318" fmla="*/ 165735 h 493395"/>
                <a:gd name="connsiteX319" fmla="*/ 83820 w 693419"/>
                <a:gd name="connsiteY319" fmla="*/ 188595 h 493395"/>
                <a:gd name="connsiteX320" fmla="*/ 88582 w 693419"/>
                <a:gd name="connsiteY320" fmla="*/ 188595 h 493395"/>
                <a:gd name="connsiteX321" fmla="*/ 450533 w 693419"/>
                <a:gd name="connsiteY321" fmla="*/ 52388 h 493395"/>
                <a:gd name="connsiteX322" fmla="*/ 458153 w 693419"/>
                <a:gd name="connsiteY322" fmla="*/ 66675 h 493395"/>
                <a:gd name="connsiteX323" fmla="*/ 432435 w 693419"/>
                <a:gd name="connsiteY323" fmla="*/ 72390 h 493395"/>
                <a:gd name="connsiteX324" fmla="*/ 450533 w 693419"/>
                <a:gd name="connsiteY324" fmla="*/ 52388 h 493395"/>
                <a:gd name="connsiteX325" fmla="*/ 464820 w 693419"/>
                <a:gd name="connsiteY325" fmla="*/ 93345 h 493395"/>
                <a:gd name="connsiteX326" fmla="*/ 460058 w 693419"/>
                <a:gd name="connsiteY326" fmla="*/ 93345 h 493395"/>
                <a:gd name="connsiteX327" fmla="*/ 440055 w 693419"/>
                <a:gd name="connsiteY327" fmla="*/ 106680 h 493395"/>
                <a:gd name="connsiteX328" fmla="*/ 429578 w 693419"/>
                <a:gd name="connsiteY328" fmla="*/ 93345 h 493395"/>
                <a:gd name="connsiteX329" fmla="*/ 430530 w 693419"/>
                <a:gd name="connsiteY329" fmla="*/ 81915 h 493395"/>
                <a:gd name="connsiteX330" fmla="*/ 471488 w 693419"/>
                <a:gd name="connsiteY330" fmla="*/ 68580 h 493395"/>
                <a:gd name="connsiteX331" fmla="*/ 458153 w 693419"/>
                <a:gd name="connsiteY331" fmla="*/ 40958 h 493395"/>
                <a:gd name="connsiteX332" fmla="*/ 416243 w 693419"/>
                <a:gd name="connsiteY332" fmla="*/ 101917 h 493395"/>
                <a:gd name="connsiteX333" fmla="*/ 431483 w 693419"/>
                <a:gd name="connsiteY333" fmla="*/ 121920 h 493395"/>
                <a:gd name="connsiteX334" fmla="*/ 464820 w 693419"/>
                <a:gd name="connsiteY334" fmla="*/ 93345 h 493395"/>
                <a:gd name="connsiteX335" fmla="*/ 457200 w 693419"/>
                <a:gd name="connsiteY335" fmla="*/ 33338 h 493395"/>
                <a:gd name="connsiteX336" fmla="*/ 485775 w 693419"/>
                <a:gd name="connsiteY336" fmla="*/ 6667 h 493395"/>
                <a:gd name="connsiteX337" fmla="*/ 485775 w 693419"/>
                <a:gd name="connsiteY337" fmla="*/ 3810 h 493395"/>
                <a:gd name="connsiteX338" fmla="*/ 470535 w 693419"/>
                <a:gd name="connsiteY338" fmla="*/ 3810 h 493395"/>
                <a:gd name="connsiteX339" fmla="*/ 452438 w 693419"/>
                <a:gd name="connsiteY339" fmla="*/ 34290 h 493395"/>
                <a:gd name="connsiteX340" fmla="*/ 457200 w 693419"/>
                <a:gd name="connsiteY340" fmla="*/ 34290 h 493395"/>
                <a:gd name="connsiteX341" fmla="*/ 371475 w 693419"/>
                <a:gd name="connsiteY341" fmla="*/ 52388 h 493395"/>
                <a:gd name="connsiteX342" fmla="*/ 381953 w 693419"/>
                <a:gd name="connsiteY342" fmla="*/ 52388 h 493395"/>
                <a:gd name="connsiteX343" fmla="*/ 360045 w 693419"/>
                <a:gd name="connsiteY343" fmla="*/ 111442 h 493395"/>
                <a:gd name="connsiteX344" fmla="*/ 365760 w 693419"/>
                <a:gd name="connsiteY344" fmla="*/ 121920 h 493395"/>
                <a:gd name="connsiteX345" fmla="*/ 404813 w 693419"/>
                <a:gd name="connsiteY345" fmla="*/ 93345 h 493395"/>
                <a:gd name="connsiteX346" fmla="*/ 401003 w 693419"/>
                <a:gd name="connsiteY346" fmla="*/ 93345 h 493395"/>
                <a:gd name="connsiteX347" fmla="*/ 376238 w 693419"/>
                <a:gd name="connsiteY347" fmla="*/ 108585 h 493395"/>
                <a:gd name="connsiteX348" fmla="*/ 396240 w 693419"/>
                <a:gd name="connsiteY348" fmla="*/ 53340 h 493395"/>
                <a:gd name="connsiteX349" fmla="*/ 416243 w 693419"/>
                <a:gd name="connsiteY349" fmla="*/ 53340 h 493395"/>
                <a:gd name="connsiteX350" fmla="*/ 419100 w 693419"/>
                <a:gd name="connsiteY350" fmla="*/ 44767 h 493395"/>
                <a:gd name="connsiteX351" fmla="*/ 399097 w 693419"/>
                <a:gd name="connsiteY351" fmla="*/ 44767 h 493395"/>
                <a:gd name="connsiteX352" fmla="*/ 406718 w 693419"/>
                <a:gd name="connsiteY352" fmla="*/ 23813 h 493395"/>
                <a:gd name="connsiteX353" fmla="*/ 399097 w 693419"/>
                <a:gd name="connsiteY353" fmla="*/ 23813 h 493395"/>
                <a:gd name="connsiteX354" fmla="*/ 384810 w 693419"/>
                <a:gd name="connsiteY354" fmla="*/ 44767 h 493395"/>
                <a:gd name="connsiteX355" fmla="*/ 370522 w 693419"/>
                <a:gd name="connsiteY355" fmla="*/ 46672 h 493395"/>
                <a:gd name="connsiteX356" fmla="*/ 370522 w 693419"/>
                <a:gd name="connsiteY356" fmla="*/ 52388 h 493395"/>
                <a:gd name="connsiteX357" fmla="*/ 360997 w 693419"/>
                <a:gd name="connsiteY357" fmla="*/ 59055 h 493395"/>
                <a:gd name="connsiteX358" fmla="*/ 355283 w 693419"/>
                <a:gd name="connsiteY358" fmla="*/ 40958 h 493395"/>
                <a:gd name="connsiteX359" fmla="*/ 335280 w 693419"/>
                <a:gd name="connsiteY359" fmla="*/ 66675 h 493395"/>
                <a:gd name="connsiteX360" fmla="*/ 335280 w 693419"/>
                <a:gd name="connsiteY360" fmla="*/ 55245 h 493395"/>
                <a:gd name="connsiteX361" fmla="*/ 325755 w 693419"/>
                <a:gd name="connsiteY361" fmla="*/ 40005 h 493395"/>
                <a:gd name="connsiteX362" fmla="*/ 303848 w 693419"/>
                <a:gd name="connsiteY362" fmla="*/ 65722 h 493395"/>
                <a:gd name="connsiteX363" fmla="*/ 307658 w 693419"/>
                <a:gd name="connsiteY363" fmla="*/ 65722 h 493395"/>
                <a:gd name="connsiteX364" fmla="*/ 318135 w 693419"/>
                <a:gd name="connsiteY364" fmla="*/ 56197 h 493395"/>
                <a:gd name="connsiteX365" fmla="*/ 318135 w 693419"/>
                <a:gd name="connsiteY365" fmla="*/ 74295 h 493395"/>
                <a:gd name="connsiteX366" fmla="*/ 301943 w 693419"/>
                <a:gd name="connsiteY366" fmla="*/ 109538 h 493395"/>
                <a:gd name="connsiteX367" fmla="*/ 308610 w 693419"/>
                <a:gd name="connsiteY367" fmla="*/ 120967 h 493395"/>
                <a:gd name="connsiteX368" fmla="*/ 316230 w 693419"/>
                <a:gd name="connsiteY368" fmla="*/ 115253 h 493395"/>
                <a:gd name="connsiteX369" fmla="*/ 332423 w 693419"/>
                <a:gd name="connsiteY369" fmla="*/ 73342 h 493395"/>
                <a:gd name="connsiteX370" fmla="*/ 345758 w 693419"/>
                <a:gd name="connsiteY370" fmla="*/ 58103 h 493395"/>
                <a:gd name="connsiteX371" fmla="*/ 360997 w 693419"/>
                <a:gd name="connsiteY371" fmla="*/ 58103 h 493395"/>
                <a:gd name="connsiteX372" fmla="*/ 269558 w 693419"/>
                <a:gd name="connsiteY372" fmla="*/ 52388 h 493395"/>
                <a:gd name="connsiteX373" fmla="*/ 277178 w 693419"/>
                <a:gd name="connsiteY373" fmla="*/ 66675 h 493395"/>
                <a:gd name="connsiteX374" fmla="*/ 251460 w 693419"/>
                <a:gd name="connsiteY374" fmla="*/ 72390 h 493395"/>
                <a:gd name="connsiteX375" fmla="*/ 269558 w 693419"/>
                <a:gd name="connsiteY375" fmla="*/ 52388 h 493395"/>
                <a:gd name="connsiteX376" fmla="*/ 283845 w 693419"/>
                <a:gd name="connsiteY376" fmla="*/ 93345 h 493395"/>
                <a:gd name="connsiteX377" fmla="*/ 279083 w 693419"/>
                <a:gd name="connsiteY377" fmla="*/ 93345 h 493395"/>
                <a:gd name="connsiteX378" fmla="*/ 259080 w 693419"/>
                <a:gd name="connsiteY378" fmla="*/ 106680 h 493395"/>
                <a:gd name="connsiteX379" fmla="*/ 248603 w 693419"/>
                <a:gd name="connsiteY379" fmla="*/ 93345 h 493395"/>
                <a:gd name="connsiteX380" fmla="*/ 249555 w 693419"/>
                <a:gd name="connsiteY380" fmla="*/ 81915 h 493395"/>
                <a:gd name="connsiteX381" fmla="*/ 290513 w 693419"/>
                <a:gd name="connsiteY381" fmla="*/ 68580 h 493395"/>
                <a:gd name="connsiteX382" fmla="*/ 277178 w 693419"/>
                <a:gd name="connsiteY382" fmla="*/ 40958 h 493395"/>
                <a:gd name="connsiteX383" fmla="*/ 235268 w 693419"/>
                <a:gd name="connsiteY383" fmla="*/ 101917 h 493395"/>
                <a:gd name="connsiteX384" fmla="*/ 250508 w 693419"/>
                <a:gd name="connsiteY384" fmla="*/ 121920 h 493395"/>
                <a:gd name="connsiteX385" fmla="*/ 283845 w 693419"/>
                <a:gd name="connsiteY385" fmla="*/ 93345 h 493395"/>
                <a:gd name="connsiteX386" fmla="*/ 182880 w 693419"/>
                <a:gd name="connsiteY386" fmla="*/ 110490 h 493395"/>
                <a:gd name="connsiteX387" fmla="*/ 173355 w 693419"/>
                <a:gd name="connsiteY387" fmla="*/ 103822 h 493395"/>
                <a:gd name="connsiteX388" fmla="*/ 177165 w 693419"/>
                <a:gd name="connsiteY388" fmla="*/ 92392 h 493395"/>
                <a:gd name="connsiteX389" fmla="*/ 183833 w 693419"/>
                <a:gd name="connsiteY389" fmla="*/ 74295 h 493395"/>
                <a:gd name="connsiteX390" fmla="*/ 207645 w 693419"/>
                <a:gd name="connsiteY390" fmla="*/ 57150 h 493395"/>
                <a:gd name="connsiteX391" fmla="*/ 214313 w 693419"/>
                <a:gd name="connsiteY391" fmla="*/ 64770 h 493395"/>
                <a:gd name="connsiteX392" fmla="*/ 182880 w 693419"/>
                <a:gd name="connsiteY392" fmla="*/ 110490 h 493395"/>
                <a:gd name="connsiteX393" fmla="*/ 230505 w 693419"/>
                <a:gd name="connsiteY393" fmla="*/ 58103 h 493395"/>
                <a:gd name="connsiteX394" fmla="*/ 218123 w 693419"/>
                <a:gd name="connsiteY394" fmla="*/ 41910 h 493395"/>
                <a:gd name="connsiteX395" fmla="*/ 188595 w 693419"/>
                <a:gd name="connsiteY395" fmla="*/ 66675 h 493395"/>
                <a:gd name="connsiteX396" fmla="*/ 213360 w 693419"/>
                <a:gd name="connsiteY396" fmla="*/ 1905 h 493395"/>
                <a:gd name="connsiteX397" fmla="*/ 212408 w 693419"/>
                <a:gd name="connsiteY397" fmla="*/ 0 h 493395"/>
                <a:gd name="connsiteX398" fmla="*/ 186690 w 693419"/>
                <a:gd name="connsiteY398" fmla="*/ 2858 h 493395"/>
                <a:gd name="connsiteX399" fmla="*/ 186690 w 693419"/>
                <a:gd name="connsiteY399" fmla="*/ 5715 h 493395"/>
                <a:gd name="connsiteX400" fmla="*/ 191453 w 693419"/>
                <a:gd name="connsiteY400" fmla="*/ 9525 h 493395"/>
                <a:gd name="connsiteX401" fmla="*/ 190500 w 693419"/>
                <a:gd name="connsiteY401" fmla="*/ 27622 h 493395"/>
                <a:gd name="connsiteX402" fmla="*/ 163830 w 693419"/>
                <a:gd name="connsiteY402" fmla="*/ 96203 h 493395"/>
                <a:gd name="connsiteX403" fmla="*/ 159068 w 693419"/>
                <a:gd name="connsiteY403" fmla="*/ 108585 h 493395"/>
                <a:gd name="connsiteX404" fmla="*/ 177165 w 693419"/>
                <a:gd name="connsiteY404" fmla="*/ 121920 h 493395"/>
                <a:gd name="connsiteX405" fmla="*/ 230505 w 693419"/>
                <a:gd name="connsiteY405" fmla="*/ 58103 h 493395"/>
                <a:gd name="connsiteX406" fmla="*/ 149543 w 693419"/>
                <a:gd name="connsiteY406" fmla="*/ 49530 h 493395"/>
                <a:gd name="connsiteX407" fmla="*/ 144780 w 693419"/>
                <a:gd name="connsiteY407" fmla="*/ 40958 h 493395"/>
                <a:gd name="connsiteX408" fmla="*/ 113348 w 693419"/>
                <a:gd name="connsiteY408" fmla="*/ 66675 h 493395"/>
                <a:gd name="connsiteX409" fmla="*/ 117157 w 693419"/>
                <a:gd name="connsiteY409" fmla="*/ 66675 h 493395"/>
                <a:gd name="connsiteX410" fmla="*/ 133350 w 693419"/>
                <a:gd name="connsiteY410" fmla="*/ 54292 h 493395"/>
                <a:gd name="connsiteX411" fmla="*/ 110490 w 693419"/>
                <a:gd name="connsiteY411" fmla="*/ 113347 h 493395"/>
                <a:gd name="connsiteX412" fmla="*/ 115253 w 693419"/>
                <a:gd name="connsiteY412" fmla="*/ 121920 h 493395"/>
                <a:gd name="connsiteX413" fmla="*/ 145733 w 693419"/>
                <a:gd name="connsiteY413" fmla="*/ 96203 h 493395"/>
                <a:gd name="connsiteX414" fmla="*/ 141923 w 693419"/>
                <a:gd name="connsiteY414" fmla="*/ 96203 h 493395"/>
                <a:gd name="connsiteX415" fmla="*/ 125730 w 693419"/>
                <a:gd name="connsiteY415" fmla="*/ 108585 h 493395"/>
                <a:gd name="connsiteX416" fmla="*/ 149543 w 693419"/>
                <a:gd name="connsiteY416" fmla="*/ 49530 h 493395"/>
                <a:gd name="connsiteX417" fmla="*/ 153353 w 693419"/>
                <a:gd name="connsiteY417" fmla="*/ 20003 h 493395"/>
                <a:gd name="connsiteX418" fmla="*/ 162878 w 693419"/>
                <a:gd name="connsiteY418" fmla="*/ 10478 h 493395"/>
                <a:gd name="connsiteX419" fmla="*/ 153353 w 693419"/>
                <a:gd name="connsiteY419" fmla="*/ 953 h 493395"/>
                <a:gd name="connsiteX420" fmla="*/ 143828 w 693419"/>
                <a:gd name="connsiteY420" fmla="*/ 10478 h 493395"/>
                <a:gd name="connsiteX421" fmla="*/ 153353 w 693419"/>
                <a:gd name="connsiteY421" fmla="*/ 20003 h 493395"/>
                <a:gd name="connsiteX422" fmla="*/ 93345 w 693419"/>
                <a:gd name="connsiteY422" fmla="*/ 10478 h 493395"/>
                <a:gd name="connsiteX423" fmla="*/ 39053 w 693419"/>
                <a:gd name="connsiteY423" fmla="*/ 10478 h 493395"/>
                <a:gd name="connsiteX424" fmla="*/ 37148 w 693419"/>
                <a:gd name="connsiteY424" fmla="*/ 15240 h 493395"/>
                <a:gd name="connsiteX425" fmla="*/ 46673 w 693419"/>
                <a:gd name="connsiteY425" fmla="*/ 40005 h 493395"/>
                <a:gd name="connsiteX426" fmla="*/ 29528 w 693419"/>
                <a:gd name="connsiteY426" fmla="*/ 88583 h 493395"/>
                <a:gd name="connsiteX427" fmla="*/ 953 w 693419"/>
                <a:gd name="connsiteY427" fmla="*/ 113347 h 493395"/>
                <a:gd name="connsiteX428" fmla="*/ 0 w 693419"/>
                <a:gd name="connsiteY428" fmla="*/ 118110 h 493395"/>
                <a:gd name="connsiteX429" fmla="*/ 82868 w 693419"/>
                <a:gd name="connsiteY429" fmla="*/ 118110 h 493395"/>
                <a:gd name="connsiteX430" fmla="*/ 100965 w 693419"/>
                <a:gd name="connsiteY430" fmla="*/ 86678 h 493395"/>
                <a:gd name="connsiteX431" fmla="*/ 94298 w 693419"/>
                <a:gd name="connsiteY431" fmla="*/ 86678 h 493395"/>
                <a:gd name="connsiteX432" fmla="*/ 54293 w 693419"/>
                <a:gd name="connsiteY432" fmla="*/ 111442 h 493395"/>
                <a:gd name="connsiteX433" fmla="*/ 46673 w 693419"/>
                <a:gd name="connsiteY433" fmla="*/ 88583 h 493395"/>
                <a:gd name="connsiteX434" fmla="*/ 63818 w 693419"/>
                <a:gd name="connsiteY434" fmla="*/ 40005 h 493395"/>
                <a:gd name="connsiteX435" fmla="*/ 92393 w 693419"/>
                <a:gd name="connsiteY435" fmla="*/ 15240 h 493395"/>
                <a:gd name="connsiteX436" fmla="*/ 93345 w 693419"/>
                <a:gd name="connsiteY436" fmla="*/ 10478 h 49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</a:cxnLst>
              <a:rect l="l" t="t" r="r" b="b"/>
              <a:pathLst>
                <a:path w="693419" h="493395">
                  <a:moveTo>
                    <a:pt x="659130" y="422910"/>
                  </a:moveTo>
                  <a:cubicBezTo>
                    <a:pt x="664845" y="422910"/>
                    <a:pt x="669608" y="426720"/>
                    <a:pt x="666750" y="437197"/>
                  </a:cubicBezTo>
                  <a:lnTo>
                    <a:pt x="641033" y="442913"/>
                  </a:lnTo>
                  <a:cubicBezTo>
                    <a:pt x="645795" y="432435"/>
                    <a:pt x="653415" y="422910"/>
                    <a:pt x="659130" y="422910"/>
                  </a:cubicBezTo>
                  <a:moveTo>
                    <a:pt x="673418" y="464820"/>
                  </a:moveTo>
                  <a:lnTo>
                    <a:pt x="668655" y="464820"/>
                  </a:lnTo>
                  <a:cubicBezTo>
                    <a:pt x="661988" y="472440"/>
                    <a:pt x="655320" y="478155"/>
                    <a:pt x="648653" y="478155"/>
                  </a:cubicBezTo>
                  <a:cubicBezTo>
                    <a:pt x="641985" y="478155"/>
                    <a:pt x="638175" y="474345"/>
                    <a:pt x="638175" y="464820"/>
                  </a:cubicBezTo>
                  <a:cubicBezTo>
                    <a:pt x="638175" y="461010"/>
                    <a:pt x="638175" y="457200"/>
                    <a:pt x="639128" y="453390"/>
                  </a:cubicBezTo>
                  <a:lnTo>
                    <a:pt x="680085" y="440055"/>
                  </a:lnTo>
                  <a:cubicBezTo>
                    <a:pt x="687705" y="421005"/>
                    <a:pt x="678180" y="412433"/>
                    <a:pt x="666750" y="412433"/>
                  </a:cubicBezTo>
                  <a:cubicBezTo>
                    <a:pt x="647700" y="412433"/>
                    <a:pt x="624840" y="444817"/>
                    <a:pt x="624840" y="473392"/>
                  </a:cubicBezTo>
                  <a:cubicBezTo>
                    <a:pt x="624840" y="485775"/>
                    <a:pt x="630555" y="493395"/>
                    <a:pt x="640080" y="493395"/>
                  </a:cubicBezTo>
                  <a:cubicBezTo>
                    <a:pt x="652463" y="493395"/>
                    <a:pt x="663893" y="481965"/>
                    <a:pt x="673418" y="464820"/>
                  </a:cubicBezTo>
                  <a:moveTo>
                    <a:pt x="664845" y="404813"/>
                  </a:moveTo>
                  <a:lnTo>
                    <a:pt x="693420" y="378142"/>
                  </a:lnTo>
                  <a:lnTo>
                    <a:pt x="693420" y="375285"/>
                  </a:lnTo>
                  <a:lnTo>
                    <a:pt x="678180" y="375285"/>
                  </a:lnTo>
                  <a:lnTo>
                    <a:pt x="660083" y="405765"/>
                  </a:lnTo>
                  <a:lnTo>
                    <a:pt x="664845" y="405765"/>
                  </a:lnTo>
                  <a:close/>
                  <a:moveTo>
                    <a:pt x="576263" y="423863"/>
                  </a:moveTo>
                  <a:lnTo>
                    <a:pt x="589598" y="423863"/>
                  </a:lnTo>
                  <a:lnTo>
                    <a:pt x="567690" y="482917"/>
                  </a:lnTo>
                  <a:cubicBezTo>
                    <a:pt x="565785" y="487680"/>
                    <a:pt x="568643" y="493395"/>
                    <a:pt x="573405" y="493395"/>
                  </a:cubicBezTo>
                  <a:cubicBezTo>
                    <a:pt x="585788" y="493395"/>
                    <a:pt x="605790" y="481013"/>
                    <a:pt x="612458" y="464820"/>
                  </a:cubicBezTo>
                  <a:lnTo>
                    <a:pt x="608648" y="464820"/>
                  </a:lnTo>
                  <a:cubicBezTo>
                    <a:pt x="602933" y="470535"/>
                    <a:pt x="592455" y="478155"/>
                    <a:pt x="583883" y="480060"/>
                  </a:cubicBezTo>
                  <a:lnTo>
                    <a:pt x="603885" y="424815"/>
                  </a:lnTo>
                  <a:lnTo>
                    <a:pt x="623888" y="424815"/>
                  </a:lnTo>
                  <a:lnTo>
                    <a:pt x="626745" y="416242"/>
                  </a:lnTo>
                  <a:lnTo>
                    <a:pt x="606743" y="416242"/>
                  </a:lnTo>
                  <a:lnTo>
                    <a:pt x="614363" y="395288"/>
                  </a:lnTo>
                  <a:lnTo>
                    <a:pt x="606743" y="395288"/>
                  </a:lnTo>
                  <a:lnTo>
                    <a:pt x="592455" y="416242"/>
                  </a:lnTo>
                  <a:lnTo>
                    <a:pt x="575310" y="418147"/>
                  </a:lnTo>
                  <a:lnTo>
                    <a:pt x="575310" y="423863"/>
                  </a:lnTo>
                  <a:close/>
                  <a:moveTo>
                    <a:pt x="558165" y="421005"/>
                  </a:moveTo>
                  <a:cubicBezTo>
                    <a:pt x="560070" y="415290"/>
                    <a:pt x="556260" y="412433"/>
                    <a:pt x="553403" y="412433"/>
                  </a:cubicBezTo>
                  <a:cubicBezTo>
                    <a:pt x="541973" y="412433"/>
                    <a:pt x="527685" y="422910"/>
                    <a:pt x="521970" y="438150"/>
                  </a:cubicBezTo>
                  <a:lnTo>
                    <a:pt x="525780" y="438150"/>
                  </a:lnTo>
                  <a:cubicBezTo>
                    <a:pt x="529590" y="432435"/>
                    <a:pt x="536258" y="426720"/>
                    <a:pt x="541973" y="425767"/>
                  </a:cubicBezTo>
                  <a:lnTo>
                    <a:pt x="519113" y="484822"/>
                  </a:lnTo>
                  <a:cubicBezTo>
                    <a:pt x="517208" y="490538"/>
                    <a:pt x="521018" y="493395"/>
                    <a:pt x="523875" y="493395"/>
                  </a:cubicBezTo>
                  <a:cubicBezTo>
                    <a:pt x="535305" y="493395"/>
                    <a:pt x="548640" y="482917"/>
                    <a:pt x="554355" y="467678"/>
                  </a:cubicBezTo>
                  <a:lnTo>
                    <a:pt x="550545" y="467678"/>
                  </a:lnTo>
                  <a:cubicBezTo>
                    <a:pt x="546735" y="473392"/>
                    <a:pt x="540068" y="479108"/>
                    <a:pt x="534353" y="480060"/>
                  </a:cubicBezTo>
                  <a:lnTo>
                    <a:pt x="558165" y="421005"/>
                  </a:lnTo>
                  <a:close/>
                  <a:moveTo>
                    <a:pt x="561975" y="391478"/>
                  </a:moveTo>
                  <a:cubicBezTo>
                    <a:pt x="567690" y="391478"/>
                    <a:pt x="571500" y="386715"/>
                    <a:pt x="571500" y="381953"/>
                  </a:cubicBezTo>
                  <a:cubicBezTo>
                    <a:pt x="571500" y="376238"/>
                    <a:pt x="566738" y="372428"/>
                    <a:pt x="561975" y="372428"/>
                  </a:cubicBezTo>
                  <a:cubicBezTo>
                    <a:pt x="556260" y="372428"/>
                    <a:pt x="552450" y="377190"/>
                    <a:pt x="552450" y="381953"/>
                  </a:cubicBezTo>
                  <a:cubicBezTo>
                    <a:pt x="552450" y="386715"/>
                    <a:pt x="556260" y="391478"/>
                    <a:pt x="561975" y="391478"/>
                  </a:cubicBezTo>
                  <a:moveTo>
                    <a:pt x="431483" y="481965"/>
                  </a:moveTo>
                  <a:cubicBezTo>
                    <a:pt x="428625" y="488633"/>
                    <a:pt x="431483" y="493395"/>
                    <a:pt x="438150" y="493395"/>
                  </a:cubicBezTo>
                  <a:cubicBezTo>
                    <a:pt x="441960" y="493395"/>
                    <a:pt x="443865" y="492442"/>
                    <a:pt x="445770" y="487680"/>
                  </a:cubicBezTo>
                  <a:lnTo>
                    <a:pt x="461963" y="445770"/>
                  </a:lnTo>
                  <a:cubicBezTo>
                    <a:pt x="469583" y="437197"/>
                    <a:pt x="483870" y="427672"/>
                    <a:pt x="490538" y="427672"/>
                  </a:cubicBezTo>
                  <a:cubicBezTo>
                    <a:pt x="495300" y="427672"/>
                    <a:pt x="494347" y="431483"/>
                    <a:pt x="491490" y="436245"/>
                  </a:cubicBezTo>
                  <a:lnTo>
                    <a:pt x="467678" y="482917"/>
                  </a:lnTo>
                  <a:cubicBezTo>
                    <a:pt x="465772" y="487680"/>
                    <a:pt x="468630" y="493395"/>
                    <a:pt x="473393" y="493395"/>
                  </a:cubicBezTo>
                  <a:cubicBezTo>
                    <a:pt x="484822" y="493395"/>
                    <a:pt x="499110" y="482917"/>
                    <a:pt x="504825" y="467678"/>
                  </a:cubicBezTo>
                  <a:lnTo>
                    <a:pt x="501015" y="467678"/>
                  </a:lnTo>
                  <a:cubicBezTo>
                    <a:pt x="497205" y="473392"/>
                    <a:pt x="490538" y="479108"/>
                    <a:pt x="484822" y="480060"/>
                  </a:cubicBezTo>
                  <a:lnTo>
                    <a:pt x="505778" y="438150"/>
                  </a:lnTo>
                  <a:cubicBezTo>
                    <a:pt x="508635" y="432435"/>
                    <a:pt x="509588" y="427672"/>
                    <a:pt x="509588" y="423863"/>
                  </a:cubicBezTo>
                  <a:cubicBezTo>
                    <a:pt x="509588" y="417195"/>
                    <a:pt x="505778" y="412433"/>
                    <a:pt x="498158" y="412433"/>
                  </a:cubicBezTo>
                  <a:cubicBezTo>
                    <a:pt x="487680" y="412433"/>
                    <a:pt x="477203" y="423863"/>
                    <a:pt x="464820" y="438150"/>
                  </a:cubicBezTo>
                  <a:lnTo>
                    <a:pt x="464820" y="426720"/>
                  </a:lnTo>
                  <a:cubicBezTo>
                    <a:pt x="464820" y="419100"/>
                    <a:pt x="461963" y="411480"/>
                    <a:pt x="455295" y="411480"/>
                  </a:cubicBezTo>
                  <a:cubicBezTo>
                    <a:pt x="450533" y="411480"/>
                    <a:pt x="446722" y="415290"/>
                    <a:pt x="442913" y="421005"/>
                  </a:cubicBezTo>
                  <a:lnTo>
                    <a:pt x="442913" y="422910"/>
                  </a:lnTo>
                  <a:cubicBezTo>
                    <a:pt x="450533" y="422910"/>
                    <a:pt x="454343" y="434340"/>
                    <a:pt x="448628" y="445770"/>
                  </a:cubicBezTo>
                  <a:lnTo>
                    <a:pt x="431483" y="481965"/>
                  </a:lnTo>
                  <a:close/>
                  <a:moveTo>
                    <a:pt x="431483" y="430530"/>
                  </a:moveTo>
                  <a:cubicBezTo>
                    <a:pt x="434340" y="421005"/>
                    <a:pt x="432435" y="412433"/>
                    <a:pt x="425768" y="412433"/>
                  </a:cubicBezTo>
                  <a:cubicBezTo>
                    <a:pt x="417195" y="412433"/>
                    <a:pt x="414338" y="419100"/>
                    <a:pt x="405765" y="438150"/>
                  </a:cubicBezTo>
                  <a:lnTo>
                    <a:pt x="405765" y="426720"/>
                  </a:lnTo>
                  <a:cubicBezTo>
                    <a:pt x="405765" y="419100"/>
                    <a:pt x="402908" y="411480"/>
                    <a:pt x="396240" y="411480"/>
                  </a:cubicBezTo>
                  <a:cubicBezTo>
                    <a:pt x="387668" y="411480"/>
                    <a:pt x="380047" y="424815"/>
                    <a:pt x="374333" y="437197"/>
                  </a:cubicBezTo>
                  <a:lnTo>
                    <a:pt x="378143" y="437197"/>
                  </a:lnTo>
                  <a:cubicBezTo>
                    <a:pt x="381953" y="431483"/>
                    <a:pt x="385763" y="427672"/>
                    <a:pt x="388620" y="427672"/>
                  </a:cubicBezTo>
                  <a:cubicBezTo>
                    <a:pt x="392430" y="427672"/>
                    <a:pt x="394335" y="433388"/>
                    <a:pt x="388620" y="445770"/>
                  </a:cubicBezTo>
                  <a:lnTo>
                    <a:pt x="372428" y="481013"/>
                  </a:lnTo>
                  <a:cubicBezTo>
                    <a:pt x="369570" y="487680"/>
                    <a:pt x="372428" y="492442"/>
                    <a:pt x="379095" y="492442"/>
                  </a:cubicBezTo>
                  <a:cubicBezTo>
                    <a:pt x="382905" y="492442"/>
                    <a:pt x="384810" y="491490"/>
                    <a:pt x="386715" y="486728"/>
                  </a:cubicBezTo>
                  <a:lnTo>
                    <a:pt x="402908" y="444817"/>
                  </a:lnTo>
                  <a:cubicBezTo>
                    <a:pt x="407670" y="439103"/>
                    <a:pt x="411480" y="434340"/>
                    <a:pt x="416243" y="429578"/>
                  </a:cubicBezTo>
                  <a:lnTo>
                    <a:pt x="431483" y="429578"/>
                  </a:lnTo>
                  <a:close/>
                  <a:moveTo>
                    <a:pt x="340043" y="422910"/>
                  </a:moveTo>
                  <a:cubicBezTo>
                    <a:pt x="345758" y="422910"/>
                    <a:pt x="350520" y="426720"/>
                    <a:pt x="347663" y="437197"/>
                  </a:cubicBezTo>
                  <a:lnTo>
                    <a:pt x="321945" y="442913"/>
                  </a:lnTo>
                  <a:cubicBezTo>
                    <a:pt x="326708" y="432435"/>
                    <a:pt x="334328" y="422910"/>
                    <a:pt x="340043" y="422910"/>
                  </a:cubicBezTo>
                  <a:moveTo>
                    <a:pt x="354330" y="464820"/>
                  </a:moveTo>
                  <a:lnTo>
                    <a:pt x="349568" y="464820"/>
                  </a:lnTo>
                  <a:cubicBezTo>
                    <a:pt x="342900" y="472440"/>
                    <a:pt x="336233" y="478155"/>
                    <a:pt x="329565" y="478155"/>
                  </a:cubicBezTo>
                  <a:cubicBezTo>
                    <a:pt x="322898" y="478155"/>
                    <a:pt x="319088" y="474345"/>
                    <a:pt x="319088" y="464820"/>
                  </a:cubicBezTo>
                  <a:cubicBezTo>
                    <a:pt x="319088" y="461010"/>
                    <a:pt x="319088" y="457200"/>
                    <a:pt x="320040" y="453390"/>
                  </a:cubicBezTo>
                  <a:lnTo>
                    <a:pt x="360997" y="440055"/>
                  </a:lnTo>
                  <a:cubicBezTo>
                    <a:pt x="368618" y="421005"/>
                    <a:pt x="359093" y="412433"/>
                    <a:pt x="347663" y="412433"/>
                  </a:cubicBezTo>
                  <a:cubicBezTo>
                    <a:pt x="328613" y="412433"/>
                    <a:pt x="305753" y="444817"/>
                    <a:pt x="305753" y="473392"/>
                  </a:cubicBezTo>
                  <a:cubicBezTo>
                    <a:pt x="305753" y="485775"/>
                    <a:pt x="311468" y="493395"/>
                    <a:pt x="320993" y="493395"/>
                  </a:cubicBezTo>
                  <a:cubicBezTo>
                    <a:pt x="333375" y="493395"/>
                    <a:pt x="344805" y="481965"/>
                    <a:pt x="354330" y="464820"/>
                  </a:cubicBezTo>
                  <a:moveTo>
                    <a:pt x="257175" y="423863"/>
                  </a:moveTo>
                  <a:lnTo>
                    <a:pt x="270510" y="423863"/>
                  </a:lnTo>
                  <a:lnTo>
                    <a:pt x="248603" y="482917"/>
                  </a:lnTo>
                  <a:cubicBezTo>
                    <a:pt x="246698" y="487680"/>
                    <a:pt x="249555" y="493395"/>
                    <a:pt x="254318" y="493395"/>
                  </a:cubicBezTo>
                  <a:cubicBezTo>
                    <a:pt x="266700" y="493395"/>
                    <a:pt x="286703" y="481013"/>
                    <a:pt x="293370" y="464820"/>
                  </a:cubicBezTo>
                  <a:lnTo>
                    <a:pt x="289560" y="464820"/>
                  </a:lnTo>
                  <a:cubicBezTo>
                    <a:pt x="283845" y="470535"/>
                    <a:pt x="273368" y="478155"/>
                    <a:pt x="264795" y="480060"/>
                  </a:cubicBezTo>
                  <a:lnTo>
                    <a:pt x="284798" y="424815"/>
                  </a:lnTo>
                  <a:lnTo>
                    <a:pt x="304800" y="424815"/>
                  </a:lnTo>
                  <a:lnTo>
                    <a:pt x="307658" y="416242"/>
                  </a:lnTo>
                  <a:lnTo>
                    <a:pt x="287655" y="416242"/>
                  </a:lnTo>
                  <a:lnTo>
                    <a:pt x="295275" y="395288"/>
                  </a:lnTo>
                  <a:lnTo>
                    <a:pt x="287655" y="395288"/>
                  </a:lnTo>
                  <a:lnTo>
                    <a:pt x="273368" y="416242"/>
                  </a:lnTo>
                  <a:lnTo>
                    <a:pt x="256223" y="418147"/>
                  </a:lnTo>
                  <a:lnTo>
                    <a:pt x="256223" y="423863"/>
                  </a:lnTo>
                  <a:close/>
                  <a:moveTo>
                    <a:pt x="181928" y="469583"/>
                  </a:moveTo>
                  <a:cubicBezTo>
                    <a:pt x="181928" y="451485"/>
                    <a:pt x="201930" y="426720"/>
                    <a:pt x="213360" y="426720"/>
                  </a:cubicBezTo>
                  <a:cubicBezTo>
                    <a:pt x="216218" y="426720"/>
                    <a:pt x="218123" y="426720"/>
                    <a:pt x="220028" y="427672"/>
                  </a:cubicBezTo>
                  <a:lnTo>
                    <a:pt x="208598" y="459105"/>
                  </a:lnTo>
                  <a:cubicBezTo>
                    <a:pt x="201930" y="467678"/>
                    <a:pt x="191453" y="477203"/>
                    <a:pt x="186690" y="477203"/>
                  </a:cubicBezTo>
                  <a:cubicBezTo>
                    <a:pt x="183833" y="478155"/>
                    <a:pt x="181928" y="475297"/>
                    <a:pt x="181928" y="469583"/>
                  </a:cubicBezTo>
                  <a:moveTo>
                    <a:pt x="244793" y="408622"/>
                  </a:moveTo>
                  <a:lnTo>
                    <a:pt x="238125" y="408622"/>
                  </a:lnTo>
                  <a:lnTo>
                    <a:pt x="231458" y="415290"/>
                  </a:lnTo>
                  <a:lnTo>
                    <a:pt x="229553" y="415290"/>
                  </a:lnTo>
                  <a:cubicBezTo>
                    <a:pt x="195263" y="415290"/>
                    <a:pt x="166688" y="453390"/>
                    <a:pt x="166688" y="481013"/>
                  </a:cubicBezTo>
                  <a:cubicBezTo>
                    <a:pt x="166688" y="488633"/>
                    <a:pt x="171450" y="493395"/>
                    <a:pt x="179070" y="493395"/>
                  </a:cubicBezTo>
                  <a:cubicBezTo>
                    <a:pt x="187643" y="493395"/>
                    <a:pt x="196215" y="481013"/>
                    <a:pt x="205740" y="467678"/>
                  </a:cubicBezTo>
                  <a:lnTo>
                    <a:pt x="205740" y="472440"/>
                  </a:lnTo>
                  <a:cubicBezTo>
                    <a:pt x="204788" y="485775"/>
                    <a:pt x="208598" y="493395"/>
                    <a:pt x="216218" y="493395"/>
                  </a:cubicBezTo>
                  <a:cubicBezTo>
                    <a:pt x="224790" y="493395"/>
                    <a:pt x="232410" y="480060"/>
                    <a:pt x="238125" y="467678"/>
                  </a:cubicBezTo>
                  <a:lnTo>
                    <a:pt x="234315" y="467678"/>
                  </a:lnTo>
                  <a:cubicBezTo>
                    <a:pt x="230505" y="473392"/>
                    <a:pt x="226695" y="477203"/>
                    <a:pt x="223838" y="477203"/>
                  </a:cubicBezTo>
                  <a:cubicBezTo>
                    <a:pt x="220980" y="477203"/>
                    <a:pt x="218123" y="471488"/>
                    <a:pt x="223838" y="459105"/>
                  </a:cubicBezTo>
                  <a:lnTo>
                    <a:pt x="244793" y="408622"/>
                  </a:lnTo>
                  <a:close/>
                  <a:moveTo>
                    <a:pt x="172403" y="430530"/>
                  </a:moveTo>
                  <a:cubicBezTo>
                    <a:pt x="175260" y="421005"/>
                    <a:pt x="173355" y="412433"/>
                    <a:pt x="166688" y="412433"/>
                  </a:cubicBezTo>
                  <a:cubicBezTo>
                    <a:pt x="158115" y="412433"/>
                    <a:pt x="155258" y="419100"/>
                    <a:pt x="146685" y="438150"/>
                  </a:cubicBezTo>
                  <a:lnTo>
                    <a:pt x="146685" y="426720"/>
                  </a:lnTo>
                  <a:cubicBezTo>
                    <a:pt x="146685" y="419100"/>
                    <a:pt x="143828" y="411480"/>
                    <a:pt x="137160" y="411480"/>
                  </a:cubicBezTo>
                  <a:cubicBezTo>
                    <a:pt x="128588" y="411480"/>
                    <a:pt x="120968" y="424815"/>
                    <a:pt x="115253" y="437197"/>
                  </a:cubicBezTo>
                  <a:lnTo>
                    <a:pt x="119063" y="437197"/>
                  </a:lnTo>
                  <a:cubicBezTo>
                    <a:pt x="122873" y="431483"/>
                    <a:pt x="126682" y="427672"/>
                    <a:pt x="129540" y="427672"/>
                  </a:cubicBezTo>
                  <a:cubicBezTo>
                    <a:pt x="133350" y="427672"/>
                    <a:pt x="135255" y="433388"/>
                    <a:pt x="129540" y="445770"/>
                  </a:cubicBezTo>
                  <a:lnTo>
                    <a:pt x="113348" y="481013"/>
                  </a:lnTo>
                  <a:cubicBezTo>
                    <a:pt x="110490" y="487680"/>
                    <a:pt x="113348" y="492442"/>
                    <a:pt x="120015" y="492442"/>
                  </a:cubicBezTo>
                  <a:cubicBezTo>
                    <a:pt x="123825" y="492442"/>
                    <a:pt x="125730" y="491490"/>
                    <a:pt x="127635" y="486728"/>
                  </a:cubicBezTo>
                  <a:lnTo>
                    <a:pt x="143828" y="444817"/>
                  </a:lnTo>
                  <a:cubicBezTo>
                    <a:pt x="148590" y="439103"/>
                    <a:pt x="152400" y="434340"/>
                    <a:pt x="157163" y="429578"/>
                  </a:cubicBezTo>
                  <a:lnTo>
                    <a:pt x="172403" y="429578"/>
                  </a:lnTo>
                  <a:close/>
                  <a:moveTo>
                    <a:pt x="59055" y="489585"/>
                  </a:moveTo>
                  <a:lnTo>
                    <a:pt x="60960" y="484822"/>
                  </a:lnTo>
                  <a:cubicBezTo>
                    <a:pt x="40957" y="481013"/>
                    <a:pt x="39053" y="481013"/>
                    <a:pt x="46673" y="460058"/>
                  </a:cubicBezTo>
                  <a:lnTo>
                    <a:pt x="54293" y="438150"/>
                  </a:lnTo>
                  <a:lnTo>
                    <a:pt x="76200" y="438150"/>
                  </a:lnTo>
                  <a:cubicBezTo>
                    <a:pt x="85725" y="438150"/>
                    <a:pt x="85725" y="441960"/>
                    <a:pt x="84773" y="452438"/>
                  </a:cubicBezTo>
                  <a:lnTo>
                    <a:pt x="90488" y="452438"/>
                  </a:lnTo>
                  <a:lnTo>
                    <a:pt x="103823" y="416242"/>
                  </a:lnTo>
                  <a:lnTo>
                    <a:pt x="98107" y="416242"/>
                  </a:lnTo>
                  <a:cubicBezTo>
                    <a:pt x="93345" y="424815"/>
                    <a:pt x="89535" y="430530"/>
                    <a:pt x="79057" y="430530"/>
                  </a:cubicBezTo>
                  <a:lnTo>
                    <a:pt x="57150" y="430530"/>
                  </a:lnTo>
                  <a:lnTo>
                    <a:pt x="68580" y="399097"/>
                  </a:lnTo>
                  <a:cubicBezTo>
                    <a:pt x="72390" y="389572"/>
                    <a:pt x="74295" y="386715"/>
                    <a:pt x="87630" y="386715"/>
                  </a:cubicBezTo>
                  <a:lnTo>
                    <a:pt x="97155" y="386715"/>
                  </a:lnTo>
                  <a:cubicBezTo>
                    <a:pt x="110490" y="386715"/>
                    <a:pt x="112395" y="390525"/>
                    <a:pt x="112395" y="404813"/>
                  </a:cubicBezTo>
                  <a:lnTo>
                    <a:pt x="118110" y="404813"/>
                  </a:lnTo>
                  <a:lnTo>
                    <a:pt x="122873" y="380047"/>
                  </a:lnTo>
                  <a:lnTo>
                    <a:pt x="40957" y="380047"/>
                  </a:lnTo>
                  <a:lnTo>
                    <a:pt x="39053" y="384810"/>
                  </a:lnTo>
                  <a:cubicBezTo>
                    <a:pt x="55245" y="387667"/>
                    <a:pt x="56198" y="389572"/>
                    <a:pt x="48578" y="409575"/>
                  </a:cubicBezTo>
                  <a:lnTo>
                    <a:pt x="30480" y="458153"/>
                  </a:lnTo>
                  <a:cubicBezTo>
                    <a:pt x="22860" y="478155"/>
                    <a:pt x="20003" y="480060"/>
                    <a:pt x="1905" y="482917"/>
                  </a:cubicBezTo>
                  <a:lnTo>
                    <a:pt x="953" y="487680"/>
                  </a:lnTo>
                  <a:lnTo>
                    <a:pt x="59055" y="487680"/>
                  </a:lnTo>
                  <a:close/>
                  <a:moveTo>
                    <a:pt x="460058" y="238125"/>
                  </a:moveTo>
                  <a:cubicBezTo>
                    <a:pt x="465772" y="238125"/>
                    <a:pt x="470535" y="241935"/>
                    <a:pt x="467678" y="252413"/>
                  </a:cubicBezTo>
                  <a:lnTo>
                    <a:pt x="441960" y="258128"/>
                  </a:lnTo>
                  <a:cubicBezTo>
                    <a:pt x="446722" y="246697"/>
                    <a:pt x="454343" y="238125"/>
                    <a:pt x="460058" y="238125"/>
                  </a:cubicBezTo>
                  <a:moveTo>
                    <a:pt x="474345" y="279083"/>
                  </a:moveTo>
                  <a:lnTo>
                    <a:pt x="469583" y="279083"/>
                  </a:lnTo>
                  <a:cubicBezTo>
                    <a:pt x="462915" y="286703"/>
                    <a:pt x="456247" y="292417"/>
                    <a:pt x="449580" y="292417"/>
                  </a:cubicBezTo>
                  <a:cubicBezTo>
                    <a:pt x="442913" y="292417"/>
                    <a:pt x="439103" y="288608"/>
                    <a:pt x="439103" y="279083"/>
                  </a:cubicBezTo>
                  <a:cubicBezTo>
                    <a:pt x="439103" y="275272"/>
                    <a:pt x="439103" y="271463"/>
                    <a:pt x="440055" y="267653"/>
                  </a:cubicBezTo>
                  <a:lnTo>
                    <a:pt x="481013" y="254317"/>
                  </a:lnTo>
                  <a:cubicBezTo>
                    <a:pt x="488633" y="235267"/>
                    <a:pt x="479108" y="226695"/>
                    <a:pt x="467678" y="226695"/>
                  </a:cubicBezTo>
                  <a:cubicBezTo>
                    <a:pt x="448628" y="226695"/>
                    <a:pt x="425768" y="259080"/>
                    <a:pt x="425768" y="287655"/>
                  </a:cubicBezTo>
                  <a:cubicBezTo>
                    <a:pt x="425768" y="300038"/>
                    <a:pt x="431483" y="307658"/>
                    <a:pt x="441008" y="307658"/>
                  </a:cubicBezTo>
                  <a:cubicBezTo>
                    <a:pt x="453390" y="307658"/>
                    <a:pt x="464820" y="297180"/>
                    <a:pt x="474345" y="279083"/>
                  </a:cubicBezTo>
                  <a:moveTo>
                    <a:pt x="466725" y="219075"/>
                  </a:moveTo>
                  <a:lnTo>
                    <a:pt x="495300" y="192405"/>
                  </a:lnTo>
                  <a:lnTo>
                    <a:pt x="495300" y="189547"/>
                  </a:lnTo>
                  <a:lnTo>
                    <a:pt x="480060" y="189547"/>
                  </a:lnTo>
                  <a:lnTo>
                    <a:pt x="461963" y="220028"/>
                  </a:lnTo>
                  <a:lnTo>
                    <a:pt x="466725" y="220028"/>
                  </a:lnTo>
                  <a:close/>
                  <a:moveTo>
                    <a:pt x="378143" y="238125"/>
                  </a:moveTo>
                  <a:lnTo>
                    <a:pt x="391478" y="238125"/>
                  </a:lnTo>
                  <a:lnTo>
                    <a:pt x="369570" y="297180"/>
                  </a:lnTo>
                  <a:cubicBezTo>
                    <a:pt x="367665" y="301942"/>
                    <a:pt x="370522" y="307658"/>
                    <a:pt x="375285" y="307658"/>
                  </a:cubicBezTo>
                  <a:cubicBezTo>
                    <a:pt x="387668" y="307658"/>
                    <a:pt x="407670" y="295275"/>
                    <a:pt x="414338" y="279083"/>
                  </a:cubicBezTo>
                  <a:lnTo>
                    <a:pt x="410528" y="279083"/>
                  </a:lnTo>
                  <a:cubicBezTo>
                    <a:pt x="404813" y="284797"/>
                    <a:pt x="394335" y="292417"/>
                    <a:pt x="385763" y="294322"/>
                  </a:cubicBezTo>
                  <a:lnTo>
                    <a:pt x="405765" y="239078"/>
                  </a:lnTo>
                  <a:lnTo>
                    <a:pt x="425768" y="239078"/>
                  </a:lnTo>
                  <a:lnTo>
                    <a:pt x="428625" y="230505"/>
                  </a:lnTo>
                  <a:lnTo>
                    <a:pt x="408622" y="230505"/>
                  </a:lnTo>
                  <a:lnTo>
                    <a:pt x="416243" y="209550"/>
                  </a:lnTo>
                  <a:lnTo>
                    <a:pt x="408622" y="209550"/>
                  </a:lnTo>
                  <a:lnTo>
                    <a:pt x="394335" y="230505"/>
                  </a:lnTo>
                  <a:lnTo>
                    <a:pt x="377190" y="232410"/>
                  </a:lnTo>
                  <a:lnTo>
                    <a:pt x="377190" y="238125"/>
                  </a:lnTo>
                  <a:close/>
                  <a:moveTo>
                    <a:pt x="359093" y="235267"/>
                  </a:moveTo>
                  <a:cubicBezTo>
                    <a:pt x="360997" y="229553"/>
                    <a:pt x="357188" y="226695"/>
                    <a:pt x="354330" y="226695"/>
                  </a:cubicBezTo>
                  <a:cubicBezTo>
                    <a:pt x="342900" y="226695"/>
                    <a:pt x="328613" y="237172"/>
                    <a:pt x="322898" y="252413"/>
                  </a:cubicBezTo>
                  <a:lnTo>
                    <a:pt x="326708" y="252413"/>
                  </a:lnTo>
                  <a:cubicBezTo>
                    <a:pt x="330518" y="246697"/>
                    <a:pt x="337185" y="240983"/>
                    <a:pt x="342900" y="240030"/>
                  </a:cubicBezTo>
                  <a:lnTo>
                    <a:pt x="320040" y="299085"/>
                  </a:lnTo>
                  <a:cubicBezTo>
                    <a:pt x="318135" y="304800"/>
                    <a:pt x="321945" y="307658"/>
                    <a:pt x="324803" y="307658"/>
                  </a:cubicBezTo>
                  <a:cubicBezTo>
                    <a:pt x="336233" y="307658"/>
                    <a:pt x="349568" y="297180"/>
                    <a:pt x="355283" y="281940"/>
                  </a:cubicBezTo>
                  <a:lnTo>
                    <a:pt x="351472" y="281940"/>
                  </a:lnTo>
                  <a:cubicBezTo>
                    <a:pt x="347663" y="287655"/>
                    <a:pt x="340995" y="293370"/>
                    <a:pt x="335280" y="294322"/>
                  </a:cubicBezTo>
                  <a:lnTo>
                    <a:pt x="359093" y="235267"/>
                  </a:lnTo>
                  <a:close/>
                  <a:moveTo>
                    <a:pt x="363855" y="205740"/>
                  </a:moveTo>
                  <a:cubicBezTo>
                    <a:pt x="369570" y="205740"/>
                    <a:pt x="373380" y="200978"/>
                    <a:pt x="373380" y="196215"/>
                  </a:cubicBezTo>
                  <a:cubicBezTo>
                    <a:pt x="373380" y="190500"/>
                    <a:pt x="368618" y="186690"/>
                    <a:pt x="363855" y="186690"/>
                  </a:cubicBezTo>
                  <a:cubicBezTo>
                    <a:pt x="358140" y="186690"/>
                    <a:pt x="354330" y="191453"/>
                    <a:pt x="354330" y="196215"/>
                  </a:cubicBezTo>
                  <a:cubicBezTo>
                    <a:pt x="353378" y="201930"/>
                    <a:pt x="358140" y="205740"/>
                    <a:pt x="363855" y="205740"/>
                  </a:cubicBezTo>
                  <a:moveTo>
                    <a:pt x="284798" y="294322"/>
                  </a:moveTo>
                  <a:lnTo>
                    <a:pt x="325755" y="185738"/>
                  </a:lnTo>
                  <a:lnTo>
                    <a:pt x="324803" y="183833"/>
                  </a:lnTo>
                  <a:lnTo>
                    <a:pt x="299085" y="186690"/>
                  </a:lnTo>
                  <a:lnTo>
                    <a:pt x="299085" y="189547"/>
                  </a:lnTo>
                  <a:lnTo>
                    <a:pt x="303848" y="193358"/>
                  </a:lnTo>
                  <a:cubicBezTo>
                    <a:pt x="308610" y="197167"/>
                    <a:pt x="306705" y="200025"/>
                    <a:pt x="302895" y="211455"/>
                  </a:cubicBezTo>
                  <a:lnTo>
                    <a:pt x="270510" y="296228"/>
                  </a:lnTo>
                  <a:cubicBezTo>
                    <a:pt x="268605" y="300990"/>
                    <a:pt x="271463" y="306705"/>
                    <a:pt x="276225" y="306705"/>
                  </a:cubicBezTo>
                  <a:cubicBezTo>
                    <a:pt x="287655" y="306705"/>
                    <a:pt x="300990" y="296228"/>
                    <a:pt x="306705" y="280988"/>
                  </a:cubicBezTo>
                  <a:lnTo>
                    <a:pt x="302895" y="280988"/>
                  </a:lnTo>
                  <a:cubicBezTo>
                    <a:pt x="299085" y="287655"/>
                    <a:pt x="290513" y="293370"/>
                    <a:pt x="284798" y="294322"/>
                  </a:cubicBezTo>
                  <a:moveTo>
                    <a:pt x="205740" y="284797"/>
                  </a:moveTo>
                  <a:cubicBezTo>
                    <a:pt x="205740" y="266700"/>
                    <a:pt x="225743" y="241935"/>
                    <a:pt x="237173" y="241935"/>
                  </a:cubicBezTo>
                  <a:cubicBezTo>
                    <a:pt x="240030" y="241935"/>
                    <a:pt x="241935" y="241935"/>
                    <a:pt x="243840" y="242888"/>
                  </a:cubicBezTo>
                  <a:lnTo>
                    <a:pt x="232410" y="274320"/>
                  </a:lnTo>
                  <a:cubicBezTo>
                    <a:pt x="225743" y="282892"/>
                    <a:pt x="215265" y="292417"/>
                    <a:pt x="210503" y="292417"/>
                  </a:cubicBezTo>
                  <a:cubicBezTo>
                    <a:pt x="207645" y="292417"/>
                    <a:pt x="205740" y="289560"/>
                    <a:pt x="205740" y="284797"/>
                  </a:cubicBezTo>
                  <a:moveTo>
                    <a:pt x="268605" y="223838"/>
                  </a:moveTo>
                  <a:lnTo>
                    <a:pt x="261938" y="223838"/>
                  </a:lnTo>
                  <a:lnTo>
                    <a:pt x="255270" y="230505"/>
                  </a:lnTo>
                  <a:lnTo>
                    <a:pt x="253365" y="230505"/>
                  </a:lnTo>
                  <a:cubicBezTo>
                    <a:pt x="219075" y="230505"/>
                    <a:pt x="190500" y="268605"/>
                    <a:pt x="190500" y="296228"/>
                  </a:cubicBezTo>
                  <a:cubicBezTo>
                    <a:pt x="190500" y="303847"/>
                    <a:pt x="195263" y="308610"/>
                    <a:pt x="202883" y="308610"/>
                  </a:cubicBezTo>
                  <a:cubicBezTo>
                    <a:pt x="211455" y="308610"/>
                    <a:pt x="220028" y="296228"/>
                    <a:pt x="229553" y="282892"/>
                  </a:cubicBezTo>
                  <a:lnTo>
                    <a:pt x="229553" y="287655"/>
                  </a:lnTo>
                  <a:cubicBezTo>
                    <a:pt x="228600" y="300990"/>
                    <a:pt x="232410" y="308610"/>
                    <a:pt x="240030" y="308610"/>
                  </a:cubicBezTo>
                  <a:cubicBezTo>
                    <a:pt x="248603" y="308610"/>
                    <a:pt x="256223" y="295275"/>
                    <a:pt x="261938" y="282892"/>
                  </a:cubicBezTo>
                  <a:lnTo>
                    <a:pt x="258128" y="282892"/>
                  </a:lnTo>
                  <a:cubicBezTo>
                    <a:pt x="254318" y="288608"/>
                    <a:pt x="250508" y="292417"/>
                    <a:pt x="247650" y="292417"/>
                  </a:cubicBezTo>
                  <a:cubicBezTo>
                    <a:pt x="244793" y="292417"/>
                    <a:pt x="241935" y="286703"/>
                    <a:pt x="247650" y="274320"/>
                  </a:cubicBezTo>
                  <a:lnTo>
                    <a:pt x="268605" y="223838"/>
                  </a:lnTo>
                  <a:close/>
                  <a:moveTo>
                    <a:pt x="117157" y="321945"/>
                  </a:moveTo>
                  <a:cubicBezTo>
                    <a:pt x="117157" y="314325"/>
                    <a:pt x="124778" y="309563"/>
                    <a:pt x="135255" y="304800"/>
                  </a:cubicBezTo>
                  <a:cubicBezTo>
                    <a:pt x="139065" y="306705"/>
                    <a:pt x="143828" y="308610"/>
                    <a:pt x="151448" y="310515"/>
                  </a:cubicBezTo>
                  <a:cubicBezTo>
                    <a:pt x="162878" y="314325"/>
                    <a:pt x="166688" y="315278"/>
                    <a:pt x="166688" y="319088"/>
                  </a:cubicBezTo>
                  <a:cubicBezTo>
                    <a:pt x="166688" y="326708"/>
                    <a:pt x="154305" y="331470"/>
                    <a:pt x="137160" y="331470"/>
                  </a:cubicBezTo>
                  <a:cubicBezTo>
                    <a:pt x="123825" y="332422"/>
                    <a:pt x="117157" y="329565"/>
                    <a:pt x="117157" y="321945"/>
                  </a:cubicBezTo>
                  <a:moveTo>
                    <a:pt x="147638" y="274320"/>
                  </a:moveTo>
                  <a:cubicBezTo>
                    <a:pt x="142875" y="274320"/>
                    <a:pt x="140970" y="270510"/>
                    <a:pt x="140970" y="265747"/>
                  </a:cubicBezTo>
                  <a:cubicBezTo>
                    <a:pt x="140970" y="252413"/>
                    <a:pt x="147638" y="233363"/>
                    <a:pt x="159068" y="233363"/>
                  </a:cubicBezTo>
                  <a:cubicBezTo>
                    <a:pt x="163830" y="233363"/>
                    <a:pt x="165735" y="237172"/>
                    <a:pt x="165735" y="241935"/>
                  </a:cubicBezTo>
                  <a:cubicBezTo>
                    <a:pt x="166688" y="254317"/>
                    <a:pt x="159068" y="274320"/>
                    <a:pt x="147638" y="274320"/>
                  </a:cubicBezTo>
                  <a:moveTo>
                    <a:pt x="180023" y="314325"/>
                  </a:moveTo>
                  <a:cubicBezTo>
                    <a:pt x="180023" y="304800"/>
                    <a:pt x="171450" y="300990"/>
                    <a:pt x="158115" y="297180"/>
                  </a:cubicBezTo>
                  <a:cubicBezTo>
                    <a:pt x="146685" y="293370"/>
                    <a:pt x="140970" y="292417"/>
                    <a:pt x="140970" y="288608"/>
                  </a:cubicBezTo>
                  <a:cubicBezTo>
                    <a:pt x="140970" y="285750"/>
                    <a:pt x="143828" y="281940"/>
                    <a:pt x="148590" y="279083"/>
                  </a:cubicBezTo>
                  <a:cubicBezTo>
                    <a:pt x="167640" y="278130"/>
                    <a:pt x="180975" y="260985"/>
                    <a:pt x="180975" y="245745"/>
                  </a:cubicBezTo>
                  <a:cubicBezTo>
                    <a:pt x="180975" y="242888"/>
                    <a:pt x="180023" y="240030"/>
                    <a:pt x="179070" y="237172"/>
                  </a:cubicBezTo>
                  <a:lnTo>
                    <a:pt x="195263" y="237172"/>
                  </a:lnTo>
                  <a:lnTo>
                    <a:pt x="198120" y="228600"/>
                  </a:lnTo>
                  <a:lnTo>
                    <a:pt x="172403" y="228600"/>
                  </a:lnTo>
                  <a:cubicBezTo>
                    <a:pt x="169545" y="226695"/>
                    <a:pt x="165735" y="225742"/>
                    <a:pt x="161925" y="225742"/>
                  </a:cubicBezTo>
                  <a:cubicBezTo>
                    <a:pt x="140970" y="225742"/>
                    <a:pt x="127635" y="243840"/>
                    <a:pt x="127635" y="258128"/>
                  </a:cubicBezTo>
                  <a:cubicBezTo>
                    <a:pt x="127635" y="269558"/>
                    <a:pt x="134303" y="276225"/>
                    <a:pt x="143828" y="278130"/>
                  </a:cubicBezTo>
                  <a:cubicBezTo>
                    <a:pt x="134303" y="282892"/>
                    <a:pt x="128588" y="287655"/>
                    <a:pt x="128588" y="293370"/>
                  </a:cubicBezTo>
                  <a:cubicBezTo>
                    <a:pt x="128588" y="297180"/>
                    <a:pt x="129540" y="299085"/>
                    <a:pt x="132398" y="300990"/>
                  </a:cubicBezTo>
                  <a:cubicBezTo>
                    <a:pt x="110490" y="307658"/>
                    <a:pt x="100965" y="315278"/>
                    <a:pt x="100965" y="325755"/>
                  </a:cubicBezTo>
                  <a:cubicBezTo>
                    <a:pt x="100965" y="336233"/>
                    <a:pt x="114300" y="340042"/>
                    <a:pt x="130493" y="340042"/>
                  </a:cubicBezTo>
                  <a:cubicBezTo>
                    <a:pt x="157163" y="341947"/>
                    <a:pt x="180023" y="326708"/>
                    <a:pt x="180023" y="314325"/>
                  </a:cubicBezTo>
                  <a:moveTo>
                    <a:pt x="76200" y="251460"/>
                  </a:moveTo>
                  <a:cubicBezTo>
                    <a:pt x="85725" y="251460"/>
                    <a:pt x="85725" y="255270"/>
                    <a:pt x="84773" y="265747"/>
                  </a:cubicBezTo>
                  <a:lnTo>
                    <a:pt x="90488" y="265747"/>
                  </a:lnTo>
                  <a:lnTo>
                    <a:pt x="103823" y="229553"/>
                  </a:lnTo>
                  <a:lnTo>
                    <a:pt x="98107" y="229553"/>
                  </a:lnTo>
                  <a:cubicBezTo>
                    <a:pt x="93345" y="238125"/>
                    <a:pt x="89535" y="243840"/>
                    <a:pt x="79057" y="243840"/>
                  </a:cubicBezTo>
                  <a:lnTo>
                    <a:pt x="57150" y="243840"/>
                  </a:lnTo>
                  <a:lnTo>
                    <a:pt x="67628" y="214313"/>
                  </a:lnTo>
                  <a:cubicBezTo>
                    <a:pt x="71438" y="204788"/>
                    <a:pt x="73343" y="202883"/>
                    <a:pt x="86678" y="202883"/>
                  </a:cubicBezTo>
                  <a:lnTo>
                    <a:pt x="96203" y="202883"/>
                  </a:lnTo>
                  <a:cubicBezTo>
                    <a:pt x="109538" y="202883"/>
                    <a:pt x="111443" y="206692"/>
                    <a:pt x="111443" y="220028"/>
                  </a:cubicBezTo>
                  <a:lnTo>
                    <a:pt x="117157" y="220028"/>
                  </a:lnTo>
                  <a:lnTo>
                    <a:pt x="121920" y="195263"/>
                  </a:lnTo>
                  <a:lnTo>
                    <a:pt x="40005" y="195263"/>
                  </a:lnTo>
                  <a:lnTo>
                    <a:pt x="38100" y="200025"/>
                  </a:lnTo>
                  <a:cubicBezTo>
                    <a:pt x="54293" y="202883"/>
                    <a:pt x="55245" y="204788"/>
                    <a:pt x="47625" y="224790"/>
                  </a:cubicBezTo>
                  <a:lnTo>
                    <a:pt x="29528" y="273367"/>
                  </a:lnTo>
                  <a:cubicBezTo>
                    <a:pt x="21908" y="293370"/>
                    <a:pt x="19050" y="295275"/>
                    <a:pt x="953" y="298133"/>
                  </a:cubicBezTo>
                  <a:lnTo>
                    <a:pt x="0" y="302895"/>
                  </a:lnTo>
                  <a:lnTo>
                    <a:pt x="91440" y="302895"/>
                  </a:lnTo>
                  <a:lnTo>
                    <a:pt x="107632" y="277178"/>
                  </a:lnTo>
                  <a:lnTo>
                    <a:pt x="101918" y="277178"/>
                  </a:lnTo>
                  <a:cubicBezTo>
                    <a:pt x="91440" y="286703"/>
                    <a:pt x="78105" y="296228"/>
                    <a:pt x="60007" y="296228"/>
                  </a:cubicBezTo>
                  <a:cubicBezTo>
                    <a:pt x="36195" y="296228"/>
                    <a:pt x="38100" y="295275"/>
                    <a:pt x="45720" y="273367"/>
                  </a:cubicBezTo>
                  <a:lnTo>
                    <a:pt x="54293" y="249555"/>
                  </a:lnTo>
                  <a:lnTo>
                    <a:pt x="76200" y="249555"/>
                  </a:lnTo>
                  <a:close/>
                  <a:moveTo>
                    <a:pt x="88582" y="188595"/>
                  </a:moveTo>
                  <a:lnTo>
                    <a:pt x="117157" y="168592"/>
                  </a:lnTo>
                  <a:lnTo>
                    <a:pt x="117157" y="165735"/>
                  </a:lnTo>
                  <a:lnTo>
                    <a:pt x="100013" y="165735"/>
                  </a:lnTo>
                  <a:lnTo>
                    <a:pt x="83820" y="188595"/>
                  </a:lnTo>
                  <a:lnTo>
                    <a:pt x="88582" y="188595"/>
                  </a:lnTo>
                  <a:close/>
                  <a:moveTo>
                    <a:pt x="450533" y="52388"/>
                  </a:moveTo>
                  <a:cubicBezTo>
                    <a:pt x="456247" y="52388"/>
                    <a:pt x="461010" y="56197"/>
                    <a:pt x="458153" y="66675"/>
                  </a:cubicBezTo>
                  <a:lnTo>
                    <a:pt x="432435" y="72390"/>
                  </a:lnTo>
                  <a:cubicBezTo>
                    <a:pt x="437197" y="60960"/>
                    <a:pt x="444818" y="52388"/>
                    <a:pt x="450533" y="52388"/>
                  </a:cubicBezTo>
                  <a:moveTo>
                    <a:pt x="464820" y="93345"/>
                  </a:moveTo>
                  <a:lnTo>
                    <a:pt x="460058" y="93345"/>
                  </a:lnTo>
                  <a:cubicBezTo>
                    <a:pt x="453390" y="100965"/>
                    <a:pt x="446722" y="106680"/>
                    <a:pt x="440055" y="106680"/>
                  </a:cubicBezTo>
                  <a:cubicBezTo>
                    <a:pt x="433388" y="106680"/>
                    <a:pt x="429578" y="102870"/>
                    <a:pt x="429578" y="93345"/>
                  </a:cubicBezTo>
                  <a:cubicBezTo>
                    <a:pt x="429578" y="89535"/>
                    <a:pt x="429578" y="85725"/>
                    <a:pt x="430530" y="81915"/>
                  </a:cubicBezTo>
                  <a:lnTo>
                    <a:pt x="471488" y="68580"/>
                  </a:lnTo>
                  <a:cubicBezTo>
                    <a:pt x="479108" y="49530"/>
                    <a:pt x="469583" y="40958"/>
                    <a:pt x="458153" y="40958"/>
                  </a:cubicBezTo>
                  <a:cubicBezTo>
                    <a:pt x="439103" y="40958"/>
                    <a:pt x="416243" y="73342"/>
                    <a:pt x="416243" y="101917"/>
                  </a:cubicBezTo>
                  <a:cubicBezTo>
                    <a:pt x="416243" y="114300"/>
                    <a:pt x="421958" y="121920"/>
                    <a:pt x="431483" y="121920"/>
                  </a:cubicBezTo>
                  <a:cubicBezTo>
                    <a:pt x="443865" y="121920"/>
                    <a:pt x="455295" y="111442"/>
                    <a:pt x="464820" y="93345"/>
                  </a:cubicBezTo>
                  <a:moveTo>
                    <a:pt x="457200" y="33338"/>
                  </a:moveTo>
                  <a:lnTo>
                    <a:pt x="485775" y="6667"/>
                  </a:lnTo>
                  <a:lnTo>
                    <a:pt x="485775" y="3810"/>
                  </a:lnTo>
                  <a:lnTo>
                    <a:pt x="470535" y="3810"/>
                  </a:lnTo>
                  <a:lnTo>
                    <a:pt x="452438" y="34290"/>
                  </a:lnTo>
                  <a:lnTo>
                    <a:pt x="457200" y="34290"/>
                  </a:lnTo>
                  <a:close/>
                  <a:moveTo>
                    <a:pt x="371475" y="52388"/>
                  </a:moveTo>
                  <a:lnTo>
                    <a:pt x="381953" y="52388"/>
                  </a:lnTo>
                  <a:lnTo>
                    <a:pt x="360045" y="111442"/>
                  </a:lnTo>
                  <a:cubicBezTo>
                    <a:pt x="358140" y="116205"/>
                    <a:pt x="360997" y="121920"/>
                    <a:pt x="365760" y="121920"/>
                  </a:cubicBezTo>
                  <a:cubicBezTo>
                    <a:pt x="378143" y="121920"/>
                    <a:pt x="398145" y="109538"/>
                    <a:pt x="404813" y="93345"/>
                  </a:cubicBezTo>
                  <a:lnTo>
                    <a:pt x="401003" y="93345"/>
                  </a:lnTo>
                  <a:cubicBezTo>
                    <a:pt x="395288" y="99060"/>
                    <a:pt x="384810" y="106680"/>
                    <a:pt x="376238" y="108585"/>
                  </a:cubicBezTo>
                  <a:lnTo>
                    <a:pt x="396240" y="53340"/>
                  </a:lnTo>
                  <a:lnTo>
                    <a:pt x="416243" y="53340"/>
                  </a:lnTo>
                  <a:lnTo>
                    <a:pt x="419100" y="44767"/>
                  </a:lnTo>
                  <a:lnTo>
                    <a:pt x="399097" y="44767"/>
                  </a:lnTo>
                  <a:lnTo>
                    <a:pt x="406718" y="23813"/>
                  </a:lnTo>
                  <a:lnTo>
                    <a:pt x="399097" y="23813"/>
                  </a:lnTo>
                  <a:lnTo>
                    <a:pt x="384810" y="44767"/>
                  </a:lnTo>
                  <a:lnTo>
                    <a:pt x="370522" y="46672"/>
                  </a:lnTo>
                  <a:lnTo>
                    <a:pt x="370522" y="52388"/>
                  </a:lnTo>
                  <a:close/>
                  <a:moveTo>
                    <a:pt x="360997" y="59055"/>
                  </a:moveTo>
                  <a:cubicBezTo>
                    <a:pt x="363855" y="49530"/>
                    <a:pt x="361950" y="40958"/>
                    <a:pt x="355283" y="40958"/>
                  </a:cubicBezTo>
                  <a:cubicBezTo>
                    <a:pt x="346710" y="40958"/>
                    <a:pt x="343853" y="47625"/>
                    <a:pt x="335280" y="66675"/>
                  </a:cubicBezTo>
                  <a:lnTo>
                    <a:pt x="335280" y="55245"/>
                  </a:lnTo>
                  <a:cubicBezTo>
                    <a:pt x="335280" y="47625"/>
                    <a:pt x="332423" y="40005"/>
                    <a:pt x="325755" y="40005"/>
                  </a:cubicBezTo>
                  <a:cubicBezTo>
                    <a:pt x="317183" y="40005"/>
                    <a:pt x="309563" y="53340"/>
                    <a:pt x="303848" y="65722"/>
                  </a:cubicBezTo>
                  <a:lnTo>
                    <a:pt x="307658" y="65722"/>
                  </a:lnTo>
                  <a:cubicBezTo>
                    <a:pt x="311468" y="60008"/>
                    <a:pt x="315278" y="56197"/>
                    <a:pt x="318135" y="56197"/>
                  </a:cubicBezTo>
                  <a:cubicBezTo>
                    <a:pt x="321945" y="56197"/>
                    <a:pt x="323850" y="61913"/>
                    <a:pt x="318135" y="74295"/>
                  </a:cubicBezTo>
                  <a:lnTo>
                    <a:pt x="301943" y="109538"/>
                  </a:lnTo>
                  <a:cubicBezTo>
                    <a:pt x="299085" y="116205"/>
                    <a:pt x="301943" y="120967"/>
                    <a:pt x="308610" y="120967"/>
                  </a:cubicBezTo>
                  <a:cubicBezTo>
                    <a:pt x="312420" y="120967"/>
                    <a:pt x="314325" y="120015"/>
                    <a:pt x="316230" y="115253"/>
                  </a:cubicBezTo>
                  <a:lnTo>
                    <a:pt x="332423" y="73342"/>
                  </a:lnTo>
                  <a:cubicBezTo>
                    <a:pt x="337185" y="67628"/>
                    <a:pt x="340995" y="62865"/>
                    <a:pt x="345758" y="58103"/>
                  </a:cubicBezTo>
                  <a:lnTo>
                    <a:pt x="360997" y="58103"/>
                  </a:lnTo>
                  <a:close/>
                  <a:moveTo>
                    <a:pt x="269558" y="52388"/>
                  </a:moveTo>
                  <a:cubicBezTo>
                    <a:pt x="275273" y="52388"/>
                    <a:pt x="280035" y="56197"/>
                    <a:pt x="277178" y="66675"/>
                  </a:cubicBezTo>
                  <a:lnTo>
                    <a:pt x="251460" y="72390"/>
                  </a:lnTo>
                  <a:cubicBezTo>
                    <a:pt x="256223" y="60960"/>
                    <a:pt x="263843" y="52388"/>
                    <a:pt x="269558" y="52388"/>
                  </a:cubicBezTo>
                  <a:moveTo>
                    <a:pt x="283845" y="93345"/>
                  </a:moveTo>
                  <a:lnTo>
                    <a:pt x="279083" y="93345"/>
                  </a:lnTo>
                  <a:cubicBezTo>
                    <a:pt x="272415" y="100965"/>
                    <a:pt x="265748" y="106680"/>
                    <a:pt x="259080" y="106680"/>
                  </a:cubicBezTo>
                  <a:cubicBezTo>
                    <a:pt x="252413" y="106680"/>
                    <a:pt x="248603" y="102870"/>
                    <a:pt x="248603" y="93345"/>
                  </a:cubicBezTo>
                  <a:cubicBezTo>
                    <a:pt x="248603" y="89535"/>
                    <a:pt x="248603" y="85725"/>
                    <a:pt x="249555" y="81915"/>
                  </a:cubicBezTo>
                  <a:lnTo>
                    <a:pt x="290513" y="68580"/>
                  </a:lnTo>
                  <a:cubicBezTo>
                    <a:pt x="298133" y="49530"/>
                    <a:pt x="288608" y="40958"/>
                    <a:pt x="277178" y="40958"/>
                  </a:cubicBezTo>
                  <a:cubicBezTo>
                    <a:pt x="258128" y="40958"/>
                    <a:pt x="235268" y="73342"/>
                    <a:pt x="235268" y="101917"/>
                  </a:cubicBezTo>
                  <a:cubicBezTo>
                    <a:pt x="235268" y="114300"/>
                    <a:pt x="240983" y="121920"/>
                    <a:pt x="250508" y="121920"/>
                  </a:cubicBezTo>
                  <a:cubicBezTo>
                    <a:pt x="262890" y="121920"/>
                    <a:pt x="274320" y="111442"/>
                    <a:pt x="283845" y="93345"/>
                  </a:cubicBezTo>
                  <a:moveTo>
                    <a:pt x="182880" y="110490"/>
                  </a:moveTo>
                  <a:cubicBezTo>
                    <a:pt x="179070" y="110490"/>
                    <a:pt x="173355" y="106680"/>
                    <a:pt x="173355" y="103822"/>
                  </a:cubicBezTo>
                  <a:cubicBezTo>
                    <a:pt x="173355" y="102870"/>
                    <a:pt x="175260" y="98108"/>
                    <a:pt x="177165" y="92392"/>
                  </a:cubicBezTo>
                  <a:lnTo>
                    <a:pt x="183833" y="74295"/>
                  </a:lnTo>
                  <a:cubicBezTo>
                    <a:pt x="190500" y="65722"/>
                    <a:pt x="201930" y="57150"/>
                    <a:pt x="207645" y="57150"/>
                  </a:cubicBezTo>
                  <a:cubicBezTo>
                    <a:pt x="211455" y="57150"/>
                    <a:pt x="214313" y="59055"/>
                    <a:pt x="214313" y="64770"/>
                  </a:cubicBezTo>
                  <a:cubicBezTo>
                    <a:pt x="215265" y="80963"/>
                    <a:pt x="200025" y="110490"/>
                    <a:pt x="182880" y="110490"/>
                  </a:cubicBezTo>
                  <a:moveTo>
                    <a:pt x="230505" y="58103"/>
                  </a:moveTo>
                  <a:cubicBezTo>
                    <a:pt x="230505" y="45720"/>
                    <a:pt x="225743" y="41910"/>
                    <a:pt x="218123" y="41910"/>
                  </a:cubicBezTo>
                  <a:cubicBezTo>
                    <a:pt x="207645" y="41910"/>
                    <a:pt x="198120" y="53340"/>
                    <a:pt x="188595" y="66675"/>
                  </a:cubicBezTo>
                  <a:lnTo>
                    <a:pt x="213360" y="1905"/>
                  </a:lnTo>
                  <a:lnTo>
                    <a:pt x="212408" y="0"/>
                  </a:lnTo>
                  <a:lnTo>
                    <a:pt x="186690" y="2858"/>
                  </a:lnTo>
                  <a:lnTo>
                    <a:pt x="186690" y="5715"/>
                  </a:lnTo>
                  <a:lnTo>
                    <a:pt x="191453" y="9525"/>
                  </a:lnTo>
                  <a:cubicBezTo>
                    <a:pt x="196215" y="13335"/>
                    <a:pt x="194310" y="17145"/>
                    <a:pt x="190500" y="27622"/>
                  </a:cubicBezTo>
                  <a:lnTo>
                    <a:pt x="163830" y="96203"/>
                  </a:lnTo>
                  <a:cubicBezTo>
                    <a:pt x="161925" y="100965"/>
                    <a:pt x="159068" y="107633"/>
                    <a:pt x="159068" y="108585"/>
                  </a:cubicBezTo>
                  <a:cubicBezTo>
                    <a:pt x="159068" y="115253"/>
                    <a:pt x="168593" y="121920"/>
                    <a:pt x="177165" y="121920"/>
                  </a:cubicBezTo>
                  <a:cubicBezTo>
                    <a:pt x="196215" y="121920"/>
                    <a:pt x="230505" y="85725"/>
                    <a:pt x="230505" y="58103"/>
                  </a:cubicBezTo>
                  <a:moveTo>
                    <a:pt x="149543" y="49530"/>
                  </a:moveTo>
                  <a:cubicBezTo>
                    <a:pt x="151448" y="43815"/>
                    <a:pt x="147638" y="40958"/>
                    <a:pt x="144780" y="40958"/>
                  </a:cubicBezTo>
                  <a:cubicBezTo>
                    <a:pt x="133350" y="40958"/>
                    <a:pt x="119063" y="51435"/>
                    <a:pt x="113348" y="66675"/>
                  </a:cubicBezTo>
                  <a:lnTo>
                    <a:pt x="117157" y="66675"/>
                  </a:lnTo>
                  <a:cubicBezTo>
                    <a:pt x="120968" y="60960"/>
                    <a:pt x="127635" y="55245"/>
                    <a:pt x="133350" y="54292"/>
                  </a:cubicBezTo>
                  <a:lnTo>
                    <a:pt x="110490" y="113347"/>
                  </a:lnTo>
                  <a:cubicBezTo>
                    <a:pt x="108585" y="119063"/>
                    <a:pt x="112395" y="121920"/>
                    <a:pt x="115253" y="121920"/>
                  </a:cubicBezTo>
                  <a:cubicBezTo>
                    <a:pt x="126682" y="121920"/>
                    <a:pt x="140018" y="111442"/>
                    <a:pt x="145733" y="96203"/>
                  </a:cubicBezTo>
                  <a:lnTo>
                    <a:pt x="141923" y="96203"/>
                  </a:lnTo>
                  <a:cubicBezTo>
                    <a:pt x="138113" y="101917"/>
                    <a:pt x="131445" y="107633"/>
                    <a:pt x="125730" y="108585"/>
                  </a:cubicBezTo>
                  <a:lnTo>
                    <a:pt x="149543" y="49530"/>
                  </a:lnTo>
                  <a:close/>
                  <a:moveTo>
                    <a:pt x="153353" y="20003"/>
                  </a:moveTo>
                  <a:cubicBezTo>
                    <a:pt x="159068" y="20003"/>
                    <a:pt x="162878" y="15240"/>
                    <a:pt x="162878" y="10478"/>
                  </a:cubicBezTo>
                  <a:cubicBezTo>
                    <a:pt x="162878" y="4763"/>
                    <a:pt x="158115" y="953"/>
                    <a:pt x="153353" y="953"/>
                  </a:cubicBezTo>
                  <a:cubicBezTo>
                    <a:pt x="147638" y="953"/>
                    <a:pt x="143828" y="5715"/>
                    <a:pt x="143828" y="10478"/>
                  </a:cubicBezTo>
                  <a:cubicBezTo>
                    <a:pt x="143828" y="16192"/>
                    <a:pt x="147638" y="20003"/>
                    <a:pt x="153353" y="20003"/>
                  </a:cubicBezTo>
                  <a:moveTo>
                    <a:pt x="93345" y="10478"/>
                  </a:moveTo>
                  <a:lnTo>
                    <a:pt x="39053" y="10478"/>
                  </a:lnTo>
                  <a:lnTo>
                    <a:pt x="37148" y="15240"/>
                  </a:lnTo>
                  <a:cubicBezTo>
                    <a:pt x="53340" y="18097"/>
                    <a:pt x="54293" y="20003"/>
                    <a:pt x="46673" y="40005"/>
                  </a:cubicBezTo>
                  <a:lnTo>
                    <a:pt x="29528" y="88583"/>
                  </a:lnTo>
                  <a:cubicBezTo>
                    <a:pt x="21908" y="108585"/>
                    <a:pt x="19050" y="110490"/>
                    <a:pt x="953" y="113347"/>
                  </a:cubicBezTo>
                  <a:lnTo>
                    <a:pt x="0" y="118110"/>
                  </a:lnTo>
                  <a:lnTo>
                    <a:pt x="82868" y="118110"/>
                  </a:lnTo>
                  <a:lnTo>
                    <a:pt x="100965" y="86678"/>
                  </a:lnTo>
                  <a:lnTo>
                    <a:pt x="94298" y="86678"/>
                  </a:lnTo>
                  <a:cubicBezTo>
                    <a:pt x="83820" y="98108"/>
                    <a:pt x="72390" y="111442"/>
                    <a:pt x="54293" y="111442"/>
                  </a:cubicBezTo>
                  <a:cubicBezTo>
                    <a:pt x="40957" y="111442"/>
                    <a:pt x="39053" y="109538"/>
                    <a:pt x="46673" y="88583"/>
                  </a:cubicBezTo>
                  <a:lnTo>
                    <a:pt x="63818" y="40005"/>
                  </a:lnTo>
                  <a:cubicBezTo>
                    <a:pt x="71438" y="20003"/>
                    <a:pt x="74295" y="18097"/>
                    <a:pt x="92393" y="15240"/>
                  </a:cubicBezTo>
                  <a:lnTo>
                    <a:pt x="93345" y="1047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EF54B3B4-D50D-4165-967F-4732A1467D7A}"/>
                </a:ext>
              </a:extLst>
            </p:cNvPr>
            <p:cNvSpPr/>
            <p:nvPr/>
          </p:nvSpPr>
          <p:spPr>
            <a:xfrm>
              <a:off x="270509" y="675322"/>
              <a:ext cx="1310640" cy="498157"/>
            </a:xfrm>
            <a:custGeom>
              <a:avLst/>
              <a:gdLst>
                <a:gd name="connsiteX0" fmla="*/ 0 w 1310640"/>
                <a:gd name="connsiteY0" fmla="*/ 196215 h 498157"/>
                <a:gd name="connsiteX1" fmla="*/ 0 w 1310640"/>
                <a:gd name="connsiteY1" fmla="*/ 0 h 498157"/>
                <a:gd name="connsiteX2" fmla="*/ 64770 w 1310640"/>
                <a:gd name="connsiteY2" fmla="*/ 0 h 498157"/>
                <a:gd name="connsiteX3" fmla="*/ 116205 w 1310640"/>
                <a:gd name="connsiteY3" fmla="*/ 16192 h 498157"/>
                <a:gd name="connsiteX4" fmla="*/ 135255 w 1310640"/>
                <a:gd name="connsiteY4" fmla="*/ 59055 h 498157"/>
                <a:gd name="connsiteX5" fmla="*/ 116205 w 1310640"/>
                <a:gd name="connsiteY5" fmla="*/ 101917 h 498157"/>
                <a:gd name="connsiteX6" fmla="*/ 64770 w 1310640"/>
                <a:gd name="connsiteY6" fmla="*/ 118110 h 498157"/>
                <a:gd name="connsiteX7" fmla="*/ 40005 w 1310640"/>
                <a:gd name="connsiteY7" fmla="*/ 118110 h 498157"/>
                <a:gd name="connsiteX8" fmla="*/ 40005 w 1310640"/>
                <a:gd name="connsiteY8" fmla="*/ 197167 h 498157"/>
                <a:gd name="connsiteX9" fmla="*/ 0 w 1310640"/>
                <a:gd name="connsiteY9" fmla="*/ 197167 h 498157"/>
                <a:gd name="connsiteX10" fmla="*/ 65723 w 1310640"/>
                <a:gd name="connsiteY10" fmla="*/ 33338 h 498157"/>
                <a:gd name="connsiteX11" fmla="*/ 39053 w 1310640"/>
                <a:gd name="connsiteY11" fmla="*/ 33338 h 498157"/>
                <a:gd name="connsiteX12" fmla="*/ 39053 w 1310640"/>
                <a:gd name="connsiteY12" fmla="*/ 82867 h 498157"/>
                <a:gd name="connsiteX13" fmla="*/ 65723 w 1310640"/>
                <a:gd name="connsiteY13" fmla="*/ 82867 h 498157"/>
                <a:gd name="connsiteX14" fmla="*/ 85725 w 1310640"/>
                <a:gd name="connsiteY14" fmla="*/ 76200 h 498157"/>
                <a:gd name="connsiteX15" fmla="*/ 93345 w 1310640"/>
                <a:gd name="connsiteY15" fmla="*/ 58102 h 498157"/>
                <a:gd name="connsiteX16" fmla="*/ 85725 w 1310640"/>
                <a:gd name="connsiteY16" fmla="*/ 40005 h 498157"/>
                <a:gd name="connsiteX17" fmla="*/ 65723 w 1310640"/>
                <a:gd name="connsiteY17" fmla="*/ 33338 h 498157"/>
                <a:gd name="connsiteX18" fmla="*/ 166688 w 1310640"/>
                <a:gd name="connsiteY18" fmla="*/ 196215 h 498157"/>
                <a:gd name="connsiteX19" fmla="*/ 166688 w 1310640"/>
                <a:gd name="connsiteY19" fmla="*/ 0 h 498157"/>
                <a:gd name="connsiteX20" fmla="*/ 226695 w 1310640"/>
                <a:gd name="connsiteY20" fmla="*/ 0 h 498157"/>
                <a:gd name="connsiteX21" fmla="*/ 278130 w 1310640"/>
                <a:gd name="connsiteY21" fmla="*/ 16192 h 498157"/>
                <a:gd name="connsiteX22" fmla="*/ 297180 w 1310640"/>
                <a:gd name="connsiteY22" fmla="*/ 59055 h 498157"/>
                <a:gd name="connsiteX23" fmla="*/ 288608 w 1310640"/>
                <a:gd name="connsiteY23" fmla="*/ 89535 h 498157"/>
                <a:gd name="connsiteX24" fmla="*/ 265748 w 1310640"/>
                <a:gd name="connsiteY24" fmla="*/ 109538 h 498157"/>
                <a:gd name="connsiteX25" fmla="*/ 327660 w 1310640"/>
                <a:gd name="connsiteY25" fmla="*/ 196215 h 498157"/>
                <a:gd name="connsiteX26" fmla="*/ 280035 w 1310640"/>
                <a:gd name="connsiteY26" fmla="*/ 196215 h 498157"/>
                <a:gd name="connsiteX27" fmla="*/ 227648 w 1310640"/>
                <a:gd name="connsiteY27" fmla="*/ 117157 h 498157"/>
                <a:gd name="connsiteX28" fmla="*/ 206692 w 1310640"/>
                <a:gd name="connsiteY28" fmla="*/ 117157 h 498157"/>
                <a:gd name="connsiteX29" fmla="*/ 206692 w 1310640"/>
                <a:gd name="connsiteY29" fmla="*/ 196215 h 498157"/>
                <a:gd name="connsiteX30" fmla="*/ 166688 w 1310640"/>
                <a:gd name="connsiteY30" fmla="*/ 196215 h 498157"/>
                <a:gd name="connsiteX31" fmla="*/ 229553 w 1310640"/>
                <a:gd name="connsiteY31" fmla="*/ 33338 h 498157"/>
                <a:gd name="connsiteX32" fmla="*/ 206692 w 1310640"/>
                <a:gd name="connsiteY32" fmla="*/ 33338 h 498157"/>
                <a:gd name="connsiteX33" fmla="*/ 206692 w 1310640"/>
                <a:gd name="connsiteY33" fmla="*/ 82867 h 498157"/>
                <a:gd name="connsiteX34" fmla="*/ 229553 w 1310640"/>
                <a:gd name="connsiteY34" fmla="*/ 82867 h 498157"/>
                <a:gd name="connsiteX35" fmla="*/ 249555 w 1310640"/>
                <a:gd name="connsiteY35" fmla="*/ 76200 h 498157"/>
                <a:gd name="connsiteX36" fmla="*/ 256223 w 1310640"/>
                <a:gd name="connsiteY36" fmla="*/ 58102 h 498157"/>
                <a:gd name="connsiteX37" fmla="*/ 249555 w 1310640"/>
                <a:gd name="connsiteY37" fmla="*/ 40005 h 498157"/>
                <a:gd name="connsiteX38" fmla="*/ 229553 w 1310640"/>
                <a:gd name="connsiteY38" fmla="*/ 33338 h 498157"/>
                <a:gd name="connsiteX39" fmla="*/ 352425 w 1310640"/>
                <a:gd name="connsiteY39" fmla="*/ 196215 h 498157"/>
                <a:gd name="connsiteX40" fmla="*/ 352425 w 1310640"/>
                <a:gd name="connsiteY40" fmla="*/ 0 h 498157"/>
                <a:gd name="connsiteX41" fmla="*/ 466725 w 1310640"/>
                <a:gd name="connsiteY41" fmla="*/ 0 h 498157"/>
                <a:gd name="connsiteX42" fmla="*/ 466725 w 1310640"/>
                <a:gd name="connsiteY42" fmla="*/ 34290 h 498157"/>
                <a:gd name="connsiteX43" fmla="*/ 392430 w 1310640"/>
                <a:gd name="connsiteY43" fmla="*/ 34290 h 498157"/>
                <a:gd name="connsiteX44" fmla="*/ 392430 w 1310640"/>
                <a:gd name="connsiteY44" fmla="*/ 80010 h 498157"/>
                <a:gd name="connsiteX45" fmla="*/ 456248 w 1310640"/>
                <a:gd name="connsiteY45" fmla="*/ 80010 h 498157"/>
                <a:gd name="connsiteX46" fmla="*/ 456248 w 1310640"/>
                <a:gd name="connsiteY46" fmla="*/ 114300 h 498157"/>
                <a:gd name="connsiteX47" fmla="*/ 392430 w 1310640"/>
                <a:gd name="connsiteY47" fmla="*/ 114300 h 498157"/>
                <a:gd name="connsiteX48" fmla="*/ 392430 w 1310640"/>
                <a:gd name="connsiteY48" fmla="*/ 163830 h 498157"/>
                <a:gd name="connsiteX49" fmla="*/ 466725 w 1310640"/>
                <a:gd name="connsiteY49" fmla="*/ 163830 h 498157"/>
                <a:gd name="connsiteX50" fmla="*/ 466725 w 1310640"/>
                <a:gd name="connsiteY50" fmla="*/ 198120 h 498157"/>
                <a:gd name="connsiteX51" fmla="*/ 352425 w 1310640"/>
                <a:gd name="connsiteY51" fmla="*/ 198120 h 498157"/>
                <a:gd name="connsiteX52" fmla="*/ 513398 w 1310640"/>
                <a:gd name="connsiteY52" fmla="*/ 196215 h 498157"/>
                <a:gd name="connsiteX53" fmla="*/ 513398 w 1310640"/>
                <a:gd name="connsiteY53" fmla="*/ 0 h 498157"/>
                <a:gd name="connsiteX54" fmla="*/ 563880 w 1310640"/>
                <a:gd name="connsiteY54" fmla="*/ 0 h 498157"/>
                <a:gd name="connsiteX55" fmla="*/ 611505 w 1310640"/>
                <a:gd name="connsiteY55" fmla="*/ 80963 h 498157"/>
                <a:gd name="connsiteX56" fmla="*/ 659130 w 1310640"/>
                <a:gd name="connsiteY56" fmla="*/ 0 h 498157"/>
                <a:gd name="connsiteX57" fmla="*/ 709613 w 1310640"/>
                <a:gd name="connsiteY57" fmla="*/ 0 h 498157"/>
                <a:gd name="connsiteX58" fmla="*/ 709613 w 1310640"/>
                <a:gd name="connsiteY58" fmla="*/ 197167 h 498157"/>
                <a:gd name="connsiteX59" fmla="*/ 669608 w 1310640"/>
                <a:gd name="connsiteY59" fmla="*/ 197167 h 498157"/>
                <a:gd name="connsiteX60" fmla="*/ 669608 w 1310640"/>
                <a:gd name="connsiteY60" fmla="*/ 56198 h 498157"/>
                <a:gd name="connsiteX61" fmla="*/ 624840 w 1310640"/>
                <a:gd name="connsiteY61" fmla="*/ 128588 h 498157"/>
                <a:gd name="connsiteX62" fmla="*/ 596265 w 1310640"/>
                <a:gd name="connsiteY62" fmla="*/ 128588 h 498157"/>
                <a:gd name="connsiteX63" fmla="*/ 552450 w 1310640"/>
                <a:gd name="connsiteY63" fmla="*/ 56198 h 498157"/>
                <a:gd name="connsiteX64" fmla="*/ 552450 w 1310640"/>
                <a:gd name="connsiteY64" fmla="*/ 196215 h 498157"/>
                <a:gd name="connsiteX65" fmla="*/ 513398 w 1310640"/>
                <a:gd name="connsiteY65" fmla="*/ 196215 h 498157"/>
                <a:gd name="connsiteX66" fmla="*/ 763905 w 1310640"/>
                <a:gd name="connsiteY66" fmla="*/ 196215 h 498157"/>
                <a:gd name="connsiteX67" fmla="*/ 763905 w 1310640"/>
                <a:gd name="connsiteY67" fmla="*/ 0 h 498157"/>
                <a:gd name="connsiteX68" fmla="*/ 803910 w 1310640"/>
                <a:gd name="connsiteY68" fmla="*/ 0 h 498157"/>
                <a:gd name="connsiteX69" fmla="*/ 803910 w 1310640"/>
                <a:gd name="connsiteY69" fmla="*/ 197167 h 498157"/>
                <a:gd name="connsiteX70" fmla="*/ 763905 w 1310640"/>
                <a:gd name="connsiteY70" fmla="*/ 197167 h 498157"/>
                <a:gd name="connsiteX71" fmla="*/ 858203 w 1310640"/>
                <a:gd name="connsiteY71" fmla="*/ 196215 h 498157"/>
                <a:gd name="connsiteX72" fmla="*/ 858203 w 1310640"/>
                <a:gd name="connsiteY72" fmla="*/ 0 h 498157"/>
                <a:gd name="connsiteX73" fmla="*/ 972503 w 1310640"/>
                <a:gd name="connsiteY73" fmla="*/ 0 h 498157"/>
                <a:gd name="connsiteX74" fmla="*/ 972503 w 1310640"/>
                <a:gd name="connsiteY74" fmla="*/ 34290 h 498157"/>
                <a:gd name="connsiteX75" fmla="*/ 898208 w 1310640"/>
                <a:gd name="connsiteY75" fmla="*/ 34290 h 498157"/>
                <a:gd name="connsiteX76" fmla="*/ 898208 w 1310640"/>
                <a:gd name="connsiteY76" fmla="*/ 80010 h 498157"/>
                <a:gd name="connsiteX77" fmla="*/ 962025 w 1310640"/>
                <a:gd name="connsiteY77" fmla="*/ 80010 h 498157"/>
                <a:gd name="connsiteX78" fmla="*/ 962025 w 1310640"/>
                <a:gd name="connsiteY78" fmla="*/ 114300 h 498157"/>
                <a:gd name="connsiteX79" fmla="*/ 898208 w 1310640"/>
                <a:gd name="connsiteY79" fmla="*/ 114300 h 498157"/>
                <a:gd name="connsiteX80" fmla="*/ 898208 w 1310640"/>
                <a:gd name="connsiteY80" fmla="*/ 163830 h 498157"/>
                <a:gd name="connsiteX81" fmla="*/ 972503 w 1310640"/>
                <a:gd name="connsiteY81" fmla="*/ 163830 h 498157"/>
                <a:gd name="connsiteX82" fmla="*/ 972503 w 1310640"/>
                <a:gd name="connsiteY82" fmla="*/ 198120 h 498157"/>
                <a:gd name="connsiteX83" fmla="*/ 858203 w 1310640"/>
                <a:gd name="connsiteY83" fmla="*/ 198120 h 498157"/>
                <a:gd name="connsiteX84" fmla="*/ 1019175 w 1310640"/>
                <a:gd name="connsiteY84" fmla="*/ 196215 h 498157"/>
                <a:gd name="connsiteX85" fmla="*/ 1019175 w 1310640"/>
                <a:gd name="connsiteY85" fmla="*/ 0 h 498157"/>
                <a:gd name="connsiteX86" fmla="*/ 1079183 w 1310640"/>
                <a:gd name="connsiteY86" fmla="*/ 0 h 498157"/>
                <a:gd name="connsiteX87" fmla="*/ 1130618 w 1310640"/>
                <a:gd name="connsiteY87" fmla="*/ 16192 h 498157"/>
                <a:gd name="connsiteX88" fmla="*/ 1149668 w 1310640"/>
                <a:gd name="connsiteY88" fmla="*/ 59055 h 498157"/>
                <a:gd name="connsiteX89" fmla="*/ 1141095 w 1310640"/>
                <a:gd name="connsiteY89" fmla="*/ 89535 h 498157"/>
                <a:gd name="connsiteX90" fmla="*/ 1118235 w 1310640"/>
                <a:gd name="connsiteY90" fmla="*/ 109538 h 498157"/>
                <a:gd name="connsiteX91" fmla="*/ 1180148 w 1310640"/>
                <a:gd name="connsiteY91" fmla="*/ 196215 h 498157"/>
                <a:gd name="connsiteX92" fmla="*/ 1132523 w 1310640"/>
                <a:gd name="connsiteY92" fmla="*/ 196215 h 498157"/>
                <a:gd name="connsiteX93" fmla="*/ 1080135 w 1310640"/>
                <a:gd name="connsiteY93" fmla="*/ 117157 h 498157"/>
                <a:gd name="connsiteX94" fmla="*/ 1059180 w 1310640"/>
                <a:gd name="connsiteY94" fmla="*/ 117157 h 498157"/>
                <a:gd name="connsiteX95" fmla="*/ 1059180 w 1310640"/>
                <a:gd name="connsiteY95" fmla="*/ 196215 h 498157"/>
                <a:gd name="connsiteX96" fmla="*/ 1019175 w 1310640"/>
                <a:gd name="connsiteY96" fmla="*/ 196215 h 498157"/>
                <a:gd name="connsiteX97" fmla="*/ 1082040 w 1310640"/>
                <a:gd name="connsiteY97" fmla="*/ 33338 h 498157"/>
                <a:gd name="connsiteX98" fmla="*/ 1059180 w 1310640"/>
                <a:gd name="connsiteY98" fmla="*/ 33338 h 498157"/>
                <a:gd name="connsiteX99" fmla="*/ 1059180 w 1310640"/>
                <a:gd name="connsiteY99" fmla="*/ 82867 h 498157"/>
                <a:gd name="connsiteX100" fmla="*/ 1082040 w 1310640"/>
                <a:gd name="connsiteY100" fmla="*/ 82867 h 498157"/>
                <a:gd name="connsiteX101" fmla="*/ 1102043 w 1310640"/>
                <a:gd name="connsiteY101" fmla="*/ 76200 h 498157"/>
                <a:gd name="connsiteX102" fmla="*/ 1108710 w 1310640"/>
                <a:gd name="connsiteY102" fmla="*/ 58102 h 498157"/>
                <a:gd name="connsiteX103" fmla="*/ 1102043 w 1310640"/>
                <a:gd name="connsiteY103" fmla="*/ 40005 h 498157"/>
                <a:gd name="connsiteX104" fmla="*/ 1082040 w 1310640"/>
                <a:gd name="connsiteY104" fmla="*/ 33338 h 498157"/>
                <a:gd name="connsiteX105" fmla="*/ 0 w 1310640"/>
                <a:gd name="connsiteY105" fmla="*/ 493395 h 498157"/>
                <a:gd name="connsiteX106" fmla="*/ 0 w 1310640"/>
                <a:gd name="connsiteY106" fmla="*/ 296228 h 498157"/>
                <a:gd name="connsiteX107" fmla="*/ 50483 w 1310640"/>
                <a:gd name="connsiteY107" fmla="*/ 296228 h 498157"/>
                <a:gd name="connsiteX108" fmla="*/ 98108 w 1310640"/>
                <a:gd name="connsiteY108" fmla="*/ 377190 h 498157"/>
                <a:gd name="connsiteX109" fmla="*/ 145733 w 1310640"/>
                <a:gd name="connsiteY109" fmla="*/ 296228 h 498157"/>
                <a:gd name="connsiteX110" fmla="*/ 196215 w 1310640"/>
                <a:gd name="connsiteY110" fmla="*/ 296228 h 498157"/>
                <a:gd name="connsiteX111" fmla="*/ 196215 w 1310640"/>
                <a:gd name="connsiteY111" fmla="*/ 493395 h 498157"/>
                <a:gd name="connsiteX112" fmla="*/ 156210 w 1310640"/>
                <a:gd name="connsiteY112" fmla="*/ 493395 h 498157"/>
                <a:gd name="connsiteX113" fmla="*/ 156210 w 1310640"/>
                <a:gd name="connsiteY113" fmla="*/ 353378 h 498157"/>
                <a:gd name="connsiteX114" fmla="*/ 112395 w 1310640"/>
                <a:gd name="connsiteY114" fmla="*/ 425767 h 498157"/>
                <a:gd name="connsiteX115" fmla="*/ 84773 w 1310640"/>
                <a:gd name="connsiteY115" fmla="*/ 425767 h 498157"/>
                <a:gd name="connsiteX116" fmla="*/ 40958 w 1310640"/>
                <a:gd name="connsiteY116" fmla="*/ 353378 h 498157"/>
                <a:gd name="connsiteX117" fmla="*/ 40958 w 1310640"/>
                <a:gd name="connsiteY117" fmla="*/ 493395 h 498157"/>
                <a:gd name="connsiteX118" fmla="*/ 0 w 1310640"/>
                <a:gd name="connsiteY118" fmla="*/ 493395 h 498157"/>
                <a:gd name="connsiteX119" fmla="*/ 249555 w 1310640"/>
                <a:gd name="connsiteY119" fmla="*/ 493395 h 498157"/>
                <a:gd name="connsiteX120" fmla="*/ 249555 w 1310640"/>
                <a:gd name="connsiteY120" fmla="*/ 296228 h 498157"/>
                <a:gd name="connsiteX121" fmla="*/ 289560 w 1310640"/>
                <a:gd name="connsiteY121" fmla="*/ 296228 h 498157"/>
                <a:gd name="connsiteX122" fmla="*/ 289560 w 1310640"/>
                <a:gd name="connsiteY122" fmla="*/ 493395 h 498157"/>
                <a:gd name="connsiteX123" fmla="*/ 249555 w 1310640"/>
                <a:gd name="connsiteY123" fmla="*/ 493395 h 498157"/>
                <a:gd name="connsiteX124" fmla="*/ 344805 w 1310640"/>
                <a:gd name="connsiteY124" fmla="*/ 493395 h 498157"/>
                <a:gd name="connsiteX125" fmla="*/ 344805 w 1310640"/>
                <a:gd name="connsiteY125" fmla="*/ 296228 h 498157"/>
                <a:gd name="connsiteX126" fmla="*/ 396240 w 1310640"/>
                <a:gd name="connsiteY126" fmla="*/ 296228 h 498157"/>
                <a:gd name="connsiteX127" fmla="*/ 483870 w 1310640"/>
                <a:gd name="connsiteY127" fmla="*/ 437198 h 498157"/>
                <a:gd name="connsiteX128" fmla="*/ 483870 w 1310640"/>
                <a:gd name="connsiteY128" fmla="*/ 296228 h 498157"/>
                <a:gd name="connsiteX129" fmla="*/ 523875 w 1310640"/>
                <a:gd name="connsiteY129" fmla="*/ 296228 h 498157"/>
                <a:gd name="connsiteX130" fmla="*/ 523875 w 1310640"/>
                <a:gd name="connsiteY130" fmla="*/ 493395 h 498157"/>
                <a:gd name="connsiteX131" fmla="*/ 472440 w 1310640"/>
                <a:gd name="connsiteY131" fmla="*/ 493395 h 498157"/>
                <a:gd name="connsiteX132" fmla="*/ 384810 w 1310640"/>
                <a:gd name="connsiteY132" fmla="*/ 352425 h 498157"/>
                <a:gd name="connsiteX133" fmla="*/ 384810 w 1310640"/>
                <a:gd name="connsiteY133" fmla="*/ 493395 h 498157"/>
                <a:gd name="connsiteX134" fmla="*/ 344805 w 1310640"/>
                <a:gd name="connsiteY134" fmla="*/ 493395 h 498157"/>
                <a:gd name="connsiteX135" fmla="*/ 579120 w 1310640"/>
                <a:gd name="connsiteY135" fmla="*/ 493395 h 498157"/>
                <a:gd name="connsiteX136" fmla="*/ 579120 w 1310640"/>
                <a:gd name="connsiteY136" fmla="*/ 296228 h 498157"/>
                <a:gd name="connsiteX137" fmla="*/ 619125 w 1310640"/>
                <a:gd name="connsiteY137" fmla="*/ 296228 h 498157"/>
                <a:gd name="connsiteX138" fmla="*/ 619125 w 1310640"/>
                <a:gd name="connsiteY138" fmla="*/ 493395 h 498157"/>
                <a:gd name="connsiteX139" fmla="*/ 579120 w 1310640"/>
                <a:gd name="connsiteY139" fmla="*/ 493395 h 498157"/>
                <a:gd name="connsiteX140" fmla="*/ 656273 w 1310640"/>
                <a:gd name="connsiteY140" fmla="*/ 466725 h 498157"/>
                <a:gd name="connsiteX141" fmla="*/ 684848 w 1310640"/>
                <a:gd name="connsiteY141" fmla="*/ 440055 h 498157"/>
                <a:gd name="connsiteX142" fmla="*/ 704850 w 1310640"/>
                <a:gd name="connsiteY142" fmla="*/ 458153 h 498157"/>
                <a:gd name="connsiteX143" fmla="*/ 728663 w 1310640"/>
                <a:gd name="connsiteY143" fmla="*/ 464820 h 498157"/>
                <a:gd name="connsiteX144" fmla="*/ 746760 w 1310640"/>
                <a:gd name="connsiteY144" fmla="*/ 459105 h 498157"/>
                <a:gd name="connsiteX145" fmla="*/ 753428 w 1310640"/>
                <a:gd name="connsiteY145" fmla="*/ 441960 h 498157"/>
                <a:gd name="connsiteX146" fmla="*/ 739140 w 1310640"/>
                <a:gd name="connsiteY146" fmla="*/ 421957 h 498157"/>
                <a:gd name="connsiteX147" fmla="*/ 708660 w 1310640"/>
                <a:gd name="connsiteY147" fmla="*/ 406717 h 498157"/>
                <a:gd name="connsiteX148" fmla="*/ 678180 w 1310640"/>
                <a:gd name="connsiteY148" fmla="*/ 385763 h 498157"/>
                <a:gd name="connsiteX149" fmla="*/ 663893 w 1310640"/>
                <a:gd name="connsiteY149" fmla="*/ 348615 h 498157"/>
                <a:gd name="connsiteX150" fmla="*/ 668655 w 1310640"/>
                <a:gd name="connsiteY150" fmla="*/ 326707 h 498157"/>
                <a:gd name="connsiteX151" fmla="*/ 681990 w 1310640"/>
                <a:gd name="connsiteY151" fmla="*/ 308610 h 498157"/>
                <a:gd name="connsiteX152" fmla="*/ 701993 w 1310640"/>
                <a:gd name="connsiteY152" fmla="*/ 296228 h 498157"/>
                <a:gd name="connsiteX153" fmla="*/ 727710 w 1310640"/>
                <a:gd name="connsiteY153" fmla="*/ 291465 h 498157"/>
                <a:gd name="connsiteX154" fmla="*/ 766763 w 1310640"/>
                <a:gd name="connsiteY154" fmla="*/ 300990 h 498157"/>
                <a:gd name="connsiteX155" fmla="*/ 796290 w 1310640"/>
                <a:gd name="connsiteY155" fmla="*/ 324803 h 498157"/>
                <a:gd name="connsiteX156" fmla="*/ 766763 w 1310640"/>
                <a:gd name="connsiteY156" fmla="*/ 350520 h 498157"/>
                <a:gd name="connsiteX157" fmla="*/ 748665 w 1310640"/>
                <a:gd name="connsiteY157" fmla="*/ 332423 h 498157"/>
                <a:gd name="connsiteX158" fmla="*/ 727710 w 1310640"/>
                <a:gd name="connsiteY158" fmla="*/ 325755 h 498157"/>
                <a:gd name="connsiteX159" fmla="*/ 711518 w 1310640"/>
                <a:gd name="connsiteY159" fmla="*/ 331470 h 498157"/>
                <a:gd name="connsiteX160" fmla="*/ 705803 w 1310640"/>
                <a:gd name="connsiteY160" fmla="*/ 345757 h 498157"/>
                <a:gd name="connsiteX161" fmla="*/ 720090 w 1310640"/>
                <a:gd name="connsiteY161" fmla="*/ 365760 h 498157"/>
                <a:gd name="connsiteX162" fmla="*/ 750570 w 1310640"/>
                <a:gd name="connsiteY162" fmla="*/ 381000 h 498157"/>
                <a:gd name="connsiteX163" fmla="*/ 781050 w 1310640"/>
                <a:gd name="connsiteY163" fmla="*/ 401955 h 498157"/>
                <a:gd name="connsiteX164" fmla="*/ 795338 w 1310640"/>
                <a:gd name="connsiteY164" fmla="*/ 440055 h 498157"/>
                <a:gd name="connsiteX165" fmla="*/ 789623 w 1310640"/>
                <a:gd name="connsiteY165" fmla="*/ 464820 h 498157"/>
                <a:gd name="connsiteX166" fmla="*/ 775335 w 1310640"/>
                <a:gd name="connsiteY166" fmla="*/ 482917 h 498157"/>
                <a:gd name="connsiteX167" fmla="*/ 754380 w 1310640"/>
                <a:gd name="connsiteY167" fmla="*/ 494348 h 498157"/>
                <a:gd name="connsiteX168" fmla="*/ 728663 w 1310640"/>
                <a:gd name="connsiteY168" fmla="*/ 498157 h 498157"/>
                <a:gd name="connsiteX169" fmla="*/ 685800 w 1310640"/>
                <a:gd name="connsiteY169" fmla="*/ 489585 h 498157"/>
                <a:gd name="connsiteX170" fmla="*/ 656273 w 1310640"/>
                <a:gd name="connsiteY170" fmla="*/ 466725 h 498157"/>
                <a:gd name="connsiteX171" fmla="*/ 814388 w 1310640"/>
                <a:gd name="connsiteY171" fmla="*/ 333375 h 498157"/>
                <a:gd name="connsiteX172" fmla="*/ 814388 w 1310640"/>
                <a:gd name="connsiteY172" fmla="*/ 297180 h 498157"/>
                <a:gd name="connsiteX173" fmla="*/ 975360 w 1310640"/>
                <a:gd name="connsiteY173" fmla="*/ 297180 h 498157"/>
                <a:gd name="connsiteX174" fmla="*/ 975360 w 1310640"/>
                <a:gd name="connsiteY174" fmla="*/ 333375 h 498157"/>
                <a:gd name="connsiteX175" fmla="*/ 914400 w 1310640"/>
                <a:gd name="connsiteY175" fmla="*/ 333375 h 498157"/>
                <a:gd name="connsiteX176" fmla="*/ 914400 w 1310640"/>
                <a:gd name="connsiteY176" fmla="*/ 493395 h 498157"/>
                <a:gd name="connsiteX177" fmla="*/ 874395 w 1310640"/>
                <a:gd name="connsiteY177" fmla="*/ 493395 h 498157"/>
                <a:gd name="connsiteX178" fmla="*/ 874395 w 1310640"/>
                <a:gd name="connsiteY178" fmla="*/ 333375 h 498157"/>
                <a:gd name="connsiteX179" fmla="*/ 814388 w 1310640"/>
                <a:gd name="connsiteY179" fmla="*/ 333375 h 498157"/>
                <a:gd name="connsiteX180" fmla="*/ 1011555 w 1310640"/>
                <a:gd name="connsiteY180" fmla="*/ 493395 h 498157"/>
                <a:gd name="connsiteX181" fmla="*/ 1011555 w 1310640"/>
                <a:gd name="connsiteY181" fmla="*/ 296228 h 498157"/>
                <a:gd name="connsiteX182" fmla="*/ 1071563 w 1310640"/>
                <a:gd name="connsiteY182" fmla="*/ 296228 h 498157"/>
                <a:gd name="connsiteX183" fmla="*/ 1122998 w 1310640"/>
                <a:gd name="connsiteY183" fmla="*/ 312420 h 498157"/>
                <a:gd name="connsiteX184" fmla="*/ 1142048 w 1310640"/>
                <a:gd name="connsiteY184" fmla="*/ 355282 h 498157"/>
                <a:gd name="connsiteX185" fmla="*/ 1133475 w 1310640"/>
                <a:gd name="connsiteY185" fmla="*/ 385763 h 498157"/>
                <a:gd name="connsiteX186" fmla="*/ 1110615 w 1310640"/>
                <a:gd name="connsiteY186" fmla="*/ 405765 h 498157"/>
                <a:gd name="connsiteX187" fmla="*/ 1172528 w 1310640"/>
                <a:gd name="connsiteY187" fmla="*/ 492442 h 498157"/>
                <a:gd name="connsiteX188" fmla="*/ 1124903 w 1310640"/>
                <a:gd name="connsiteY188" fmla="*/ 492442 h 498157"/>
                <a:gd name="connsiteX189" fmla="*/ 1072515 w 1310640"/>
                <a:gd name="connsiteY189" fmla="*/ 413385 h 498157"/>
                <a:gd name="connsiteX190" fmla="*/ 1051560 w 1310640"/>
                <a:gd name="connsiteY190" fmla="*/ 413385 h 498157"/>
                <a:gd name="connsiteX191" fmla="*/ 1051560 w 1310640"/>
                <a:gd name="connsiteY191" fmla="*/ 492442 h 498157"/>
                <a:gd name="connsiteX192" fmla="*/ 1011555 w 1310640"/>
                <a:gd name="connsiteY192" fmla="*/ 492442 h 498157"/>
                <a:gd name="connsiteX193" fmla="*/ 1073468 w 1310640"/>
                <a:gd name="connsiteY193" fmla="*/ 330517 h 498157"/>
                <a:gd name="connsiteX194" fmla="*/ 1050608 w 1310640"/>
                <a:gd name="connsiteY194" fmla="*/ 330517 h 498157"/>
                <a:gd name="connsiteX195" fmla="*/ 1050608 w 1310640"/>
                <a:gd name="connsiteY195" fmla="*/ 380048 h 498157"/>
                <a:gd name="connsiteX196" fmla="*/ 1073468 w 1310640"/>
                <a:gd name="connsiteY196" fmla="*/ 380048 h 498157"/>
                <a:gd name="connsiteX197" fmla="*/ 1093470 w 1310640"/>
                <a:gd name="connsiteY197" fmla="*/ 373380 h 498157"/>
                <a:gd name="connsiteX198" fmla="*/ 1100138 w 1310640"/>
                <a:gd name="connsiteY198" fmla="*/ 355282 h 498157"/>
                <a:gd name="connsiteX199" fmla="*/ 1093470 w 1310640"/>
                <a:gd name="connsiteY199" fmla="*/ 337185 h 498157"/>
                <a:gd name="connsiteX200" fmla="*/ 1073468 w 1310640"/>
                <a:gd name="connsiteY200" fmla="*/ 330517 h 498157"/>
                <a:gd name="connsiteX201" fmla="*/ 1196340 w 1310640"/>
                <a:gd name="connsiteY201" fmla="*/ 493395 h 498157"/>
                <a:gd name="connsiteX202" fmla="*/ 1196340 w 1310640"/>
                <a:gd name="connsiteY202" fmla="*/ 296228 h 498157"/>
                <a:gd name="connsiteX203" fmla="*/ 1310640 w 1310640"/>
                <a:gd name="connsiteY203" fmla="*/ 296228 h 498157"/>
                <a:gd name="connsiteX204" fmla="*/ 1310640 w 1310640"/>
                <a:gd name="connsiteY204" fmla="*/ 330517 h 498157"/>
                <a:gd name="connsiteX205" fmla="*/ 1236345 w 1310640"/>
                <a:gd name="connsiteY205" fmla="*/ 330517 h 498157"/>
                <a:gd name="connsiteX206" fmla="*/ 1236345 w 1310640"/>
                <a:gd name="connsiteY206" fmla="*/ 376238 h 498157"/>
                <a:gd name="connsiteX207" fmla="*/ 1300163 w 1310640"/>
                <a:gd name="connsiteY207" fmla="*/ 376238 h 498157"/>
                <a:gd name="connsiteX208" fmla="*/ 1300163 w 1310640"/>
                <a:gd name="connsiteY208" fmla="*/ 410528 h 498157"/>
                <a:gd name="connsiteX209" fmla="*/ 1236345 w 1310640"/>
                <a:gd name="connsiteY209" fmla="*/ 410528 h 498157"/>
                <a:gd name="connsiteX210" fmla="*/ 1236345 w 1310640"/>
                <a:gd name="connsiteY210" fmla="*/ 460057 h 498157"/>
                <a:gd name="connsiteX211" fmla="*/ 1310640 w 1310640"/>
                <a:gd name="connsiteY211" fmla="*/ 460057 h 498157"/>
                <a:gd name="connsiteX212" fmla="*/ 1310640 w 1310640"/>
                <a:gd name="connsiteY212" fmla="*/ 494348 h 498157"/>
                <a:gd name="connsiteX213" fmla="*/ 1196340 w 1310640"/>
                <a:gd name="connsiteY213" fmla="*/ 494348 h 49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</a:cxnLst>
              <a:rect l="l" t="t" r="r" b="b"/>
              <a:pathLst>
                <a:path w="1310640" h="498157">
                  <a:moveTo>
                    <a:pt x="0" y="196215"/>
                  </a:moveTo>
                  <a:lnTo>
                    <a:pt x="0" y="0"/>
                  </a:lnTo>
                  <a:lnTo>
                    <a:pt x="64770" y="0"/>
                  </a:lnTo>
                  <a:cubicBezTo>
                    <a:pt x="86678" y="0"/>
                    <a:pt x="102870" y="5715"/>
                    <a:pt x="116205" y="16192"/>
                  </a:cubicBezTo>
                  <a:cubicBezTo>
                    <a:pt x="128588" y="26670"/>
                    <a:pt x="135255" y="40957"/>
                    <a:pt x="135255" y="59055"/>
                  </a:cubicBezTo>
                  <a:cubicBezTo>
                    <a:pt x="135255" y="77152"/>
                    <a:pt x="128588" y="91440"/>
                    <a:pt x="116205" y="101917"/>
                  </a:cubicBezTo>
                  <a:cubicBezTo>
                    <a:pt x="103823" y="112395"/>
                    <a:pt x="86678" y="118110"/>
                    <a:pt x="64770" y="118110"/>
                  </a:cubicBezTo>
                  <a:lnTo>
                    <a:pt x="40005" y="118110"/>
                  </a:lnTo>
                  <a:lnTo>
                    <a:pt x="40005" y="197167"/>
                  </a:lnTo>
                  <a:lnTo>
                    <a:pt x="0" y="197167"/>
                  </a:lnTo>
                  <a:close/>
                  <a:moveTo>
                    <a:pt x="65723" y="33338"/>
                  </a:moveTo>
                  <a:lnTo>
                    <a:pt x="39053" y="33338"/>
                  </a:lnTo>
                  <a:lnTo>
                    <a:pt x="39053" y="82867"/>
                  </a:lnTo>
                  <a:lnTo>
                    <a:pt x="65723" y="82867"/>
                  </a:lnTo>
                  <a:cubicBezTo>
                    <a:pt x="74295" y="82867"/>
                    <a:pt x="80963" y="80963"/>
                    <a:pt x="85725" y="76200"/>
                  </a:cubicBezTo>
                  <a:cubicBezTo>
                    <a:pt x="90488" y="71438"/>
                    <a:pt x="93345" y="65723"/>
                    <a:pt x="93345" y="58102"/>
                  </a:cubicBezTo>
                  <a:cubicBezTo>
                    <a:pt x="93345" y="50482"/>
                    <a:pt x="90488" y="44767"/>
                    <a:pt x="85725" y="40005"/>
                  </a:cubicBezTo>
                  <a:cubicBezTo>
                    <a:pt x="80963" y="36195"/>
                    <a:pt x="74295" y="33338"/>
                    <a:pt x="65723" y="33338"/>
                  </a:cubicBezTo>
                  <a:close/>
                  <a:moveTo>
                    <a:pt x="166688" y="196215"/>
                  </a:moveTo>
                  <a:lnTo>
                    <a:pt x="166688" y="0"/>
                  </a:lnTo>
                  <a:lnTo>
                    <a:pt x="226695" y="0"/>
                  </a:lnTo>
                  <a:cubicBezTo>
                    <a:pt x="248603" y="0"/>
                    <a:pt x="265748" y="5715"/>
                    <a:pt x="278130" y="16192"/>
                  </a:cubicBezTo>
                  <a:cubicBezTo>
                    <a:pt x="290513" y="26670"/>
                    <a:pt x="297180" y="40957"/>
                    <a:pt x="297180" y="59055"/>
                  </a:cubicBezTo>
                  <a:cubicBezTo>
                    <a:pt x="297180" y="70485"/>
                    <a:pt x="294323" y="80963"/>
                    <a:pt x="288608" y="89535"/>
                  </a:cubicBezTo>
                  <a:cubicBezTo>
                    <a:pt x="282893" y="98107"/>
                    <a:pt x="275273" y="104775"/>
                    <a:pt x="265748" y="109538"/>
                  </a:cubicBezTo>
                  <a:lnTo>
                    <a:pt x="327660" y="196215"/>
                  </a:lnTo>
                  <a:lnTo>
                    <a:pt x="280035" y="196215"/>
                  </a:lnTo>
                  <a:lnTo>
                    <a:pt x="227648" y="117157"/>
                  </a:lnTo>
                  <a:lnTo>
                    <a:pt x="206692" y="117157"/>
                  </a:lnTo>
                  <a:lnTo>
                    <a:pt x="206692" y="196215"/>
                  </a:lnTo>
                  <a:lnTo>
                    <a:pt x="166688" y="196215"/>
                  </a:lnTo>
                  <a:close/>
                  <a:moveTo>
                    <a:pt x="229553" y="33338"/>
                  </a:moveTo>
                  <a:lnTo>
                    <a:pt x="206692" y="33338"/>
                  </a:lnTo>
                  <a:lnTo>
                    <a:pt x="206692" y="82867"/>
                  </a:lnTo>
                  <a:lnTo>
                    <a:pt x="229553" y="82867"/>
                  </a:lnTo>
                  <a:cubicBezTo>
                    <a:pt x="238125" y="82867"/>
                    <a:pt x="244792" y="80963"/>
                    <a:pt x="249555" y="76200"/>
                  </a:cubicBezTo>
                  <a:cubicBezTo>
                    <a:pt x="254317" y="71438"/>
                    <a:pt x="256223" y="65723"/>
                    <a:pt x="256223" y="58102"/>
                  </a:cubicBezTo>
                  <a:cubicBezTo>
                    <a:pt x="256223" y="50482"/>
                    <a:pt x="254317" y="44767"/>
                    <a:pt x="249555" y="40005"/>
                  </a:cubicBezTo>
                  <a:cubicBezTo>
                    <a:pt x="244792" y="36195"/>
                    <a:pt x="238125" y="33338"/>
                    <a:pt x="229553" y="33338"/>
                  </a:cubicBezTo>
                  <a:close/>
                  <a:moveTo>
                    <a:pt x="352425" y="196215"/>
                  </a:moveTo>
                  <a:lnTo>
                    <a:pt x="352425" y="0"/>
                  </a:lnTo>
                  <a:lnTo>
                    <a:pt x="466725" y="0"/>
                  </a:lnTo>
                  <a:lnTo>
                    <a:pt x="466725" y="34290"/>
                  </a:lnTo>
                  <a:lnTo>
                    <a:pt x="392430" y="34290"/>
                  </a:lnTo>
                  <a:lnTo>
                    <a:pt x="392430" y="80010"/>
                  </a:lnTo>
                  <a:lnTo>
                    <a:pt x="456248" y="80010"/>
                  </a:lnTo>
                  <a:lnTo>
                    <a:pt x="456248" y="114300"/>
                  </a:lnTo>
                  <a:lnTo>
                    <a:pt x="392430" y="114300"/>
                  </a:lnTo>
                  <a:lnTo>
                    <a:pt x="392430" y="163830"/>
                  </a:lnTo>
                  <a:lnTo>
                    <a:pt x="466725" y="163830"/>
                  </a:lnTo>
                  <a:lnTo>
                    <a:pt x="466725" y="198120"/>
                  </a:lnTo>
                  <a:lnTo>
                    <a:pt x="352425" y="198120"/>
                  </a:lnTo>
                  <a:close/>
                  <a:moveTo>
                    <a:pt x="513398" y="196215"/>
                  </a:moveTo>
                  <a:lnTo>
                    <a:pt x="513398" y="0"/>
                  </a:lnTo>
                  <a:lnTo>
                    <a:pt x="563880" y="0"/>
                  </a:lnTo>
                  <a:lnTo>
                    <a:pt x="611505" y="80963"/>
                  </a:lnTo>
                  <a:lnTo>
                    <a:pt x="659130" y="0"/>
                  </a:lnTo>
                  <a:lnTo>
                    <a:pt x="709613" y="0"/>
                  </a:lnTo>
                  <a:lnTo>
                    <a:pt x="709613" y="197167"/>
                  </a:lnTo>
                  <a:lnTo>
                    <a:pt x="669608" y="197167"/>
                  </a:lnTo>
                  <a:lnTo>
                    <a:pt x="669608" y="56198"/>
                  </a:lnTo>
                  <a:lnTo>
                    <a:pt x="624840" y="128588"/>
                  </a:lnTo>
                  <a:lnTo>
                    <a:pt x="596265" y="128588"/>
                  </a:lnTo>
                  <a:lnTo>
                    <a:pt x="552450" y="56198"/>
                  </a:lnTo>
                  <a:lnTo>
                    <a:pt x="552450" y="196215"/>
                  </a:lnTo>
                  <a:lnTo>
                    <a:pt x="513398" y="196215"/>
                  </a:lnTo>
                  <a:close/>
                  <a:moveTo>
                    <a:pt x="763905" y="196215"/>
                  </a:moveTo>
                  <a:lnTo>
                    <a:pt x="763905" y="0"/>
                  </a:lnTo>
                  <a:lnTo>
                    <a:pt x="803910" y="0"/>
                  </a:lnTo>
                  <a:lnTo>
                    <a:pt x="803910" y="197167"/>
                  </a:lnTo>
                  <a:lnTo>
                    <a:pt x="763905" y="197167"/>
                  </a:lnTo>
                  <a:close/>
                  <a:moveTo>
                    <a:pt x="858203" y="196215"/>
                  </a:moveTo>
                  <a:lnTo>
                    <a:pt x="858203" y="0"/>
                  </a:lnTo>
                  <a:lnTo>
                    <a:pt x="972503" y="0"/>
                  </a:lnTo>
                  <a:lnTo>
                    <a:pt x="972503" y="34290"/>
                  </a:lnTo>
                  <a:lnTo>
                    <a:pt x="898208" y="34290"/>
                  </a:lnTo>
                  <a:lnTo>
                    <a:pt x="898208" y="80010"/>
                  </a:lnTo>
                  <a:lnTo>
                    <a:pt x="962025" y="80010"/>
                  </a:lnTo>
                  <a:lnTo>
                    <a:pt x="962025" y="114300"/>
                  </a:lnTo>
                  <a:lnTo>
                    <a:pt x="898208" y="114300"/>
                  </a:lnTo>
                  <a:lnTo>
                    <a:pt x="898208" y="163830"/>
                  </a:lnTo>
                  <a:lnTo>
                    <a:pt x="972503" y="163830"/>
                  </a:lnTo>
                  <a:lnTo>
                    <a:pt x="972503" y="198120"/>
                  </a:lnTo>
                  <a:lnTo>
                    <a:pt x="858203" y="198120"/>
                  </a:lnTo>
                  <a:close/>
                  <a:moveTo>
                    <a:pt x="1019175" y="196215"/>
                  </a:moveTo>
                  <a:lnTo>
                    <a:pt x="1019175" y="0"/>
                  </a:lnTo>
                  <a:lnTo>
                    <a:pt x="1079183" y="0"/>
                  </a:lnTo>
                  <a:cubicBezTo>
                    <a:pt x="1101090" y="0"/>
                    <a:pt x="1118235" y="5715"/>
                    <a:pt x="1130618" y="16192"/>
                  </a:cubicBezTo>
                  <a:cubicBezTo>
                    <a:pt x="1143000" y="26670"/>
                    <a:pt x="1149668" y="40957"/>
                    <a:pt x="1149668" y="59055"/>
                  </a:cubicBezTo>
                  <a:cubicBezTo>
                    <a:pt x="1149668" y="70485"/>
                    <a:pt x="1146810" y="80963"/>
                    <a:pt x="1141095" y="89535"/>
                  </a:cubicBezTo>
                  <a:cubicBezTo>
                    <a:pt x="1135380" y="98107"/>
                    <a:pt x="1127760" y="104775"/>
                    <a:pt x="1118235" y="109538"/>
                  </a:cubicBezTo>
                  <a:lnTo>
                    <a:pt x="1180148" y="196215"/>
                  </a:lnTo>
                  <a:lnTo>
                    <a:pt x="1132523" y="196215"/>
                  </a:lnTo>
                  <a:lnTo>
                    <a:pt x="1080135" y="117157"/>
                  </a:lnTo>
                  <a:lnTo>
                    <a:pt x="1059180" y="117157"/>
                  </a:lnTo>
                  <a:lnTo>
                    <a:pt x="1059180" y="196215"/>
                  </a:lnTo>
                  <a:lnTo>
                    <a:pt x="1019175" y="196215"/>
                  </a:lnTo>
                  <a:close/>
                  <a:moveTo>
                    <a:pt x="1082040" y="33338"/>
                  </a:moveTo>
                  <a:lnTo>
                    <a:pt x="1059180" y="33338"/>
                  </a:lnTo>
                  <a:lnTo>
                    <a:pt x="1059180" y="82867"/>
                  </a:lnTo>
                  <a:lnTo>
                    <a:pt x="1082040" y="82867"/>
                  </a:lnTo>
                  <a:cubicBezTo>
                    <a:pt x="1090613" y="82867"/>
                    <a:pt x="1097280" y="80963"/>
                    <a:pt x="1102043" y="76200"/>
                  </a:cubicBezTo>
                  <a:cubicBezTo>
                    <a:pt x="1106805" y="71438"/>
                    <a:pt x="1108710" y="65723"/>
                    <a:pt x="1108710" y="58102"/>
                  </a:cubicBezTo>
                  <a:cubicBezTo>
                    <a:pt x="1108710" y="50482"/>
                    <a:pt x="1106805" y="44767"/>
                    <a:pt x="1102043" y="40005"/>
                  </a:cubicBezTo>
                  <a:cubicBezTo>
                    <a:pt x="1097280" y="36195"/>
                    <a:pt x="1090613" y="33338"/>
                    <a:pt x="1082040" y="33338"/>
                  </a:cubicBezTo>
                  <a:close/>
                  <a:moveTo>
                    <a:pt x="0" y="493395"/>
                  </a:moveTo>
                  <a:lnTo>
                    <a:pt x="0" y="296228"/>
                  </a:lnTo>
                  <a:lnTo>
                    <a:pt x="50483" y="296228"/>
                  </a:lnTo>
                  <a:lnTo>
                    <a:pt x="98108" y="377190"/>
                  </a:lnTo>
                  <a:lnTo>
                    <a:pt x="145733" y="296228"/>
                  </a:lnTo>
                  <a:lnTo>
                    <a:pt x="196215" y="296228"/>
                  </a:lnTo>
                  <a:lnTo>
                    <a:pt x="196215" y="493395"/>
                  </a:lnTo>
                  <a:lnTo>
                    <a:pt x="156210" y="493395"/>
                  </a:lnTo>
                  <a:lnTo>
                    <a:pt x="156210" y="353378"/>
                  </a:lnTo>
                  <a:lnTo>
                    <a:pt x="112395" y="425767"/>
                  </a:lnTo>
                  <a:lnTo>
                    <a:pt x="84773" y="425767"/>
                  </a:lnTo>
                  <a:lnTo>
                    <a:pt x="40958" y="353378"/>
                  </a:lnTo>
                  <a:lnTo>
                    <a:pt x="40958" y="493395"/>
                  </a:lnTo>
                  <a:lnTo>
                    <a:pt x="0" y="493395"/>
                  </a:lnTo>
                  <a:close/>
                  <a:moveTo>
                    <a:pt x="249555" y="493395"/>
                  </a:moveTo>
                  <a:lnTo>
                    <a:pt x="249555" y="296228"/>
                  </a:lnTo>
                  <a:lnTo>
                    <a:pt x="289560" y="296228"/>
                  </a:lnTo>
                  <a:lnTo>
                    <a:pt x="289560" y="493395"/>
                  </a:lnTo>
                  <a:lnTo>
                    <a:pt x="249555" y="493395"/>
                  </a:lnTo>
                  <a:close/>
                  <a:moveTo>
                    <a:pt x="344805" y="493395"/>
                  </a:moveTo>
                  <a:lnTo>
                    <a:pt x="344805" y="296228"/>
                  </a:lnTo>
                  <a:lnTo>
                    <a:pt x="396240" y="296228"/>
                  </a:lnTo>
                  <a:lnTo>
                    <a:pt x="483870" y="437198"/>
                  </a:lnTo>
                  <a:lnTo>
                    <a:pt x="483870" y="296228"/>
                  </a:lnTo>
                  <a:lnTo>
                    <a:pt x="523875" y="296228"/>
                  </a:lnTo>
                  <a:lnTo>
                    <a:pt x="523875" y="493395"/>
                  </a:lnTo>
                  <a:lnTo>
                    <a:pt x="472440" y="493395"/>
                  </a:lnTo>
                  <a:lnTo>
                    <a:pt x="384810" y="352425"/>
                  </a:lnTo>
                  <a:lnTo>
                    <a:pt x="384810" y="493395"/>
                  </a:lnTo>
                  <a:lnTo>
                    <a:pt x="344805" y="493395"/>
                  </a:lnTo>
                  <a:close/>
                  <a:moveTo>
                    <a:pt x="579120" y="493395"/>
                  </a:moveTo>
                  <a:lnTo>
                    <a:pt x="579120" y="296228"/>
                  </a:lnTo>
                  <a:lnTo>
                    <a:pt x="619125" y="296228"/>
                  </a:lnTo>
                  <a:lnTo>
                    <a:pt x="619125" y="493395"/>
                  </a:lnTo>
                  <a:lnTo>
                    <a:pt x="579120" y="493395"/>
                  </a:lnTo>
                  <a:close/>
                  <a:moveTo>
                    <a:pt x="656273" y="466725"/>
                  </a:moveTo>
                  <a:lnTo>
                    <a:pt x="684848" y="440055"/>
                  </a:lnTo>
                  <a:cubicBezTo>
                    <a:pt x="690563" y="447675"/>
                    <a:pt x="697230" y="453390"/>
                    <a:pt x="704850" y="458153"/>
                  </a:cubicBezTo>
                  <a:cubicBezTo>
                    <a:pt x="712470" y="462915"/>
                    <a:pt x="720090" y="464820"/>
                    <a:pt x="728663" y="464820"/>
                  </a:cubicBezTo>
                  <a:cubicBezTo>
                    <a:pt x="736283" y="464820"/>
                    <a:pt x="742950" y="462915"/>
                    <a:pt x="746760" y="459105"/>
                  </a:cubicBezTo>
                  <a:cubicBezTo>
                    <a:pt x="751523" y="455295"/>
                    <a:pt x="753428" y="449580"/>
                    <a:pt x="753428" y="441960"/>
                  </a:cubicBezTo>
                  <a:cubicBezTo>
                    <a:pt x="753428" y="433388"/>
                    <a:pt x="748665" y="426720"/>
                    <a:pt x="739140" y="421957"/>
                  </a:cubicBezTo>
                  <a:cubicBezTo>
                    <a:pt x="729615" y="417195"/>
                    <a:pt x="719138" y="412432"/>
                    <a:pt x="708660" y="406717"/>
                  </a:cubicBezTo>
                  <a:cubicBezTo>
                    <a:pt x="697230" y="401003"/>
                    <a:pt x="686753" y="394335"/>
                    <a:pt x="678180" y="385763"/>
                  </a:cubicBezTo>
                  <a:cubicBezTo>
                    <a:pt x="669608" y="377190"/>
                    <a:pt x="663893" y="364807"/>
                    <a:pt x="663893" y="348615"/>
                  </a:cubicBezTo>
                  <a:cubicBezTo>
                    <a:pt x="663893" y="340995"/>
                    <a:pt x="665798" y="333375"/>
                    <a:pt x="668655" y="326707"/>
                  </a:cubicBezTo>
                  <a:cubicBezTo>
                    <a:pt x="671513" y="320040"/>
                    <a:pt x="676275" y="313373"/>
                    <a:pt x="681990" y="308610"/>
                  </a:cubicBezTo>
                  <a:cubicBezTo>
                    <a:pt x="687705" y="303848"/>
                    <a:pt x="694373" y="299085"/>
                    <a:pt x="701993" y="296228"/>
                  </a:cubicBezTo>
                  <a:cubicBezTo>
                    <a:pt x="709613" y="293370"/>
                    <a:pt x="718185" y="291465"/>
                    <a:pt x="727710" y="291465"/>
                  </a:cubicBezTo>
                  <a:cubicBezTo>
                    <a:pt x="741998" y="291465"/>
                    <a:pt x="755333" y="294323"/>
                    <a:pt x="766763" y="300990"/>
                  </a:cubicBezTo>
                  <a:cubicBezTo>
                    <a:pt x="778193" y="306705"/>
                    <a:pt x="787718" y="315278"/>
                    <a:pt x="796290" y="324803"/>
                  </a:cubicBezTo>
                  <a:lnTo>
                    <a:pt x="766763" y="350520"/>
                  </a:lnTo>
                  <a:cubicBezTo>
                    <a:pt x="761048" y="342900"/>
                    <a:pt x="754380" y="337185"/>
                    <a:pt x="748665" y="332423"/>
                  </a:cubicBezTo>
                  <a:cubicBezTo>
                    <a:pt x="741998" y="327660"/>
                    <a:pt x="735330" y="325755"/>
                    <a:pt x="727710" y="325755"/>
                  </a:cubicBezTo>
                  <a:cubicBezTo>
                    <a:pt x="721043" y="325755"/>
                    <a:pt x="715328" y="327660"/>
                    <a:pt x="711518" y="331470"/>
                  </a:cubicBezTo>
                  <a:cubicBezTo>
                    <a:pt x="707708" y="335280"/>
                    <a:pt x="705803" y="340042"/>
                    <a:pt x="705803" y="345757"/>
                  </a:cubicBezTo>
                  <a:cubicBezTo>
                    <a:pt x="705803" y="354330"/>
                    <a:pt x="710565" y="360998"/>
                    <a:pt x="720090" y="365760"/>
                  </a:cubicBezTo>
                  <a:cubicBezTo>
                    <a:pt x="729615" y="370523"/>
                    <a:pt x="740093" y="375285"/>
                    <a:pt x="750570" y="381000"/>
                  </a:cubicBezTo>
                  <a:cubicBezTo>
                    <a:pt x="762000" y="386715"/>
                    <a:pt x="772478" y="393382"/>
                    <a:pt x="781050" y="401955"/>
                  </a:cubicBezTo>
                  <a:cubicBezTo>
                    <a:pt x="790575" y="410528"/>
                    <a:pt x="795338" y="422910"/>
                    <a:pt x="795338" y="440055"/>
                  </a:cubicBezTo>
                  <a:cubicBezTo>
                    <a:pt x="795338" y="449580"/>
                    <a:pt x="793433" y="457200"/>
                    <a:pt x="789623" y="464820"/>
                  </a:cubicBezTo>
                  <a:cubicBezTo>
                    <a:pt x="785813" y="472440"/>
                    <a:pt x="781050" y="478155"/>
                    <a:pt x="775335" y="482917"/>
                  </a:cubicBezTo>
                  <a:cubicBezTo>
                    <a:pt x="769620" y="487680"/>
                    <a:pt x="762953" y="491490"/>
                    <a:pt x="754380" y="494348"/>
                  </a:cubicBezTo>
                  <a:cubicBezTo>
                    <a:pt x="746760" y="497205"/>
                    <a:pt x="738188" y="498157"/>
                    <a:pt x="728663" y="498157"/>
                  </a:cubicBezTo>
                  <a:cubicBezTo>
                    <a:pt x="712470" y="498157"/>
                    <a:pt x="698183" y="495300"/>
                    <a:pt x="685800" y="489585"/>
                  </a:cubicBezTo>
                  <a:cubicBezTo>
                    <a:pt x="675323" y="484823"/>
                    <a:pt x="664845" y="476250"/>
                    <a:pt x="656273" y="466725"/>
                  </a:cubicBezTo>
                  <a:close/>
                  <a:moveTo>
                    <a:pt x="814388" y="333375"/>
                  </a:moveTo>
                  <a:lnTo>
                    <a:pt x="814388" y="297180"/>
                  </a:lnTo>
                  <a:lnTo>
                    <a:pt x="975360" y="297180"/>
                  </a:lnTo>
                  <a:lnTo>
                    <a:pt x="975360" y="333375"/>
                  </a:lnTo>
                  <a:lnTo>
                    <a:pt x="914400" y="333375"/>
                  </a:lnTo>
                  <a:lnTo>
                    <a:pt x="914400" y="493395"/>
                  </a:lnTo>
                  <a:lnTo>
                    <a:pt x="874395" y="493395"/>
                  </a:lnTo>
                  <a:lnTo>
                    <a:pt x="874395" y="333375"/>
                  </a:lnTo>
                  <a:lnTo>
                    <a:pt x="814388" y="333375"/>
                  </a:lnTo>
                  <a:close/>
                  <a:moveTo>
                    <a:pt x="1011555" y="493395"/>
                  </a:moveTo>
                  <a:lnTo>
                    <a:pt x="1011555" y="296228"/>
                  </a:lnTo>
                  <a:lnTo>
                    <a:pt x="1071563" y="296228"/>
                  </a:lnTo>
                  <a:cubicBezTo>
                    <a:pt x="1093470" y="296228"/>
                    <a:pt x="1110615" y="301942"/>
                    <a:pt x="1122998" y="312420"/>
                  </a:cubicBezTo>
                  <a:cubicBezTo>
                    <a:pt x="1135380" y="322898"/>
                    <a:pt x="1142048" y="337185"/>
                    <a:pt x="1142048" y="355282"/>
                  </a:cubicBezTo>
                  <a:cubicBezTo>
                    <a:pt x="1142048" y="366713"/>
                    <a:pt x="1139190" y="377190"/>
                    <a:pt x="1133475" y="385763"/>
                  </a:cubicBezTo>
                  <a:cubicBezTo>
                    <a:pt x="1127760" y="394335"/>
                    <a:pt x="1120140" y="401003"/>
                    <a:pt x="1110615" y="405765"/>
                  </a:cubicBezTo>
                  <a:lnTo>
                    <a:pt x="1172528" y="492442"/>
                  </a:lnTo>
                  <a:lnTo>
                    <a:pt x="1124903" y="492442"/>
                  </a:lnTo>
                  <a:lnTo>
                    <a:pt x="1072515" y="413385"/>
                  </a:lnTo>
                  <a:lnTo>
                    <a:pt x="1051560" y="413385"/>
                  </a:lnTo>
                  <a:lnTo>
                    <a:pt x="1051560" y="492442"/>
                  </a:lnTo>
                  <a:lnTo>
                    <a:pt x="1011555" y="492442"/>
                  </a:lnTo>
                  <a:close/>
                  <a:moveTo>
                    <a:pt x="1073468" y="330517"/>
                  </a:moveTo>
                  <a:lnTo>
                    <a:pt x="1050608" y="330517"/>
                  </a:lnTo>
                  <a:lnTo>
                    <a:pt x="1050608" y="380048"/>
                  </a:lnTo>
                  <a:lnTo>
                    <a:pt x="1073468" y="380048"/>
                  </a:lnTo>
                  <a:cubicBezTo>
                    <a:pt x="1082040" y="380048"/>
                    <a:pt x="1088708" y="378142"/>
                    <a:pt x="1093470" y="373380"/>
                  </a:cubicBezTo>
                  <a:cubicBezTo>
                    <a:pt x="1098233" y="368617"/>
                    <a:pt x="1100138" y="362903"/>
                    <a:pt x="1100138" y="355282"/>
                  </a:cubicBezTo>
                  <a:cubicBezTo>
                    <a:pt x="1100138" y="347663"/>
                    <a:pt x="1098233" y="341948"/>
                    <a:pt x="1093470" y="337185"/>
                  </a:cubicBezTo>
                  <a:cubicBezTo>
                    <a:pt x="1088708" y="333375"/>
                    <a:pt x="1082040" y="330517"/>
                    <a:pt x="1073468" y="330517"/>
                  </a:cubicBezTo>
                  <a:close/>
                  <a:moveTo>
                    <a:pt x="1196340" y="493395"/>
                  </a:moveTo>
                  <a:lnTo>
                    <a:pt x="1196340" y="296228"/>
                  </a:lnTo>
                  <a:lnTo>
                    <a:pt x="1310640" y="296228"/>
                  </a:lnTo>
                  <a:lnTo>
                    <a:pt x="1310640" y="330517"/>
                  </a:lnTo>
                  <a:lnTo>
                    <a:pt x="1236345" y="330517"/>
                  </a:lnTo>
                  <a:lnTo>
                    <a:pt x="1236345" y="376238"/>
                  </a:lnTo>
                  <a:lnTo>
                    <a:pt x="1300163" y="376238"/>
                  </a:lnTo>
                  <a:lnTo>
                    <a:pt x="1300163" y="410528"/>
                  </a:lnTo>
                  <a:lnTo>
                    <a:pt x="1236345" y="410528"/>
                  </a:lnTo>
                  <a:lnTo>
                    <a:pt x="1236345" y="460057"/>
                  </a:lnTo>
                  <a:lnTo>
                    <a:pt x="1310640" y="460057"/>
                  </a:lnTo>
                  <a:lnTo>
                    <a:pt x="1310640" y="494348"/>
                  </a:lnTo>
                  <a:lnTo>
                    <a:pt x="1196340" y="49434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grpSp>
          <p:nvGrpSpPr>
            <p:cNvPr id="14" name="Graphique 2">
              <a:extLst>
                <a:ext uri="{FF2B5EF4-FFF2-40B4-BE49-F238E27FC236}">
                  <a16:creationId xmlns:a16="http://schemas.microsoft.com/office/drawing/2014/main" id="{4D4D293E-56FA-4F1F-9288-840887C23D75}"/>
                </a:ext>
              </a:extLst>
            </p:cNvPr>
            <p:cNvGrpSpPr/>
            <p:nvPr/>
          </p:nvGrpSpPr>
          <p:grpSpPr>
            <a:xfrm>
              <a:off x="270509" y="269557"/>
              <a:ext cx="744854" cy="270510"/>
              <a:chOff x="270509" y="269557"/>
              <a:chExt cx="744854" cy="270510"/>
            </a:xfrm>
          </p:grpSpPr>
          <p:sp>
            <p:nvSpPr>
              <p:cNvPr id="15" name="Forme libre : forme 14">
                <a:extLst>
                  <a:ext uri="{FF2B5EF4-FFF2-40B4-BE49-F238E27FC236}">
                    <a16:creationId xmlns:a16="http://schemas.microsoft.com/office/drawing/2014/main" id="{483E0F0C-A8F0-4FF9-9961-5AADCDD869C5}"/>
                  </a:ext>
                </a:extLst>
              </p:cNvPr>
              <p:cNvSpPr/>
              <p:nvPr/>
            </p:nvSpPr>
            <p:spPr>
              <a:xfrm>
                <a:off x="419100" y="270509"/>
                <a:ext cx="359871" cy="268604"/>
              </a:xfrm>
              <a:custGeom>
                <a:avLst/>
                <a:gdLst>
                  <a:gd name="connsiteX0" fmla="*/ 158115 w 359871"/>
                  <a:gd name="connsiteY0" fmla="*/ 237173 h 268604"/>
                  <a:gd name="connsiteX1" fmla="*/ 166688 w 359871"/>
                  <a:gd name="connsiteY1" fmla="*/ 227648 h 268604"/>
                  <a:gd name="connsiteX2" fmla="*/ 166688 w 359871"/>
                  <a:gd name="connsiteY2" fmla="*/ 227648 h 268604"/>
                  <a:gd name="connsiteX3" fmla="*/ 183833 w 359871"/>
                  <a:gd name="connsiteY3" fmla="*/ 210503 h 268604"/>
                  <a:gd name="connsiteX4" fmla="*/ 189548 w 359871"/>
                  <a:gd name="connsiteY4" fmla="*/ 205740 h 268604"/>
                  <a:gd name="connsiteX5" fmla="*/ 190500 w 359871"/>
                  <a:gd name="connsiteY5" fmla="*/ 203835 h 268604"/>
                  <a:gd name="connsiteX6" fmla="*/ 183833 w 359871"/>
                  <a:gd name="connsiteY6" fmla="*/ 207645 h 268604"/>
                  <a:gd name="connsiteX7" fmla="*/ 182880 w 359871"/>
                  <a:gd name="connsiteY7" fmla="*/ 206692 h 268604"/>
                  <a:gd name="connsiteX8" fmla="*/ 188595 w 359871"/>
                  <a:gd name="connsiteY8" fmla="*/ 202883 h 268604"/>
                  <a:gd name="connsiteX9" fmla="*/ 188595 w 359871"/>
                  <a:gd name="connsiteY9" fmla="*/ 202883 h 268604"/>
                  <a:gd name="connsiteX10" fmla="*/ 187643 w 359871"/>
                  <a:gd name="connsiteY10" fmla="*/ 201930 h 268604"/>
                  <a:gd name="connsiteX11" fmla="*/ 171450 w 359871"/>
                  <a:gd name="connsiteY11" fmla="*/ 210503 h 268604"/>
                  <a:gd name="connsiteX12" fmla="*/ 168593 w 359871"/>
                  <a:gd name="connsiteY12" fmla="*/ 209550 h 268604"/>
                  <a:gd name="connsiteX13" fmla="*/ 147638 w 359871"/>
                  <a:gd name="connsiteY13" fmla="*/ 221933 h 268604"/>
                  <a:gd name="connsiteX14" fmla="*/ 147638 w 359871"/>
                  <a:gd name="connsiteY14" fmla="*/ 220980 h 268604"/>
                  <a:gd name="connsiteX15" fmla="*/ 138113 w 359871"/>
                  <a:gd name="connsiteY15" fmla="*/ 224790 h 268604"/>
                  <a:gd name="connsiteX16" fmla="*/ 125730 w 359871"/>
                  <a:gd name="connsiteY16" fmla="*/ 225742 h 268604"/>
                  <a:gd name="connsiteX17" fmla="*/ 107632 w 359871"/>
                  <a:gd name="connsiteY17" fmla="*/ 228600 h 268604"/>
                  <a:gd name="connsiteX18" fmla="*/ 106680 w 359871"/>
                  <a:gd name="connsiteY18" fmla="*/ 228600 h 268604"/>
                  <a:gd name="connsiteX19" fmla="*/ 97155 w 359871"/>
                  <a:gd name="connsiteY19" fmla="*/ 232410 h 268604"/>
                  <a:gd name="connsiteX20" fmla="*/ 97155 w 359871"/>
                  <a:gd name="connsiteY20" fmla="*/ 232410 h 268604"/>
                  <a:gd name="connsiteX21" fmla="*/ 96202 w 359871"/>
                  <a:gd name="connsiteY21" fmla="*/ 233363 h 268604"/>
                  <a:gd name="connsiteX22" fmla="*/ 92393 w 359871"/>
                  <a:gd name="connsiteY22" fmla="*/ 236220 h 268604"/>
                  <a:gd name="connsiteX23" fmla="*/ 83820 w 359871"/>
                  <a:gd name="connsiteY23" fmla="*/ 242888 h 268604"/>
                  <a:gd name="connsiteX24" fmla="*/ 82868 w 359871"/>
                  <a:gd name="connsiteY24" fmla="*/ 242888 h 268604"/>
                  <a:gd name="connsiteX25" fmla="*/ 74295 w 359871"/>
                  <a:gd name="connsiteY25" fmla="*/ 250508 h 268604"/>
                  <a:gd name="connsiteX26" fmla="*/ 72390 w 359871"/>
                  <a:gd name="connsiteY26" fmla="*/ 250508 h 268604"/>
                  <a:gd name="connsiteX27" fmla="*/ 72390 w 359871"/>
                  <a:gd name="connsiteY27" fmla="*/ 250508 h 268604"/>
                  <a:gd name="connsiteX28" fmla="*/ 72390 w 359871"/>
                  <a:gd name="connsiteY28" fmla="*/ 249555 h 268604"/>
                  <a:gd name="connsiteX29" fmla="*/ 73343 w 359871"/>
                  <a:gd name="connsiteY29" fmla="*/ 247650 h 268604"/>
                  <a:gd name="connsiteX30" fmla="*/ 75248 w 359871"/>
                  <a:gd name="connsiteY30" fmla="*/ 245745 h 268604"/>
                  <a:gd name="connsiteX31" fmla="*/ 77152 w 359871"/>
                  <a:gd name="connsiteY31" fmla="*/ 242888 h 268604"/>
                  <a:gd name="connsiteX32" fmla="*/ 77152 w 359871"/>
                  <a:gd name="connsiteY32" fmla="*/ 241935 h 268604"/>
                  <a:gd name="connsiteX33" fmla="*/ 76200 w 359871"/>
                  <a:gd name="connsiteY33" fmla="*/ 241935 h 268604"/>
                  <a:gd name="connsiteX34" fmla="*/ 84773 w 359871"/>
                  <a:gd name="connsiteY34" fmla="*/ 235267 h 268604"/>
                  <a:gd name="connsiteX35" fmla="*/ 84773 w 359871"/>
                  <a:gd name="connsiteY35" fmla="*/ 235267 h 268604"/>
                  <a:gd name="connsiteX36" fmla="*/ 83820 w 359871"/>
                  <a:gd name="connsiteY36" fmla="*/ 234315 h 268604"/>
                  <a:gd name="connsiteX37" fmla="*/ 84773 w 359871"/>
                  <a:gd name="connsiteY37" fmla="*/ 233363 h 268604"/>
                  <a:gd name="connsiteX38" fmla="*/ 84773 w 359871"/>
                  <a:gd name="connsiteY38" fmla="*/ 233363 h 268604"/>
                  <a:gd name="connsiteX39" fmla="*/ 84773 w 359871"/>
                  <a:gd name="connsiteY39" fmla="*/ 233363 h 268604"/>
                  <a:gd name="connsiteX40" fmla="*/ 84773 w 359871"/>
                  <a:gd name="connsiteY40" fmla="*/ 234315 h 268604"/>
                  <a:gd name="connsiteX41" fmla="*/ 80963 w 359871"/>
                  <a:gd name="connsiteY41" fmla="*/ 237173 h 268604"/>
                  <a:gd name="connsiteX42" fmla="*/ 80010 w 359871"/>
                  <a:gd name="connsiteY42" fmla="*/ 237173 h 268604"/>
                  <a:gd name="connsiteX43" fmla="*/ 79057 w 359871"/>
                  <a:gd name="connsiteY43" fmla="*/ 237173 h 268604"/>
                  <a:gd name="connsiteX44" fmla="*/ 79057 w 359871"/>
                  <a:gd name="connsiteY44" fmla="*/ 237173 h 268604"/>
                  <a:gd name="connsiteX45" fmla="*/ 79057 w 359871"/>
                  <a:gd name="connsiteY45" fmla="*/ 237173 h 268604"/>
                  <a:gd name="connsiteX46" fmla="*/ 79057 w 359871"/>
                  <a:gd name="connsiteY46" fmla="*/ 237173 h 268604"/>
                  <a:gd name="connsiteX47" fmla="*/ 79057 w 359871"/>
                  <a:gd name="connsiteY47" fmla="*/ 237173 h 268604"/>
                  <a:gd name="connsiteX48" fmla="*/ 79057 w 359871"/>
                  <a:gd name="connsiteY48" fmla="*/ 237173 h 268604"/>
                  <a:gd name="connsiteX49" fmla="*/ 79057 w 359871"/>
                  <a:gd name="connsiteY49" fmla="*/ 237173 h 268604"/>
                  <a:gd name="connsiteX50" fmla="*/ 79057 w 359871"/>
                  <a:gd name="connsiteY50" fmla="*/ 236220 h 268604"/>
                  <a:gd name="connsiteX51" fmla="*/ 79057 w 359871"/>
                  <a:gd name="connsiteY51" fmla="*/ 236220 h 268604"/>
                  <a:gd name="connsiteX52" fmla="*/ 80010 w 359871"/>
                  <a:gd name="connsiteY52" fmla="*/ 235267 h 268604"/>
                  <a:gd name="connsiteX53" fmla="*/ 80010 w 359871"/>
                  <a:gd name="connsiteY53" fmla="*/ 234315 h 268604"/>
                  <a:gd name="connsiteX54" fmla="*/ 80963 w 359871"/>
                  <a:gd name="connsiteY54" fmla="*/ 233363 h 268604"/>
                  <a:gd name="connsiteX55" fmla="*/ 80963 w 359871"/>
                  <a:gd name="connsiteY55" fmla="*/ 232410 h 268604"/>
                  <a:gd name="connsiteX56" fmla="*/ 84773 w 359871"/>
                  <a:gd name="connsiteY56" fmla="*/ 229553 h 268604"/>
                  <a:gd name="connsiteX57" fmla="*/ 84773 w 359871"/>
                  <a:gd name="connsiteY57" fmla="*/ 229553 h 268604"/>
                  <a:gd name="connsiteX58" fmla="*/ 90488 w 359871"/>
                  <a:gd name="connsiteY58" fmla="*/ 226695 h 268604"/>
                  <a:gd name="connsiteX59" fmla="*/ 91440 w 359871"/>
                  <a:gd name="connsiteY59" fmla="*/ 225742 h 268604"/>
                  <a:gd name="connsiteX60" fmla="*/ 82868 w 359871"/>
                  <a:gd name="connsiteY60" fmla="*/ 229553 h 268604"/>
                  <a:gd name="connsiteX61" fmla="*/ 81915 w 359871"/>
                  <a:gd name="connsiteY61" fmla="*/ 229553 h 268604"/>
                  <a:gd name="connsiteX62" fmla="*/ 80963 w 359871"/>
                  <a:gd name="connsiteY62" fmla="*/ 229553 h 268604"/>
                  <a:gd name="connsiteX63" fmla="*/ 80963 w 359871"/>
                  <a:gd name="connsiteY63" fmla="*/ 229553 h 268604"/>
                  <a:gd name="connsiteX64" fmla="*/ 83820 w 359871"/>
                  <a:gd name="connsiteY64" fmla="*/ 226695 h 268604"/>
                  <a:gd name="connsiteX65" fmla="*/ 84773 w 359871"/>
                  <a:gd name="connsiteY65" fmla="*/ 227648 h 268604"/>
                  <a:gd name="connsiteX66" fmla="*/ 142875 w 359871"/>
                  <a:gd name="connsiteY66" fmla="*/ 211455 h 268604"/>
                  <a:gd name="connsiteX67" fmla="*/ 147638 w 359871"/>
                  <a:gd name="connsiteY67" fmla="*/ 208598 h 268604"/>
                  <a:gd name="connsiteX68" fmla="*/ 155258 w 359871"/>
                  <a:gd name="connsiteY68" fmla="*/ 203835 h 268604"/>
                  <a:gd name="connsiteX69" fmla="*/ 163830 w 359871"/>
                  <a:gd name="connsiteY69" fmla="*/ 192405 h 268604"/>
                  <a:gd name="connsiteX70" fmla="*/ 162877 w 359871"/>
                  <a:gd name="connsiteY70" fmla="*/ 191453 h 268604"/>
                  <a:gd name="connsiteX71" fmla="*/ 140018 w 359871"/>
                  <a:gd name="connsiteY71" fmla="*/ 208598 h 268604"/>
                  <a:gd name="connsiteX72" fmla="*/ 106680 w 359871"/>
                  <a:gd name="connsiteY72" fmla="*/ 214313 h 268604"/>
                  <a:gd name="connsiteX73" fmla="*/ 109538 w 359871"/>
                  <a:gd name="connsiteY73" fmla="*/ 213360 h 268604"/>
                  <a:gd name="connsiteX74" fmla="*/ 111443 w 359871"/>
                  <a:gd name="connsiteY74" fmla="*/ 210503 h 268604"/>
                  <a:gd name="connsiteX75" fmla="*/ 113348 w 359871"/>
                  <a:gd name="connsiteY75" fmla="*/ 210503 h 268604"/>
                  <a:gd name="connsiteX76" fmla="*/ 114300 w 359871"/>
                  <a:gd name="connsiteY76" fmla="*/ 209550 h 268604"/>
                  <a:gd name="connsiteX77" fmla="*/ 116205 w 359871"/>
                  <a:gd name="connsiteY77" fmla="*/ 208598 h 268604"/>
                  <a:gd name="connsiteX78" fmla="*/ 108585 w 359871"/>
                  <a:gd name="connsiteY78" fmla="*/ 208598 h 268604"/>
                  <a:gd name="connsiteX79" fmla="*/ 110490 w 359871"/>
                  <a:gd name="connsiteY79" fmla="*/ 205740 h 268604"/>
                  <a:gd name="connsiteX80" fmla="*/ 112395 w 359871"/>
                  <a:gd name="connsiteY80" fmla="*/ 205740 h 268604"/>
                  <a:gd name="connsiteX81" fmla="*/ 113348 w 359871"/>
                  <a:gd name="connsiteY81" fmla="*/ 203835 h 268604"/>
                  <a:gd name="connsiteX82" fmla="*/ 135255 w 359871"/>
                  <a:gd name="connsiteY82" fmla="*/ 191453 h 268604"/>
                  <a:gd name="connsiteX83" fmla="*/ 131445 w 359871"/>
                  <a:gd name="connsiteY83" fmla="*/ 192405 h 268604"/>
                  <a:gd name="connsiteX84" fmla="*/ 132398 w 359871"/>
                  <a:gd name="connsiteY84" fmla="*/ 190500 h 268604"/>
                  <a:gd name="connsiteX85" fmla="*/ 148590 w 359871"/>
                  <a:gd name="connsiteY85" fmla="*/ 183833 h 268604"/>
                  <a:gd name="connsiteX86" fmla="*/ 142875 w 359871"/>
                  <a:gd name="connsiteY86" fmla="*/ 183833 h 268604"/>
                  <a:gd name="connsiteX87" fmla="*/ 145733 w 359871"/>
                  <a:gd name="connsiteY87" fmla="*/ 181928 h 268604"/>
                  <a:gd name="connsiteX88" fmla="*/ 145733 w 359871"/>
                  <a:gd name="connsiteY88" fmla="*/ 180023 h 268604"/>
                  <a:gd name="connsiteX89" fmla="*/ 146685 w 359871"/>
                  <a:gd name="connsiteY89" fmla="*/ 179070 h 268604"/>
                  <a:gd name="connsiteX90" fmla="*/ 145733 w 359871"/>
                  <a:gd name="connsiteY90" fmla="*/ 178117 h 268604"/>
                  <a:gd name="connsiteX91" fmla="*/ 148590 w 359871"/>
                  <a:gd name="connsiteY91" fmla="*/ 176213 h 268604"/>
                  <a:gd name="connsiteX92" fmla="*/ 146685 w 359871"/>
                  <a:gd name="connsiteY92" fmla="*/ 175260 h 268604"/>
                  <a:gd name="connsiteX93" fmla="*/ 153352 w 359871"/>
                  <a:gd name="connsiteY93" fmla="*/ 172403 h 268604"/>
                  <a:gd name="connsiteX94" fmla="*/ 151448 w 359871"/>
                  <a:gd name="connsiteY94" fmla="*/ 171450 h 268604"/>
                  <a:gd name="connsiteX95" fmla="*/ 152400 w 359871"/>
                  <a:gd name="connsiteY95" fmla="*/ 170498 h 268604"/>
                  <a:gd name="connsiteX96" fmla="*/ 152400 w 359871"/>
                  <a:gd name="connsiteY96" fmla="*/ 170498 h 268604"/>
                  <a:gd name="connsiteX97" fmla="*/ 151448 w 359871"/>
                  <a:gd name="connsiteY97" fmla="*/ 168592 h 268604"/>
                  <a:gd name="connsiteX98" fmla="*/ 156210 w 359871"/>
                  <a:gd name="connsiteY98" fmla="*/ 156210 h 268604"/>
                  <a:gd name="connsiteX99" fmla="*/ 155258 w 359871"/>
                  <a:gd name="connsiteY99" fmla="*/ 155258 h 268604"/>
                  <a:gd name="connsiteX100" fmla="*/ 134302 w 359871"/>
                  <a:gd name="connsiteY100" fmla="*/ 164783 h 268604"/>
                  <a:gd name="connsiteX101" fmla="*/ 131445 w 359871"/>
                  <a:gd name="connsiteY101" fmla="*/ 164783 h 268604"/>
                  <a:gd name="connsiteX102" fmla="*/ 122873 w 359871"/>
                  <a:gd name="connsiteY102" fmla="*/ 163830 h 268604"/>
                  <a:gd name="connsiteX103" fmla="*/ 118110 w 359871"/>
                  <a:gd name="connsiteY103" fmla="*/ 160020 h 268604"/>
                  <a:gd name="connsiteX104" fmla="*/ 105727 w 359871"/>
                  <a:gd name="connsiteY104" fmla="*/ 154305 h 268604"/>
                  <a:gd name="connsiteX105" fmla="*/ 66675 w 359871"/>
                  <a:gd name="connsiteY105" fmla="*/ 148590 h 268604"/>
                  <a:gd name="connsiteX106" fmla="*/ 84773 w 359871"/>
                  <a:gd name="connsiteY106" fmla="*/ 143828 h 268604"/>
                  <a:gd name="connsiteX107" fmla="*/ 110490 w 359871"/>
                  <a:gd name="connsiteY107" fmla="*/ 139065 h 268604"/>
                  <a:gd name="connsiteX108" fmla="*/ 105727 w 359871"/>
                  <a:gd name="connsiteY108" fmla="*/ 139065 h 268604"/>
                  <a:gd name="connsiteX109" fmla="*/ 83820 w 359871"/>
                  <a:gd name="connsiteY109" fmla="*/ 141923 h 268604"/>
                  <a:gd name="connsiteX110" fmla="*/ 68580 w 359871"/>
                  <a:gd name="connsiteY110" fmla="*/ 145733 h 268604"/>
                  <a:gd name="connsiteX111" fmla="*/ 60007 w 359871"/>
                  <a:gd name="connsiteY111" fmla="*/ 149542 h 268604"/>
                  <a:gd name="connsiteX112" fmla="*/ 60007 w 359871"/>
                  <a:gd name="connsiteY112" fmla="*/ 147638 h 268604"/>
                  <a:gd name="connsiteX113" fmla="*/ 79057 w 359871"/>
                  <a:gd name="connsiteY113" fmla="*/ 135255 h 268604"/>
                  <a:gd name="connsiteX114" fmla="*/ 105727 w 359871"/>
                  <a:gd name="connsiteY114" fmla="*/ 136208 h 268604"/>
                  <a:gd name="connsiteX115" fmla="*/ 124777 w 359871"/>
                  <a:gd name="connsiteY115" fmla="*/ 140017 h 268604"/>
                  <a:gd name="connsiteX116" fmla="*/ 129540 w 359871"/>
                  <a:gd name="connsiteY116" fmla="*/ 144780 h 268604"/>
                  <a:gd name="connsiteX117" fmla="*/ 139065 w 359871"/>
                  <a:gd name="connsiteY117" fmla="*/ 146685 h 268604"/>
                  <a:gd name="connsiteX118" fmla="*/ 139065 w 359871"/>
                  <a:gd name="connsiteY118" fmla="*/ 143828 h 268604"/>
                  <a:gd name="connsiteX119" fmla="*/ 145733 w 359871"/>
                  <a:gd name="connsiteY119" fmla="*/ 142875 h 268604"/>
                  <a:gd name="connsiteX120" fmla="*/ 140018 w 359871"/>
                  <a:gd name="connsiteY120" fmla="*/ 132398 h 268604"/>
                  <a:gd name="connsiteX121" fmla="*/ 140970 w 359871"/>
                  <a:gd name="connsiteY121" fmla="*/ 131445 h 268604"/>
                  <a:gd name="connsiteX122" fmla="*/ 153352 w 359871"/>
                  <a:gd name="connsiteY122" fmla="*/ 141923 h 268604"/>
                  <a:gd name="connsiteX123" fmla="*/ 160973 w 359871"/>
                  <a:gd name="connsiteY123" fmla="*/ 140970 h 268604"/>
                  <a:gd name="connsiteX124" fmla="*/ 149543 w 359871"/>
                  <a:gd name="connsiteY124" fmla="*/ 125730 h 268604"/>
                  <a:gd name="connsiteX125" fmla="*/ 149543 w 359871"/>
                  <a:gd name="connsiteY125" fmla="*/ 123825 h 268604"/>
                  <a:gd name="connsiteX126" fmla="*/ 147638 w 359871"/>
                  <a:gd name="connsiteY126" fmla="*/ 122873 h 268604"/>
                  <a:gd name="connsiteX127" fmla="*/ 147638 w 359871"/>
                  <a:gd name="connsiteY127" fmla="*/ 120015 h 268604"/>
                  <a:gd name="connsiteX128" fmla="*/ 144780 w 359871"/>
                  <a:gd name="connsiteY128" fmla="*/ 115253 h 268604"/>
                  <a:gd name="connsiteX129" fmla="*/ 142875 w 359871"/>
                  <a:gd name="connsiteY129" fmla="*/ 105728 h 268604"/>
                  <a:gd name="connsiteX130" fmla="*/ 141923 w 359871"/>
                  <a:gd name="connsiteY130" fmla="*/ 98108 h 268604"/>
                  <a:gd name="connsiteX131" fmla="*/ 137160 w 359871"/>
                  <a:gd name="connsiteY131" fmla="*/ 73342 h 268604"/>
                  <a:gd name="connsiteX132" fmla="*/ 147638 w 359871"/>
                  <a:gd name="connsiteY132" fmla="*/ 47625 h 268604"/>
                  <a:gd name="connsiteX133" fmla="*/ 161925 w 359871"/>
                  <a:gd name="connsiteY133" fmla="*/ 31433 h 268604"/>
                  <a:gd name="connsiteX134" fmla="*/ 171450 w 359871"/>
                  <a:gd name="connsiteY134" fmla="*/ 15240 h 268604"/>
                  <a:gd name="connsiteX135" fmla="*/ 187643 w 359871"/>
                  <a:gd name="connsiteY135" fmla="*/ 4763 h 268604"/>
                  <a:gd name="connsiteX136" fmla="*/ 200977 w 359871"/>
                  <a:gd name="connsiteY136" fmla="*/ 0 h 268604"/>
                  <a:gd name="connsiteX137" fmla="*/ 302895 w 359871"/>
                  <a:gd name="connsiteY137" fmla="*/ 0 h 268604"/>
                  <a:gd name="connsiteX138" fmla="*/ 305753 w 359871"/>
                  <a:gd name="connsiteY138" fmla="*/ 953 h 268604"/>
                  <a:gd name="connsiteX139" fmla="*/ 313373 w 359871"/>
                  <a:gd name="connsiteY139" fmla="*/ 4763 h 268604"/>
                  <a:gd name="connsiteX140" fmla="*/ 322898 w 359871"/>
                  <a:gd name="connsiteY140" fmla="*/ 13335 h 268604"/>
                  <a:gd name="connsiteX141" fmla="*/ 324803 w 359871"/>
                  <a:gd name="connsiteY141" fmla="*/ 20003 h 268604"/>
                  <a:gd name="connsiteX142" fmla="*/ 320992 w 359871"/>
                  <a:gd name="connsiteY142" fmla="*/ 27622 h 268604"/>
                  <a:gd name="connsiteX143" fmla="*/ 310515 w 359871"/>
                  <a:gd name="connsiteY143" fmla="*/ 28575 h 268604"/>
                  <a:gd name="connsiteX144" fmla="*/ 304800 w 359871"/>
                  <a:gd name="connsiteY144" fmla="*/ 27622 h 268604"/>
                  <a:gd name="connsiteX145" fmla="*/ 324803 w 359871"/>
                  <a:gd name="connsiteY145" fmla="*/ 40958 h 268604"/>
                  <a:gd name="connsiteX146" fmla="*/ 329565 w 359871"/>
                  <a:gd name="connsiteY146" fmla="*/ 42863 h 268604"/>
                  <a:gd name="connsiteX147" fmla="*/ 330517 w 359871"/>
                  <a:gd name="connsiteY147" fmla="*/ 44767 h 268604"/>
                  <a:gd name="connsiteX148" fmla="*/ 328613 w 359871"/>
                  <a:gd name="connsiteY148" fmla="*/ 47625 h 268604"/>
                  <a:gd name="connsiteX149" fmla="*/ 330517 w 359871"/>
                  <a:gd name="connsiteY149" fmla="*/ 47625 h 268604"/>
                  <a:gd name="connsiteX150" fmla="*/ 336233 w 359871"/>
                  <a:gd name="connsiteY150" fmla="*/ 42863 h 268604"/>
                  <a:gd name="connsiteX151" fmla="*/ 338138 w 359871"/>
                  <a:gd name="connsiteY151" fmla="*/ 50483 h 268604"/>
                  <a:gd name="connsiteX152" fmla="*/ 332423 w 359871"/>
                  <a:gd name="connsiteY152" fmla="*/ 55245 h 268604"/>
                  <a:gd name="connsiteX153" fmla="*/ 332423 w 359871"/>
                  <a:gd name="connsiteY153" fmla="*/ 59055 h 268604"/>
                  <a:gd name="connsiteX154" fmla="*/ 335280 w 359871"/>
                  <a:gd name="connsiteY154" fmla="*/ 64770 h 268604"/>
                  <a:gd name="connsiteX155" fmla="*/ 339090 w 359871"/>
                  <a:gd name="connsiteY155" fmla="*/ 76200 h 268604"/>
                  <a:gd name="connsiteX156" fmla="*/ 342900 w 359871"/>
                  <a:gd name="connsiteY156" fmla="*/ 99060 h 268604"/>
                  <a:gd name="connsiteX157" fmla="*/ 341948 w 359871"/>
                  <a:gd name="connsiteY157" fmla="*/ 110490 h 268604"/>
                  <a:gd name="connsiteX158" fmla="*/ 347663 w 359871"/>
                  <a:gd name="connsiteY158" fmla="*/ 120967 h 268604"/>
                  <a:gd name="connsiteX159" fmla="*/ 353378 w 359871"/>
                  <a:gd name="connsiteY159" fmla="*/ 129540 h 268604"/>
                  <a:gd name="connsiteX160" fmla="*/ 359092 w 359871"/>
                  <a:gd name="connsiteY160" fmla="*/ 145733 h 268604"/>
                  <a:gd name="connsiteX161" fmla="*/ 348615 w 359871"/>
                  <a:gd name="connsiteY161" fmla="*/ 150495 h 268604"/>
                  <a:gd name="connsiteX162" fmla="*/ 349567 w 359871"/>
                  <a:gd name="connsiteY162" fmla="*/ 160020 h 268604"/>
                  <a:gd name="connsiteX163" fmla="*/ 342900 w 359871"/>
                  <a:gd name="connsiteY163" fmla="*/ 169545 h 268604"/>
                  <a:gd name="connsiteX164" fmla="*/ 346710 w 359871"/>
                  <a:gd name="connsiteY164" fmla="*/ 171450 h 268604"/>
                  <a:gd name="connsiteX165" fmla="*/ 348615 w 359871"/>
                  <a:gd name="connsiteY165" fmla="*/ 178117 h 268604"/>
                  <a:gd name="connsiteX166" fmla="*/ 343853 w 359871"/>
                  <a:gd name="connsiteY166" fmla="*/ 187642 h 268604"/>
                  <a:gd name="connsiteX167" fmla="*/ 342900 w 359871"/>
                  <a:gd name="connsiteY167" fmla="*/ 199073 h 268604"/>
                  <a:gd name="connsiteX168" fmla="*/ 333375 w 359871"/>
                  <a:gd name="connsiteY168" fmla="*/ 206692 h 268604"/>
                  <a:gd name="connsiteX169" fmla="*/ 323850 w 359871"/>
                  <a:gd name="connsiteY169" fmla="*/ 207645 h 268604"/>
                  <a:gd name="connsiteX170" fmla="*/ 318135 w 359871"/>
                  <a:gd name="connsiteY170" fmla="*/ 205740 h 268604"/>
                  <a:gd name="connsiteX171" fmla="*/ 292417 w 359871"/>
                  <a:gd name="connsiteY171" fmla="*/ 201930 h 268604"/>
                  <a:gd name="connsiteX172" fmla="*/ 285750 w 359871"/>
                  <a:gd name="connsiteY172" fmla="*/ 203835 h 268604"/>
                  <a:gd name="connsiteX173" fmla="*/ 280035 w 359871"/>
                  <a:gd name="connsiteY173" fmla="*/ 209550 h 268604"/>
                  <a:gd name="connsiteX174" fmla="*/ 280035 w 359871"/>
                  <a:gd name="connsiteY174" fmla="*/ 209550 h 268604"/>
                  <a:gd name="connsiteX175" fmla="*/ 279083 w 359871"/>
                  <a:gd name="connsiteY175" fmla="*/ 210503 h 268604"/>
                  <a:gd name="connsiteX176" fmla="*/ 278130 w 359871"/>
                  <a:gd name="connsiteY176" fmla="*/ 211455 h 268604"/>
                  <a:gd name="connsiteX177" fmla="*/ 278130 w 359871"/>
                  <a:gd name="connsiteY177" fmla="*/ 212408 h 268604"/>
                  <a:gd name="connsiteX178" fmla="*/ 274320 w 359871"/>
                  <a:gd name="connsiteY178" fmla="*/ 218123 h 268604"/>
                  <a:gd name="connsiteX179" fmla="*/ 274320 w 359871"/>
                  <a:gd name="connsiteY179" fmla="*/ 218123 h 268604"/>
                  <a:gd name="connsiteX180" fmla="*/ 274320 w 359871"/>
                  <a:gd name="connsiteY180" fmla="*/ 219075 h 268604"/>
                  <a:gd name="connsiteX181" fmla="*/ 270510 w 359871"/>
                  <a:gd name="connsiteY181" fmla="*/ 228600 h 268604"/>
                  <a:gd name="connsiteX182" fmla="*/ 271463 w 359871"/>
                  <a:gd name="connsiteY182" fmla="*/ 252413 h 268604"/>
                  <a:gd name="connsiteX183" fmla="*/ 299085 w 359871"/>
                  <a:gd name="connsiteY183" fmla="*/ 262890 h 268604"/>
                  <a:gd name="connsiteX184" fmla="*/ 311467 w 359871"/>
                  <a:gd name="connsiteY184" fmla="*/ 268605 h 268604"/>
                  <a:gd name="connsiteX185" fmla="*/ 101918 w 359871"/>
                  <a:gd name="connsiteY185" fmla="*/ 268605 h 268604"/>
                  <a:gd name="connsiteX186" fmla="*/ 135255 w 359871"/>
                  <a:gd name="connsiteY186" fmla="*/ 251460 h 268604"/>
                  <a:gd name="connsiteX187" fmla="*/ 158115 w 359871"/>
                  <a:gd name="connsiteY187" fmla="*/ 237173 h 268604"/>
                  <a:gd name="connsiteX188" fmla="*/ 79057 w 359871"/>
                  <a:gd name="connsiteY188" fmla="*/ 200978 h 268604"/>
                  <a:gd name="connsiteX189" fmla="*/ 76200 w 359871"/>
                  <a:gd name="connsiteY189" fmla="*/ 200025 h 268604"/>
                  <a:gd name="connsiteX190" fmla="*/ 81915 w 359871"/>
                  <a:gd name="connsiteY190" fmla="*/ 196215 h 268604"/>
                  <a:gd name="connsiteX191" fmla="*/ 85725 w 359871"/>
                  <a:gd name="connsiteY191" fmla="*/ 195263 h 268604"/>
                  <a:gd name="connsiteX192" fmla="*/ 89535 w 359871"/>
                  <a:gd name="connsiteY192" fmla="*/ 197167 h 268604"/>
                  <a:gd name="connsiteX193" fmla="*/ 79057 w 359871"/>
                  <a:gd name="connsiteY193" fmla="*/ 200978 h 268604"/>
                  <a:gd name="connsiteX194" fmla="*/ 952 w 359871"/>
                  <a:gd name="connsiteY194" fmla="*/ 189548 h 268604"/>
                  <a:gd name="connsiteX195" fmla="*/ 0 w 359871"/>
                  <a:gd name="connsiteY195" fmla="*/ 188595 h 268604"/>
                  <a:gd name="connsiteX196" fmla="*/ 16193 w 359871"/>
                  <a:gd name="connsiteY196" fmla="*/ 162878 h 268604"/>
                  <a:gd name="connsiteX197" fmla="*/ 33338 w 359871"/>
                  <a:gd name="connsiteY197" fmla="*/ 148590 h 268604"/>
                  <a:gd name="connsiteX198" fmla="*/ 61913 w 359871"/>
                  <a:gd name="connsiteY198" fmla="*/ 125730 h 268604"/>
                  <a:gd name="connsiteX199" fmla="*/ 75248 w 359871"/>
                  <a:gd name="connsiteY199" fmla="*/ 126683 h 268604"/>
                  <a:gd name="connsiteX200" fmla="*/ 69532 w 359871"/>
                  <a:gd name="connsiteY200" fmla="*/ 129540 h 268604"/>
                  <a:gd name="connsiteX201" fmla="*/ 67627 w 359871"/>
                  <a:gd name="connsiteY201" fmla="*/ 128588 h 268604"/>
                  <a:gd name="connsiteX202" fmla="*/ 68580 w 359871"/>
                  <a:gd name="connsiteY202" fmla="*/ 126683 h 268604"/>
                  <a:gd name="connsiteX203" fmla="*/ 52388 w 359871"/>
                  <a:gd name="connsiteY203" fmla="*/ 141923 h 268604"/>
                  <a:gd name="connsiteX204" fmla="*/ 40957 w 359871"/>
                  <a:gd name="connsiteY204" fmla="*/ 155258 h 268604"/>
                  <a:gd name="connsiteX205" fmla="*/ 40005 w 359871"/>
                  <a:gd name="connsiteY205" fmla="*/ 154305 h 268604"/>
                  <a:gd name="connsiteX206" fmla="*/ 952 w 359871"/>
                  <a:gd name="connsiteY206" fmla="*/ 189548 h 268604"/>
                  <a:gd name="connsiteX207" fmla="*/ 43815 w 359871"/>
                  <a:gd name="connsiteY207" fmla="*/ 156210 h 268604"/>
                  <a:gd name="connsiteX208" fmla="*/ 41910 w 359871"/>
                  <a:gd name="connsiteY208" fmla="*/ 158115 h 268604"/>
                  <a:gd name="connsiteX209" fmla="*/ 40005 w 359871"/>
                  <a:gd name="connsiteY209" fmla="*/ 160020 h 268604"/>
                  <a:gd name="connsiteX210" fmla="*/ 39052 w 359871"/>
                  <a:gd name="connsiteY210" fmla="*/ 159067 h 268604"/>
                  <a:gd name="connsiteX211" fmla="*/ 42863 w 359871"/>
                  <a:gd name="connsiteY211" fmla="*/ 154305 h 268604"/>
                  <a:gd name="connsiteX212" fmla="*/ 43815 w 359871"/>
                  <a:gd name="connsiteY212" fmla="*/ 156210 h 268604"/>
                  <a:gd name="connsiteX213" fmla="*/ 67627 w 359871"/>
                  <a:gd name="connsiteY213" fmla="*/ 232410 h 268604"/>
                  <a:gd name="connsiteX214" fmla="*/ 66675 w 359871"/>
                  <a:gd name="connsiteY214" fmla="*/ 234315 h 268604"/>
                  <a:gd name="connsiteX215" fmla="*/ 67627 w 359871"/>
                  <a:gd name="connsiteY215" fmla="*/ 235267 h 268604"/>
                  <a:gd name="connsiteX216" fmla="*/ 63818 w 359871"/>
                  <a:gd name="connsiteY216" fmla="*/ 238125 h 268604"/>
                  <a:gd name="connsiteX217" fmla="*/ 62865 w 359871"/>
                  <a:gd name="connsiteY217" fmla="*/ 238125 h 268604"/>
                  <a:gd name="connsiteX218" fmla="*/ 60960 w 359871"/>
                  <a:gd name="connsiteY218" fmla="*/ 240030 h 268604"/>
                  <a:gd name="connsiteX219" fmla="*/ 58102 w 359871"/>
                  <a:gd name="connsiteY219" fmla="*/ 239078 h 268604"/>
                  <a:gd name="connsiteX220" fmla="*/ 61913 w 359871"/>
                  <a:gd name="connsiteY220" fmla="*/ 235267 h 268604"/>
                  <a:gd name="connsiteX221" fmla="*/ 63818 w 359871"/>
                  <a:gd name="connsiteY221" fmla="*/ 233363 h 268604"/>
                  <a:gd name="connsiteX222" fmla="*/ 64770 w 359871"/>
                  <a:gd name="connsiteY222" fmla="*/ 232410 h 268604"/>
                  <a:gd name="connsiteX223" fmla="*/ 67627 w 359871"/>
                  <a:gd name="connsiteY223" fmla="*/ 232410 h 268604"/>
                  <a:gd name="connsiteX224" fmla="*/ 58102 w 359871"/>
                  <a:gd name="connsiteY224" fmla="*/ 228600 h 268604"/>
                  <a:gd name="connsiteX225" fmla="*/ 58102 w 359871"/>
                  <a:gd name="connsiteY225" fmla="*/ 228600 h 268604"/>
                  <a:gd name="connsiteX226" fmla="*/ 52388 w 359871"/>
                  <a:gd name="connsiteY226" fmla="*/ 232410 h 268604"/>
                  <a:gd name="connsiteX227" fmla="*/ 45720 w 359871"/>
                  <a:gd name="connsiteY227" fmla="*/ 235267 h 268604"/>
                  <a:gd name="connsiteX228" fmla="*/ 45720 w 359871"/>
                  <a:gd name="connsiteY228" fmla="*/ 235267 h 268604"/>
                  <a:gd name="connsiteX229" fmla="*/ 44768 w 359871"/>
                  <a:gd name="connsiteY229" fmla="*/ 235267 h 268604"/>
                  <a:gd name="connsiteX230" fmla="*/ 40005 w 359871"/>
                  <a:gd name="connsiteY230" fmla="*/ 239078 h 268604"/>
                  <a:gd name="connsiteX231" fmla="*/ 39052 w 359871"/>
                  <a:gd name="connsiteY231" fmla="*/ 240030 h 268604"/>
                  <a:gd name="connsiteX232" fmla="*/ 39052 w 359871"/>
                  <a:gd name="connsiteY232" fmla="*/ 240030 h 268604"/>
                  <a:gd name="connsiteX233" fmla="*/ 39052 w 359871"/>
                  <a:gd name="connsiteY233" fmla="*/ 240030 h 268604"/>
                  <a:gd name="connsiteX234" fmla="*/ 38100 w 359871"/>
                  <a:gd name="connsiteY234" fmla="*/ 240983 h 268604"/>
                  <a:gd name="connsiteX235" fmla="*/ 38100 w 359871"/>
                  <a:gd name="connsiteY235" fmla="*/ 240983 h 268604"/>
                  <a:gd name="connsiteX236" fmla="*/ 38100 w 359871"/>
                  <a:gd name="connsiteY236" fmla="*/ 240983 h 268604"/>
                  <a:gd name="connsiteX237" fmla="*/ 37148 w 359871"/>
                  <a:gd name="connsiteY237" fmla="*/ 241935 h 268604"/>
                  <a:gd name="connsiteX238" fmla="*/ 36195 w 359871"/>
                  <a:gd name="connsiteY238" fmla="*/ 242888 h 268604"/>
                  <a:gd name="connsiteX239" fmla="*/ 35243 w 359871"/>
                  <a:gd name="connsiteY239" fmla="*/ 242888 h 268604"/>
                  <a:gd name="connsiteX240" fmla="*/ 35243 w 359871"/>
                  <a:gd name="connsiteY240" fmla="*/ 242888 h 268604"/>
                  <a:gd name="connsiteX241" fmla="*/ 34290 w 359871"/>
                  <a:gd name="connsiteY241" fmla="*/ 242888 h 268604"/>
                  <a:gd name="connsiteX242" fmla="*/ 33338 w 359871"/>
                  <a:gd name="connsiteY242" fmla="*/ 242888 h 268604"/>
                  <a:gd name="connsiteX243" fmla="*/ 33338 w 359871"/>
                  <a:gd name="connsiteY243" fmla="*/ 242888 h 268604"/>
                  <a:gd name="connsiteX244" fmla="*/ 33338 w 359871"/>
                  <a:gd name="connsiteY244" fmla="*/ 242888 h 268604"/>
                  <a:gd name="connsiteX245" fmla="*/ 31432 w 359871"/>
                  <a:gd name="connsiteY245" fmla="*/ 244792 h 268604"/>
                  <a:gd name="connsiteX246" fmla="*/ 28575 w 359871"/>
                  <a:gd name="connsiteY246" fmla="*/ 247650 h 268604"/>
                  <a:gd name="connsiteX247" fmla="*/ 28575 w 359871"/>
                  <a:gd name="connsiteY247" fmla="*/ 247650 h 268604"/>
                  <a:gd name="connsiteX248" fmla="*/ 28575 w 359871"/>
                  <a:gd name="connsiteY248" fmla="*/ 247650 h 268604"/>
                  <a:gd name="connsiteX249" fmla="*/ 28575 w 359871"/>
                  <a:gd name="connsiteY249" fmla="*/ 247650 h 268604"/>
                  <a:gd name="connsiteX250" fmla="*/ 28575 w 359871"/>
                  <a:gd name="connsiteY250" fmla="*/ 247650 h 268604"/>
                  <a:gd name="connsiteX251" fmla="*/ 28575 w 359871"/>
                  <a:gd name="connsiteY251" fmla="*/ 247650 h 268604"/>
                  <a:gd name="connsiteX252" fmla="*/ 28575 w 359871"/>
                  <a:gd name="connsiteY252" fmla="*/ 248603 h 268604"/>
                  <a:gd name="connsiteX253" fmla="*/ 28575 w 359871"/>
                  <a:gd name="connsiteY253" fmla="*/ 248603 h 268604"/>
                  <a:gd name="connsiteX254" fmla="*/ 28575 w 359871"/>
                  <a:gd name="connsiteY254" fmla="*/ 248603 h 268604"/>
                  <a:gd name="connsiteX255" fmla="*/ 28575 w 359871"/>
                  <a:gd name="connsiteY255" fmla="*/ 248603 h 268604"/>
                  <a:gd name="connsiteX256" fmla="*/ 28575 w 359871"/>
                  <a:gd name="connsiteY256" fmla="*/ 248603 h 268604"/>
                  <a:gd name="connsiteX257" fmla="*/ 28575 w 359871"/>
                  <a:gd name="connsiteY257" fmla="*/ 247650 h 268604"/>
                  <a:gd name="connsiteX258" fmla="*/ 28575 w 359871"/>
                  <a:gd name="connsiteY258" fmla="*/ 247650 h 268604"/>
                  <a:gd name="connsiteX259" fmla="*/ 28575 w 359871"/>
                  <a:gd name="connsiteY259" fmla="*/ 247650 h 268604"/>
                  <a:gd name="connsiteX260" fmla="*/ 30480 w 359871"/>
                  <a:gd name="connsiteY260" fmla="*/ 245745 h 268604"/>
                  <a:gd name="connsiteX261" fmla="*/ 30480 w 359871"/>
                  <a:gd name="connsiteY261" fmla="*/ 245745 h 268604"/>
                  <a:gd name="connsiteX262" fmla="*/ 31432 w 359871"/>
                  <a:gd name="connsiteY262" fmla="*/ 244792 h 268604"/>
                  <a:gd name="connsiteX263" fmla="*/ 32385 w 359871"/>
                  <a:gd name="connsiteY263" fmla="*/ 243840 h 268604"/>
                  <a:gd name="connsiteX264" fmla="*/ 32385 w 359871"/>
                  <a:gd name="connsiteY264" fmla="*/ 243840 h 268604"/>
                  <a:gd name="connsiteX265" fmla="*/ 34290 w 359871"/>
                  <a:gd name="connsiteY265" fmla="*/ 241935 h 268604"/>
                  <a:gd name="connsiteX266" fmla="*/ 34290 w 359871"/>
                  <a:gd name="connsiteY266" fmla="*/ 241935 h 268604"/>
                  <a:gd name="connsiteX267" fmla="*/ 34290 w 359871"/>
                  <a:gd name="connsiteY267" fmla="*/ 241935 h 268604"/>
                  <a:gd name="connsiteX268" fmla="*/ 35243 w 359871"/>
                  <a:gd name="connsiteY268" fmla="*/ 240983 h 268604"/>
                  <a:gd name="connsiteX269" fmla="*/ 36195 w 359871"/>
                  <a:gd name="connsiteY269" fmla="*/ 240030 h 268604"/>
                  <a:gd name="connsiteX270" fmla="*/ 36195 w 359871"/>
                  <a:gd name="connsiteY270" fmla="*/ 240030 h 268604"/>
                  <a:gd name="connsiteX271" fmla="*/ 36195 w 359871"/>
                  <a:gd name="connsiteY271" fmla="*/ 240030 h 268604"/>
                  <a:gd name="connsiteX272" fmla="*/ 36195 w 359871"/>
                  <a:gd name="connsiteY272" fmla="*/ 240030 h 268604"/>
                  <a:gd name="connsiteX273" fmla="*/ 37148 w 359871"/>
                  <a:gd name="connsiteY273" fmla="*/ 239078 h 268604"/>
                  <a:gd name="connsiteX274" fmla="*/ 37148 w 359871"/>
                  <a:gd name="connsiteY274" fmla="*/ 239078 h 268604"/>
                  <a:gd name="connsiteX275" fmla="*/ 37148 w 359871"/>
                  <a:gd name="connsiteY275" fmla="*/ 239078 h 268604"/>
                  <a:gd name="connsiteX276" fmla="*/ 37148 w 359871"/>
                  <a:gd name="connsiteY276" fmla="*/ 238125 h 268604"/>
                  <a:gd name="connsiteX277" fmla="*/ 37148 w 359871"/>
                  <a:gd name="connsiteY277" fmla="*/ 238125 h 268604"/>
                  <a:gd name="connsiteX278" fmla="*/ 37148 w 359871"/>
                  <a:gd name="connsiteY278" fmla="*/ 237173 h 268604"/>
                  <a:gd name="connsiteX279" fmla="*/ 37148 w 359871"/>
                  <a:gd name="connsiteY279" fmla="*/ 237173 h 268604"/>
                  <a:gd name="connsiteX280" fmla="*/ 39052 w 359871"/>
                  <a:gd name="connsiteY280" fmla="*/ 234315 h 268604"/>
                  <a:gd name="connsiteX281" fmla="*/ 39052 w 359871"/>
                  <a:gd name="connsiteY281" fmla="*/ 234315 h 268604"/>
                  <a:gd name="connsiteX282" fmla="*/ 37148 w 359871"/>
                  <a:gd name="connsiteY282" fmla="*/ 236220 h 268604"/>
                  <a:gd name="connsiteX283" fmla="*/ 36195 w 359871"/>
                  <a:gd name="connsiteY283" fmla="*/ 235267 h 268604"/>
                  <a:gd name="connsiteX284" fmla="*/ 37148 w 359871"/>
                  <a:gd name="connsiteY284" fmla="*/ 234315 h 268604"/>
                  <a:gd name="connsiteX285" fmla="*/ 37148 w 359871"/>
                  <a:gd name="connsiteY285" fmla="*/ 234315 h 268604"/>
                  <a:gd name="connsiteX286" fmla="*/ 40005 w 359871"/>
                  <a:gd name="connsiteY286" fmla="*/ 231458 h 268604"/>
                  <a:gd name="connsiteX287" fmla="*/ 41910 w 359871"/>
                  <a:gd name="connsiteY287" fmla="*/ 230505 h 268604"/>
                  <a:gd name="connsiteX288" fmla="*/ 41910 w 359871"/>
                  <a:gd name="connsiteY288" fmla="*/ 230505 h 268604"/>
                  <a:gd name="connsiteX289" fmla="*/ 42863 w 359871"/>
                  <a:gd name="connsiteY289" fmla="*/ 229553 h 268604"/>
                  <a:gd name="connsiteX290" fmla="*/ 42863 w 359871"/>
                  <a:gd name="connsiteY290" fmla="*/ 229553 h 268604"/>
                  <a:gd name="connsiteX291" fmla="*/ 62865 w 359871"/>
                  <a:gd name="connsiteY291" fmla="*/ 221933 h 268604"/>
                  <a:gd name="connsiteX292" fmla="*/ 71438 w 359871"/>
                  <a:gd name="connsiteY292" fmla="*/ 221933 h 268604"/>
                  <a:gd name="connsiteX293" fmla="*/ 76200 w 359871"/>
                  <a:gd name="connsiteY293" fmla="*/ 222885 h 268604"/>
                  <a:gd name="connsiteX294" fmla="*/ 58102 w 359871"/>
                  <a:gd name="connsiteY294" fmla="*/ 228600 h 268604"/>
                  <a:gd name="connsiteX295" fmla="*/ 68580 w 359871"/>
                  <a:gd name="connsiteY295" fmla="*/ 193358 h 268604"/>
                  <a:gd name="connsiteX296" fmla="*/ 70485 w 359871"/>
                  <a:gd name="connsiteY296" fmla="*/ 192405 h 268604"/>
                  <a:gd name="connsiteX297" fmla="*/ 66675 w 359871"/>
                  <a:gd name="connsiteY297" fmla="*/ 192405 h 268604"/>
                  <a:gd name="connsiteX298" fmla="*/ 65723 w 359871"/>
                  <a:gd name="connsiteY298" fmla="*/ 191453 h 268604"/>
                  <a:gd name="connsiteX299" fmla="*/ 57150 w 359871"/>
                  <a:gd name="connsiteY299" fmla="*/ 193358 h 268604"/>
                  <a:gd name="connsiteX300" fmla="*/ 46673 w 359871"/>
                  <a:gd name="connsiteY300" fmla="*/ 198120 h 268604"/>
                  <a:gd name="connsiteX301" fmla="*/ 30480 w 359871"/>
                  <a:gd name="connsiteY301" fmla="*/ 206692 h 268604"/>
                  <a:gd name="connsiteX302" fmla="*/ 29527 w 359871"/>
                  <a:gd name="connsiteY302" fmla="*/ 205740 h 268604"/>
                  <a:gd name="connsiteX303" fmla="*/ 33338 w 359871"/>
                  <a:gd name="connsiteY303" fmla="*/ 201930 h 268604"/>
                  <a:gd name="connsiteX304" fmla="*/ 32385 w 359871"/>
                  <a:gd name="connsiteY304" fmla="*/ 200978 h 268604"/>
                  <a:gd name="connsiteX305" fmla="*/ 47625 w 359871"/>
                  <a:gd name="connsiteY305" fmla="*/ 187642 h 268604"/>
                  <a:gd name="connsiteX306" fmla="*/ 47625 w 359871"/>
                  <a:gd name="connsiteY306" fmla="*/ 185738 h 268604"/>
                  <a:gd name="connsiteX307" fmla="*/ 52388 w 359871"/>
                  <a:gd name="connsiteY307" fmla="*/ 180023 h 268604"/>
                  <a:gd name="connsiteX308" fmla="*/ 57150 w 359871"/>
                  <a:gd name="connsiteY308" fmla="*/ 175260 h 268604"/>
                  <a:gd name="connsiteX309" fmla="*/ 55245 w 359871"/>
                  <a:gd name="connsiteY309" fmla="*/ 173355 h 268604"/>
                  <a:gd name="connsiteX310" fmla="*/ 49530 w 359871"/>
                  <a:gd name="connsiteY310" fmla="*/ 172403 h 268604"/>
                  <a:gd name="connsiteX311" fmla="*/ 52388 w 359871"/>
                  <a:gd name="connsiteY311" fmla="*/ 170498 h 268604"/>
                  <a:gd name="connsiteX312" fmla="*/ 51435 w 359871"/>
                  <a:gd name="connsiteY312" fmla="*/ 169545 h 268604"/>
                  <a:gd name="connsiteX313" fmla="*/ 54293 w 359871"/>
                  <a:gd name="connsiteY313" fmla="*/ 166688 h 268604"/>
                  <a:gd name="connsiteX314" fmla="*/ 60007 w 359871"/>
                  <a:gd name="connsiteY314" fmla="*/ 164783 h 268604"/>
                  <a:gd name="connsiteX315" fmla="*/ 48577 w 359871"/>
                  <a:gd name="connsiteY315" fmla="*/ 163830 h 268604"/>
                  <a:gd name="connsiteX316" fmla="*/ 60960 w 359871"/>
                  <a:gd name="connsiteY316" fmla="*/ 148590 h 268604"/>
                  <a:gd name="connsiteX317" fmla="*/ 62865 w 359871"/>
                  <a:gd name="connsiteY317" fmla="*/ 149542 h 268604"/>
                  <a:gd name="connsiteX318" fmla="*/ 59055 w 359871"/>
                  <a:gd name="connsiteY318" fmla="*/ 154305 h 268604"/>
                  <a:gd name="connsiteX319" fmla="*/ 71438 w 359871"/>
                  <a:gd name="connsiteY319" fmla="*/ 157163 h 268604"/>
                  <a:gd name="connsiteX320" fmla="*/ 69532 w 359871"/>
                  <a:gd name="connsiteY320" fmla="*/ 158115 h 268604"/>
                  <a:gd name="connsiteX321" fmla="*/ 78105 w 359871"/>
                  <a:gd name="connsiteY321" fmla="*/ 160973 h 268604"/>
                  <a:gd name="connsiteX322" fmla="*/ 73343 w 359871"/>
                  <a:gd name="connsiteY322" fmla="*/ 160973 h 268604"/>
                  <a:gd name="connsiteX323" fmla="*/ 119063 w 359871"/>
                  <a:gd name="connsiteY323" fmla="*/ 179070 h 268604"/>
                  <a:gd name="connsiteX324" fmla="*/ 83820 w 359871"/>
                  <a:gd name="connsiteY324" fmla="*/ 189548 h 268604"/>
                  <a:gd name="connsiteX325" fmla="*/ 80010 w 359871"/>
                  <a:gd name="connsiteY325" fmla="*/ 188595 h 268604"/>
                  <a:gd name="connsiteX326" fmla="*/ 79057 w 359871"/>
                  <a:gd name="connsiteY326" fmla="*/ 190500 h 268604"/>
                  <a:gd name="connsiteX327" fmla="*/ 74295 w 359871"/>
                  <a:gd name="connsiteY327" fmla="*/ 191453 h 268604"/>
                  <a:gd name="connsiteX328" fmla="*/ 68580 w 359871"/>
                  <a:gd name="connsiteY328" fmla="*/ 193358 h 26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359871" h="268604">
                    <a:moveTo>
                      <a:pt x="158115" y="237173"/>
                    </a:moveTo>
                    <a:cubicBezTo>
                      <a:pt x="160973" y="234315"/>
                      <a:pt x="163830" y="231458"/>
                      <a:pt x="166688" y="227648"/>
                    </a:cubicBezTo>
                    <a:lnTo>
                      <a:pt x="166688" y="227648"/>
                    </a:lnTo>
                    <a:cubicBezTo>
                      <a:pt x="172402" y="221933"/>
                      <a:pt x="177165" y="215265"/>
                      <a:pt x="183833" y="210503"/>
                    </a:cubicBezTo>
                    <a:cubicBezTo>
                      <a:pt x="185738" y="208598"/>
                      <a:pt x="187643" y="207645"/>
                      <a:pt x="189548" y="205740"/>
                    </a:cubicBezTo>
                    <a:cubicBezTo>
                      <a:pt x="190500" y="204788"/>
                      <a:pt x="190500" y="203835"/>
                      <a:pt x="190500" y="203835"/>
                    </a:cubicBezTo>
                    <a:cubicBezTo>
                      <a:pt x="187643" y="204788"/>
                      <a:pt x="186690" y="206692"/>
                      <a:pt x="183833" y="207645"/>
                    </a:cubicBezTo>
                    <a:cubicBezTo>
                      <a:pt x="182880" y="207645"/>
                      <a:pt x="182880" y="206692"/>
                      <a:pt x="182880" y="206692"/>
                    </a:cubicBezTo>
                    <a:cubicBezTo>
                      <a:pt x="184785" y="205740"/>
                      <a:pt x="186690" y="203835"/>
                      <a:pt x="188595" y="202883"/>
                    </a:cubicBezTo>
                    <a:cubicBezTo>
                      <a:pt x="188595" y="202883"/>
                      <a:pt x="188595" y="202883"/>
                      <a:pt x="188595" y="202883"/>
                    </a:cubicBezTo>
                    <a:cubicBezTo>
                      <a:pt x="187643" y="202883"/>
                      <a:pt x="187643" y="201930"/>
                      <a:pt x="187643" y="201930"/>
                    </a:cubicBezTo>
                    <a:cubicBezTo>
                      <a:pt x="180975" y="201930"/>
                      <a:pt x="176213" y="205740"/>
                      <a:pt x="171450" y="210503"/>
                    </a:cubicBezTo>
                    <a:cubicBezTo>
                      <a:pt x="170498" y="211455"/>
                      <a:pt x="169545" y="209550"/>
                      <a:pt x="168593" y="209550"/>
                    </a:cubicBezTo>
                    <a:cubicBezTo>
                      <a:pt x="160973" y="212408"/>
                      <a:pt x="155258" y="219075"/>
                      <a:pt x="147638" y="221933"/>
                    </a:cubicBezTo>
                    <a:lnTo>
                      <a:pt x="147638" y="220980"/>
                    </a:lnTo>
                    <a:cubicBezTo>
                      <a:pt x="144780" y="221933"/>
                      <a:pt x="141923" y="223838"/>
                      <a:pt x="138113" y="224790"/>
                    </a:cubicBezTo>
                    <a:cubicBezTo>
                      <a:pt x="133350" y="225742"/>
                      <a:pt x="129540" y="225742"/>
                      <a:pt x="125730" y="225742"/>
                    </a:cubicBezTo>
                    <a:cubicBezTo>
                      <a:pt x="120015" y="226695"/>
                      <a:pt x="113348" y="227648"/>
                      <a:pt x="107632" y="228600"/>
                    </a:cubicBezTo>
                    <a:cubicBezTo>
                      <a:pt x="107632" y="228600"/>
                      <a:pt x="107632" y="228600"/>
                      <a:pt x="106680" y="228600"/>
                    </a:cubicBezTo>
                    <a:cubicBezTo>
                      <a:pt x="103823" y="229553"/>
                      <a:pt x="100013" y="230505"/>
                      <a:pt x="97155" y="232410"/>
                    </a:cubicBezTo>
                    <a:cubicBezTo>
                      <a:pt x="97155" y="232410"/>
                      <a:pt x="97155" y="232410"/>
                      <a:pt x="97155" y="232410"/>
                    </a:cubicBezTo>
                    <a:cubicBezTo>
                      <a:pt x="97155" y="232410"/>
                      <a:pt x="96202" y="233363"/>
                      <a:pt x="96202" y="233363"/>
                    </a:cubicBezTo>
                    <a:cubicBezTo>
                      <a:pt x="95250" y="234315"/>
                      <a:pt x="94298" y="235267"/>
                      <a:pt x="92393" y="236220"/>
                    </a:cubicBezTo>
                    <a:cubicBezTo>
                      <a:pt x="89535" y="238125"/>
                      <a:pt x="86677" y="240983"/>
                      <a:pt x="83820" y="242888"/>
                    </a:cubicBezTo>
                    <a:cubicBezTo>
                      <a:pt x="83820" y="242888"/>
                      <a:pt x="82868" y="242888"/>
                      <a:pt x="82868" y="242888"/>
                    </a:cubicBezTo>
                    <a:cubicBezTo>
                      <a:pt x="80010" y="245745"/>
                      <a:pt x="77152" y="248603"/>
                      <a:pt x="74295" y="250508"/>
                    </a:cubicBezTo>
                    <a:cubicBezTo>
                      <a:pt x="74295" y="250508"/>
                      <a:pt x="73343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49555"/>
                    </a:cubicBezTo>
                    <a:cubicBezTo>
                      <a:pt x="72390" y="248603"/>
                      <a:pt x="73343" y="247650"/>
                      <a:pt x="73343" y="247650"/>
                    </a:cubicBezTo>
                    <a:cubicBezTo>
                      <a:pt x="74295" y="246698"/>
                      <a:pt x="74295" y="245745"/>
                      <a:pt x="75248" y="245745"/>
                    </a:cubicBezTo>
                    <a:cubicBezTo>
                      <a:pt x="76200" y="244792"/>
                      <a:pt x="76200" y="243840"/>
                      <a:pt x="77152" y="242888"/>
                    </a:cubicBezTo>
                    <a:cubicBezTo>
                      <a:pt x="77152" y="242888"/>
                      <a:pt x="77152" y="241935"/>
                      <a:pt x="77152" y="241935"/>
                    </a:cubicBezTo>
                    <a:cubicBezTo>
                      <a:pt x="77152" y="241935"/>
                      <a:pt x="77152" y="241935"/>
                      <a:pt x="76200" y="241935"/>
                    </a:cubicBezTo>
                    <a:cubicBezTo>
                      <a:pt x="79057" y="239078"/>
                      <a:pt x="81915" y="237173"/>
                      <a:pt x="84773" y="235267"/>
                    </a:cubicBezTo>
                    <a:lnTo>
                      <a:pt x="84773" y="235267"/>
                    </a:lnTo>
                    <a:cubicBezTo>
                      <a:pt x="84773" y="235267"/>
                      <a:pt x="83820" y="235267"/>
                      <a:pt x="83820" y="234315"/>
                    </a:cubicBezTo>
                    <a:cubicBezTo>
                      <a:pt x="83820" y="234315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5725" y="233363"/>
                      <a:pt x="84773" y="234315"/>
                      <a:pt x="84773" y="234315"/>
                    </a:cubicBezTo>
                    <a:cubicBezTo>
                      <a:pt x="83820" y="235267"/>
                      <a:pt x="82868" y="238125"/>
                      <a:pt x="80963" y="237173"/>
                    </a:cubicBezTo>
                    <a:cubicBezTo>
                      <a:pt x="80963" y="237173"/>
                      <a:pt x="80010" y="237173"/>
                      <a:pt x="80010" y="237173"/>
                    </a:cubicBezTo>
                    <a:cubicBezTo>
                      <a:pt x="80010" y="237173"/>
                      <a:pt x="80010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6220"/>
                    </a:cubicBezTo>
                    <a:cubicBezTo>
                      <a:pt x="79057" y="236220"/>
                      <a:pt x="79057" y="236220"/>
                      <a:pt x="79057" y="236220"/>
                    </a:cubicBezTo>
                    <a:cubicBezTo>
                      <a:pt x="79057" y="236220"/>
                      <a:pt x="79057" y="235267"/>
                      <a:pt x="80010" y="235267"/>
                    </a:cubicBezTo>
                    <a:cubicBezTo>
                      <a:pt x="80010" y="235267"/>
                      <a:pt x="80010" y="235267"/>
                      <a:pt x="80010" y="234315"/>
                    </a:cubicBezTo>
                    <a:cubicBezTo>
                      <a:pt x="80010" y="234315"/>
                      <a:pt x="80010" y="233363"/>
                      <a:pt x="80963" y="233363"/>
                    </a:cubicBezTo>
                    <a:cubicBezTo>
                      <a:pt x="80963" y="233363"/>
                      <a:pt x="80963" y="232410"/>
                      <a:pt x="80963" y="232410"/>
                    </a:cubicBezTo>
                    <a:cubicBezTo>
                      <a:pt x="81915" y="231458"/>
                      <a:pt x="82868" y="230505"/>
                      <a:pt x="84773" y="229553"/>
                    </a:cubicBezTo>
                    <a:lnTo>
                      <a:pt x="84773" y="229553"/>
                    </a:lnTo>
                    <a:cubicBezTo>
                      <a:pt x="86677" y="228600"/>
                      <a:pt x="88582" y="227648"/>
                      <a:pt x="90488" y="226695"/>
                    </a:cubicBezTo>
                    <a:cubicBezTo>
                      <a:pt x="90488" y="226695"/>
                      <a:pt x="91440" y="225742"/>
                      <a:pt x="91440" y="225742"/>
                    </a:cubicBezTo>
                    <a:cubicBezTo>
                      <a:pt x="88582" y="226695"/>
                      <a:pt x="85725" y="227648"/>
                      <a:pt x="82868" y="229553"/>
                    </a:cubicBezTo>
                    <a:cubicBezTo>
                      <a:pt x="82868" y="229553"/>
                      <a:pt x="81915" y="229553"/>
                      <a:pt x="81915" y="229553"/>
                    </a:cubicBezTo>
                    <a:cubicBezTo>
                      <a:pt x="81915" y="229553"/>
                      <a:pt x="80963" y="229553"/>
                      <a:pt x="80963" y="229553"/>
                    </a:cubicBezTo>
                    <a:cubicBezTo>
                      <a:pt x="80963" y="229553"/>
                      <a:pt x="80963" y="229553"/>
                      <a:pt x="80963" y="229553"/>
                    </a:cubicBezTo>
                    <a:cubicBezTo>
                      <a:pt x="81915" y="228600"/>
                      <a:pt x="82868" y="227648"/>
                      <a:pt x="83820" y="226695"/>
                    </a:cubicBezTo>
                    <a:cubicBezTo>
                      <a:pt x="84773" y="226695"/>
                      <a:pt x="84773" y="226695"/>
                      <a:pt x="84773" y="227648"/>
                    </a:cubicBezTo>
                    <a:cubicBezTo>
                      <a:pt x="100965" y="215265"/>
                      <a:pt x="123825" y="218123"/>
                      <a:pt x="142875" y="211455"/>
                    </a:cubicBezTo>
                    <a:cubicBezTo>
                      <a:pt x="144780" y="210503"/>
                      <a:pt x="145733" y="209550"/>
                      <a:pt x="147638" y="208598"/>
                    </a:cubicBezTo>
                    <a:cubicBezTo>
                      <a:pt x="150495" y="207645"/>
                      <a:pt x="152400" y="204788"/>
                      <a:pt x="155258" y="203835"/>
                    </a:cubicBezTo>
                    <a:cubicBezTo>
                      <a:pt x="159068" y="200978"/>
                      <a:pt x="161925" y="197167"/>
                      <a:pt x="163830" y="192405"/>
                    </a:cubicBezTo>
                    <a:cubicBezTo>
                      <a:pt x="163830" y="191453"/>
                      <a:pt x="162877" y="191453"/>
                      <a:pt x="162877" y="191453"/>
                    </a:cubicBezTo>
                    <a:cubicBezTo>
                      <a:pt x="156210" y="199073"/>
                      <a:pt x="148590" y="203835"/>
                      <a:pt x="140018" y="208598"/>
                    </a:cubicBezTo>
                    <a:cubicBezTo>
                      <a:pt x="129540" y="214313"/>
                      <a:pt x="117157" y="213360"/>
                      <a:pt x="106680" y="214313"/>
                    </a:cubicBezTo>
                    <a:cubicBezTo>
                      <a:pt x="107632" y="213360"/>
                      <a:pt x="108585" y="213360"/>
                      <a:pt x="109538" y="213360"/>
                    </a:cubicBezTo>
                    <a:cubicBezTo>
                      <a:pt x="109538" y="211455"/>
                      <a:pt x="110490" y="211455"/>
                      <a:pt x="111443" y="210503"/>
                    </a:cubicBezTo>
                    <a:lnTo>
                      <a:pt x="113348" y="210503"/>
                    </a:lnTo>
                    <a:cubicBezTo>
                      <a:pt x="114300" y="210503"/>
                      <a:pt x="114300" y="209550"/>
                      <a:pt x="114300" y="209550"/>
                    </a:cubicBezTo>
                    <a:cubicBezTo>
                      <a:pt x="115252" y="209550"/>
                      <a:pt x="117157" y="208598"/>
                      <a:pt x="116205" y="208598"/>
                    </a:cubicBezTo>
                    <a:cubicBezTo>
                      <a:pt x="114300" y="206692"/>
                      <a:pt x="111443" y="210503"/>
                      <a:pt x="108585" y="208598"/>
                    </a:cubicBezTo>
                    <a:cubicBezTo>
                      <a:pt x="109538" y="207645"/>
                      <a:pt x="109538" y="205740"/>
                      <a:pt x="110490" y="205740"/>
                    </a:cubicBezTo>
                    <a:lnTo>
                      <a:pt x="112395" y="205740"/>
                    </a:lnTo>
                    <a:cubicBezTo>
                      <a:pt x="112395" y="204788"/>
                      <a:pt x="113348" y="203835"/>
                      <a:pt x="113348" y="203835"/>
                    </a:cubicBezTo>
                    <a:cubicBezTo>
                      <a:pt x="120968" y="199073"/>
                      <a:pt x="128588" y="195263"/>
                      <a:pt x="135255" y="191453"/>
                    </a:cubicBezTo>
                    <a:cubicBezTo>
                      <a:pt x="133350" y="191453"/>
                      <a:pt x="132398" y="193358"/>
                      <a:pt x="131445" y="192405"/>
                    </a:cubicBezTo>
                    <a:cubicBezTo>
                      <a:pt x="132398" y="192405"/>
                      <a:pt x="131445" y="190500"/>
                      <a:pt x="132398" y="190500"/>
                    </a:cubicBezTo>
                    <a:cubicBezTo>
                      <a:pt x="138113" y="188595"/>
                      <a:pt x="142875" y="185738"/>
                      <a:pt x="148590" y="183833"/>
                    </a:cubicBezTo>
                    <a:cubicBezTo>
                      <a:pt x="146685" y="183833"/>
                      <a:pt x="144780" y="185738"/>
                      <a:pt x="142875" y="183833"/>
                    </a:cubicBezTo>
                    <a:cubicBezTo>
                      <a:pt x="143827" y="182880"/>
                      <a:pt x="144780" y="181928"/>
                      <a:pt x="145733" y="181928"/>
                    </a:cubicBezTo>
                    <a:lnTo>
                      <a:pt x="145733" y="180023"/>
                    </a:lnTo>
                    <a:cubicBezTo>
                      <a:pt x="145733" y="179070"/>
                      <a:pt x="146685" y="179070"/>
                      <a:pt x="146685" y="179070"/>
                    </a:cubicBezTo>
                    <a:cubicBezTo>
                      <a:pt x="145733" y="179070"/>
                      <a:pt x="145733" y="178117"/>
                      <a:pt x="145733" y="178117"/>
                    </a:cubicBezTo>
                    <a:cubicBezTo>
                      <a:pt x="146685" y="177165"/>
                      <a:pt x="147638" y="177165"/>
                      <a:pt x="148590" y="176213"/>
                    </a:cubicBezTo>
                    <a:cubicBezTo>
                      <a:pt x="147638" y="176213"/>
                      <a:pt x="146685" y="176213"/>
                      <a:pt x="146685" y="175260"/>
                    </a:cubicBezTo>
                    <a:cubicBezTo>
                      <a:pt x="148590" y="173355"/>
                      <a:pt x="150495" y="172403"/>
                      <a:pt x="153352" y="172403"/>
                    </a:cubicBezTo>
                    <a:cubicBezTo>
                      <a:pt x="152400" y="171450"/>
                      <a:pt x="151448" y="172403"/>
                      <a:pt x="151448" y="171450"/>
                    </a:cubicBezTo>
                    <a:cubicBezTo>
                      <a:pt x="151448" y="170498"/>
                      <a:pt x="152400" y="170498"/>
                      <a:pt x="152400" y="170498"/>
                    </a:cubicBezTo>
                    <a:lnTo>
                      <a:pt x="152400" y="170498"/>
                    </a:lnTo>
                    <a:cubicBezTo>
                      <a:pt x="151448" y="169545"/>
                      <a:pt x="151448" y="168592"/>
                      <a:pt x="151448" y="168592"/>
                    </a:cubicBezTo>
                    <a:cubicBezTo>
                      <a:pt x="154305" y="164783"/>
                      <a:pt x="154305" y="160020"/>
                      <a:pt x="156210" y="156210"/>
                    </a:cubicBezTo>
                    <a:cubicBezTo>
                      <a:pt x="155258" y="156210"/>
                      <a:pt x="155258" y="156210"/>
                      <a:pt x="155258" y="155258"/>
                    </a:cubicBezTo>
                    <a:cubicBezTo>
                      <a:pt x="150495" y="160973"/>
                      <a:pt x="141923" y="162878"/>
                      <a:pt x="134302" y="164783"/>
                    </a:cubicBezTo>
                    <a:lnTo>
                      <a:pt x="131445" y="164783"/>
                    </a:lnTo>
                    <a:cubicBezTo>
                      <a:pt x="128588" y="165735"/>
                      <a:pt x="125730" y="165735"/>
                      <a:pt x="122873" y="163830"/>
                    </a:cubicBezTo>
                    <a:cubicBezTo>
                      <a:pt x="120968" y="162878"/>
                      <a:pt x="120015" y="160973"/>
                      <a:pt x="118110" y="160020"/>
                    </a:cubicBezTo>
                    <a:cubicBezTo>
                      <a:pt x="114300" y="157163"/>
                      <a:pt x="109538" y="155258"/>
                      <a:pt x="105727" y="154305"/>
                    </a:cubicBezTo>
                    <a:cubicBezTo>
                      <a:pt x="93345" y="150495"/>
                      <a:pt x="80010" y="148590"/>
                      <a:pt x="66675" y="148590"/>
                    </a:cubicBezTo>
                    <a:cubicBezTo>
                      <a:pt x="72390" y="145733"/>
                      <a:pt x="78105" y="145733"/>
                      <a:pt x="84773" y="143828"/>
                    </a:cubicBezTo>
                    <a:cubicBezTo>
                      <a:pt x="93345" y="140970"/>
                      <a:pt x="101918" y="138113"/>
                      <a:pt x="110490" y="139065"/>
                    </a:cubicBezTo>
                    <a:cubicBezTo>
                      <a:pt x="108585" y="138113"/>
                      <a:pt x="106680" y="139065"/>
                      <a:pt x="105727" y="139065"/>
                    </a:cubicBezTo>
                    <a:cubicBezTo>
                      <a:pt x="98107" y="138113"/>
                      <a:pt x="91440" y="140970"/>
                      <a:pt x="83820" y="141923"/>
                    </a:cubicBezTo>
                    <a:cubicBezTo>
                      <a:pt x="79057" y="142875"/>
                      <a:pt x="74295" y="144780"/>
                      <a:pt x="68580" y="145733"/>
                    </a:cubicBezTo>
                    <a:cubicBezTo>
                      <a:pt x="65723" y="146685"/>
                      <a:pt x="63818" y="149542"/>
                      <a:pt x="60007" y="149542"/>
                    </a:cubicBezTo>
                    <a:lnTo>
                      <a:pt x="60007" y="147638"/>
                    </a:lnTo>
                    <a:cubicBezTo>
                      <a:pt x="64770" y="141923"/>
                      <a:pt x="71438" y="135255"/>
                      <a:pt x="79057" y="135255"/>
                    </a:cubicBezTo>
                    <a:cubicBezTo>
                      <a:pt x="88582" y="133350"/>
                      <a:pt x="97155" y="135255"/>
                      <a:pt x="105727" y="136208"/>
                    </a:cubicBezTo>
                    <a:cubicBezTo>
                      <a:pt x="112395" y="137160"/>
                      <a:pt x="118110" y="138113"/>
                      <a:pt x="124777" y="140017"/>
                    </a:cubicBezTo>
                    <a:cubicBezTo>
                      <a:pt x="127635" y="140017"/>
                      <a:pt x="127635" y="143828"/>
                      <a:pt x="129540" y="144780"/>
                    </a:cubicBezTo>
                    <a:cubicBezTo>
                      <a:pt x="132398" y="145733"/>
                      <a:pt x="135255" y="144780"/>
                      <a:pt x="139065" y="146685"/>
                    </a:cubicBezTo>
                    <a:cubicBezTo>
                      <a:pt x="139065" y="145733"/>
                      <a:pt x="138113" y="144780"/>
                      <a:pt x="139065" y="143828"/>
                    </a:cubicBezTo>
                    <a:cubicBezTo>
                      <a:pt x="140970" y="141923"/>
                      <a:pt x="143827" y="144780"/>
                      <a:pt x="145733" y="142875"/>
                    </a:cubicBezTo>
                    <a:cubicBezTo>
                      <a:pt x="149543" y="140017"/>
                      <a:pt x="141923" y="136208"/>
                      <a:pt x="140018" y="132398"/>
                    </a:cubicBezTo>
                    <a:cubicBezTo>
                      <a:pt x="140018" y="131445"/>
                      <a:pt x="140970" y="131445"/>
                      <a:pt x="140970" y="131445"/>
                    </a:cubicBezTo>
                    <a:cubicBezTo>
                      <a:pt x="144780" y="135255"/>
                      <a:pt x="147638" y="139065"/>
                      <a:pt x="153352" y="141923"/>
                    </a:cubicBezTo>
                    <a:cubicBezTo>
                      <a:pt x="156210" y="142875"/>
                      <a:pt x="161925" y="144780"/>
                      <a:pt x="160973" y="140970"/>
                    </a:cubicBezTo>
                    <a:cubicBezTo>
                      <a:pt x="158115" y="135255"/>
                      <a:pt x="153352" y="130492"/>
                      <a:pt x="149543" y="125730"/>
                    </a:cubicBezTo>
                    <a:lnTo>
                      <a:pt x="149543" y="123825"/>
                    </a:lnTo>
                    <a:cubicBezTo>
                      <a:pt x="148590" y="123825"/>
                      <a:pt x="148590" y="122873"/>
                      <a:pt x="147638" y="122873"/>
                    </a:cubicBezTo>
                    <a:lnTo>
                      <a:pt x="147638" y="120015"/>
                    </a:lnTo>
                    <a:cubicBezTo>
                      <a:pt x="145733" y="119063"/>
                      <a:pt x="145733" y="117158"/>
                      <a:pt x="144780" y="115253"/>
                    </a:cubicBezTo>
                    <a:cubicBezTo>
                      <a:pt x="142875" y="112395"/>
                      <a:pt x="143827" y="109538"/>
                      <a:pt x="142875" y="105728"/>
                    </a:cubicBezTo>
                    <a:cubicBezTo>
                      <a:pt x="142875" y="103823"/>
                      <a:pt x="142875" y="100965"/>
                      <a:pt x="141923" y="98108"/>
                    </a:cubicBezTo>
                    <a:cubicBezTo>
                      <a:pt x="140018" y="89535"/>
                      <a:pt x="138113" y="81915"/>
                      <a:pt x="137160" y="73342"/>
                    </a:cubicBezTo>
                    <a:cubicBezTo>
                      <a:pt x="136208" y="63817"/>
                      <a:pt x="142875" y="56197"/>
                      <a:pt x="147638" y="47625"/>
                    </a:cubicBezTo>
                    <a:cubicBezTo>
                      <a:pt x="151448" y="41910"/>
                      <a:pt x="155258" y="35242"/>
                      <a:pt x="161925" y="31433"/>
                    </a:cubicBezTo>
                    <a:cubicBezTo>
                      <a:pt x="163830" y="25718"/>
                      <a:pt x="167640" y="20003"/>
                      <a:pt x="171450" y="15240"/>
                    </a:cubicBezTo>
                    <a:cubicBezTo>
                      <a:pt x="175260" y="10478"/>
                      <a:pt x="181927" y="7620"/>
                      <a:pt x="187643" y="4763"/>
                    </a:cubicBezTo>
                    <a:cubicBezTo>
                      <a:pt x="194310" y="1905"/>
                      <a:pt x="200977" y="0"/>
                      <a:pt x="200977" y="0"/>
                    </a:cubicBezTo>
                    <a:lnTo>
                      <a:pt x="302895" y="0"/>
                    </a:lnTo>
                    <a:cubicBezTo>
                      <a:pt x="302895" y="0"/>
                      <a:pt x="303848" y="0"/>
                      <a:pt x="305753" y="953"/>
                    </a:cubicBezTo>
                    <a:cubicBezTo>
                      <a:pt x="307658" y="1905"/>
                      <a:pt x="311467" y="3810"/>
                      <a:pt x="313373" y="4763"/>
                    </a:cubicBezTo>
                    <a:cubicBezTo>
                      <a:pt x="317183" y="6668"/>
                      <a:pt x="320992" y="9525"/>
                      <a:pt x="322898" y="13335"/>
                    </a:cubicBezTo>
                    <a:cubicBezTo>
                      <a:pt x="323850" y="15240"/>
                      <a:pt x="325755" y="18097"/>
                      <a:pt x="324803" y="20003"/>
                    </a:cubicBezTo>
                    <a:cubicBezTo>
                      <a:pt x="323850" y="22860"/>
                      <a:pt x="322898" y="26670"/>
                      <a:pt x="320992" y="27622"/>
                    </a:cubicBezTo>
                    <a:cubicBezTo>
                      <a:pt x="318135" y="29528"/>
                      <a:pt x="314325" y="29528"/>
                      <a:pt x="310515" y="28575"/>
                    </a:cubicBezTo>
                    <a:cubicBezTo>
                      <a:pt x="308610" y="28575"/>
                      <a:pt x="306705" y="27622"/>
                      <a:pt x="304800" y="27622"/>
                    </a:cubicBezTo>
                    <a:cubicBezTo>
                      <a:pt x="312420" y="30480"/>
                      <a:pt x="320040" y="34290"/>
                      <a:pt x="324803" y="40958"/>
                    </a:cubicBezTo>
                    <a:cubicBezTo>
                      <a:pt x="325755" y="41910"/>
                      <a:pt x="327660" y="42863"/>
                      <a:pt x="329565" y="42863"/>
                    </a:cubicBezTo>
                    <a:cubicBezTo>
                      <a:pt x="330517" y="42863"/>
                      <a:pt x="330517" y="43815"/>
                      <a:pt x="330517" y="44767"/>
                    </a:cubicBezTo>
                    <a:cubicBezTo>
                      <a:pt x="329565" y="45720"/>
                      <a:pt x="328613" y="46672"/>
                      <a:pt x="328613" y="47625"/>
                    </a:cubicBezTo>
                    <a:lnTo>
                      <a:pt x="330517" y="47625"/>
                    </a:lnTo>
                    <a:cubicBezTo>
                      <a:pt x="333375" y="46672"/>
                      <a:pt x="332423" y="41910"/>
                      <a:pt x="336233" y="42863"/>
                    </a:cubicBezTo>
                    <a:cubicBezTo>
                      <a:pt x="339090" y="44767"/>
                      <a:pt x="340042" y="47625"/>
                      <a:pt x="338138" y="50483"/>
                    </a:cubicBezTo>
                    <a:cubicBezTo>
                      <a:pt x="336233" y="52388"/>
                      <a:pt x="334328" y="54292"/>
                      <a:pt x="332423" y="55245"/>
                    </a:cubicBezTo>
                    <a:cubicBezTo>
                      <a:pt x="331470" y="56197"/>
                      <a:pt x="331470" y="58103"/>
                      <a:pt x="332423" y="59055"/>
                    </a:cubicBezTo>
                    <a:cubicBezTo>
                      <a:pt x="334328" y="60960"/>
                      <a:pt x="334328" y="62865"/>
                      <a:pt x="335280" y="64770"/>
                    </a:cubicBezTo>
                    <a:cubicBezTo>
                      <a:pt x="337185" y="68580"/>
                      <a:pt x="337185" y="72390"/>
                      <a:pt x="339090" y="76200"/>
                    </a:cubicBezTo>
                    <a:cubicBezTo>
                      <a:pt x="340995" y="83820"/>
                      <a:pt x="342900" y="91440"/>
                      <a:pt x="342900" y="99060"/>
                    </a:cubicBezTo>
                    <a:cubicBezTo>
                      <a:pt x="342900" y="102870"/>
                      <a:pt x="340995" y="106680"/>
                      <a:pt x="341948" y="110490"/>
                    </a:cubicBezTo>
                    <a:cubicBezTo>
                      <a:pt x="342900" y="114300"/>
                      <a:pt x="345758" y="118110"/>
                      <a:pt x="347663" y="120967"/>
                    </a:cubicBezTo>
                    <a:cubicBezTo>
                      <a:pt x="349567" y="123825"/>
                      <a:pt x="351473" y="125730"/>
                      <a:pt x="353378" y="129540"/>
                    </a:cubicBezTo>
                    <a:cubicBezTo>
                      <a:pt x="356235" y="134303"/>
                      <a:pt x="361950" y="140017"/>
                      <a:pt x="359092" y="145733"/>
                    </a:cubicBezTo>
                    <a:cubicBezTo>
                      <a:pt x="357188" y="149542"/>
                      <a:pt x="351473" y="148590"/>
                      <a:pt x="348615" y="150495"/>
                    </a:cubicBezTo>
                    <a:cubicBezTo>
                      <a:pt x="345758" y="153353"/>
                      <a:pt x="347663" y="157163"/>
                      <a:pt x="349567" y="160020"/>
                    </a:cubicBezTo>
                    <a:cubicBezTo>
                      <a:pt x="352425" y="164783"/>
                      <a:pt x="346710" y="167640"/>
                      <a:pt x="342900" y="169545"/>
                    </a:cubicBezTo>
                    <a:cubicBezTo>
                      <a:pt x="343853" y="171450"/>
                      <a:pt x="345758" y="170498"/>
                      <a:pt x="346710" y="171450"/>
                    </a:cubicBezTo>
                    <a:cubicBezTo>
                      <a:pt x="347663" y="174308"/>
                      <a:pt x="349567" y="175260"/>
                      <a:pt x="348615" y="178117"/>
                    </a:cubicBezTo>
                    <a:cubicBezTo>
                      <a:pt x="346710" y="180975"/>
                      <a:pt x="340042" y="182880"/>
                      <a:pt x="343853" y="187642"/>
                    </a:cubicBezTo>
                    <a:cubicBezTo>
                      <a:pt x="345758" y="191453"/>
                      <a:pt x="344805" y="195263"/>
                      <a:pt x="342900" y="199073"/>
                    </a:cubicBezTo>
                    <a:cubicBezTo>
                      <a:pt x="340995" y="203835"/>
                      <a:pt x="337185" y="205740"/>
                      <a:pt x="333375" y="206692"/>
                    </a:cubicBezTo>
                    <a:cubicBezTo>
                      <a:pt x="330517" y="207645"/>
                      <a:pt x="326708" y="207645"/>
                      <a:pt x="323850" y="207645"/>
                    </a:cubicBezTo>
                    <a:cubicBezTo>
                      <a:pt x="320040" y="205740"/>
                      <a:pt x="319088" y="205740"/>
                      <a:pt x="318135" y="205740"/>
                    </a:cubicBezTo>
                    <a:cubicBezTo>
                      <a:pt x="309563" y="204788"/>
                      <a:pt x="300990" y="201930"/>
                      <a:pt x="292417" y="201930"/>
                    </a:cubicBezTo>
                    <a:cubicBezTo>
                      <a:pt x="289560" y="202883"/>
                      <a:pt x="287655" y="202883"/>
                      <a:pt x="285750" y="203835"/>
                    </a:cubicBezTo>
                    <a:cubicBezTo>
                      <a:pt x="283845" y="205740"/>
                      <a:pt x="280988" y="207645"/>
                      <a:pt x="280035" y="209550"/>
                    </a:cubicBezTo>
                    <a:cubicBezTo>
                      <a:pt x="280035" y="209550"/>
                      <a:pt x="280035" y="209550"/>
                      <a:pt x="280035" y="209550"/>
                    </a:cubicBezTo>
                    <a:cubicBezTo>
                      <a:pt x="280035" y="209550"/>
                      <a:pt x="279083" y="210503"/>
                      <a:pt x="279083" y="210503"/>
                    </a:cubicBezTo>
                    <a:cubicBezTo>
                      <a:pt x="279083" y="210503"/>
                      <a:pt x="279083" y="211455"/>
                      <a:pt x="278130" y="211455"/>
                    </a:cubicBezTo>
                    <a:cubicBezTo>
                      <a:pt x="278130" y="211455"/>
                      <a:pt x="278130" y="211455"/>
                      <a:pt x="278130" y="212408"/>
                    </a:cubicBezTo>
                    <a:cubicBezTo>
                      <a:pt x="276225" y="214313"/>
                      <a:pt x="275273" y="216217"/>
                      <a:pt x="274320" y="218123"/>
                    </a:cubicBezTo>
                    <a:cubicBezTo>
                      <a:pt x="274320" y="218123"/>
                      <a:pt x="274320" y="218123"/>
                      <a:pt x="274320" y="218123"/>
                    </a:cubicBezTo>
                    <a:cubicBezTo>
                      <a:pt x="274320" y="218123"/>
                      <a:pt x="274320" y="219075"/>
                      <a:pt x="274320" y="219075"/>
                    </a:cubicBezTo>
                    <a:cubicBezTo>
                      <a:pt x="272415" y="221933"/>
                      <a:pt x="271463" y="225742"/>
                      <a:pt x="270510" y="228600"/>
                    </a:cubicBezTo>
                    <a:cubicBezTo>
                      <a:pt x="266700" y="240030"/>
                      <a:pt x="268605" y="250508"/>
                      <a:pt x="271463" y="252413"/>
                    </a:cubicBezTo>
                    <a:cubicBezTo>
                      <a:pt x="272415" y="253365"/>
                      <a:pt x="288608" y="258128"/>
                      <a:pt x="299085" y="262890"/>
                    </a:cubicBezTo>
                    <a:cubicBezTo>
                      <a:pt x="304800" y="264795"/>
                      <a:pt x="307658" y="266700"/>
                      <a:pt x="311467" y="268605"/>
                    </a:cubicBezTo>
                    <a:lnTo>
                      <a:pt x="101918" y="268605"/>
                    </a:lnTo>
                    <a:cubicBezTo>
                      <a:pt x="111443" y="261938"/>
                      <a:pt x="120968" y="258128"/>
                      <a:pt x="135255" y="251460"/>
                    </a:cubicBezTo>
                    <a:cubicBezTo>
                      <a:pt x="138113" y="249555"/>
                      <a:pt x="153352" y="242888"/>
                      <a:pt x="158115" y="237173"/>
                    </a:cubicBezTo>
                    <a:moveTo>
                      <a:pt x="79057" y="200978"/>
                    </a:moveTo>
                    <a:cubicBezTo>
                      <a:pt x="78105" y="200978"/>
                      <a:pt x="76200" y="201930"/>
                      <a:pt x="76200" y="200025"/>
                    </a:cubicBezTo>
                    <a:cubicBezTo>
                      <a:pt x="77152" y="197167"/>
                      <a:pt x="80010" y="197167"/>
                      <a:pt x="81915" y="196215"/>
                    </a:cubicBezTo>
                    <a:cubicBezTo>
                      <a:pt x="82868" y="195263"/>
                      <a:pt x="84773" y="194310"/>
                      <a:pt x="85725" y="195263"/>
                    </a:cubicBezTo>
                    <a:cubicBezTo>
                      <a:pt x="86677" y="197167"/>
                      <a:pt x="88582" y="196215"/>
                      <a:pt x="89535" y="197167"/>
                    </a:cubicBezTo>
                    <a:cubicBezTo>
                      <a:pt x="86677" y="200978"/>
                      <a:pt x="82868" y="200025"/>
                      <a:pt x="79057" y="200978"/>
                    </a:cubicBezTo>
                    <a:moveTo>
                      <a:pt x="952" y="189548"/>
                    </a:moveTo>
                    <a:cubicBezTo>
                      <a:pt x="952" y="189548"/>
                      <a:pt x="0" y="188595"/>
                      <a:pt x="0" y="188595"/>
                    </a:cubicBezTo>
                    <a:cubicBezTo>
                      <a:pt x="6668" y="180023"/>
                      <a:pt x="11430" y="171450"/>
                      <a:pt x="16193" y="162878"/>
                    </a:cubicBezTo>
                    <a:cubicBezTo>
                      <a:pt x="22860" y="159067"/>
                      <a:pt x="28575" y="154305"/>
                      <a:pt x="33338" y="148590"/>
                    </a:cubicBezTo>
                    <a:cubicBezTo>
                      <a:pt x="41910" y="139065"/>
                      <a:pt x="51435" y="131445"/>
                      <a:pt x="61913" y="125730"/>
                    </a:cubicBezTo>
                    <a:cubicBezTo>
                      <a:pt x="65723" y="123825"/>
                      <a:pt x="71438" y="124778"/>
                      <a:pt x="75248" y="126683"/>
                    </a:cubicBezTo>
                    <a:cubicBezTo>
                      <a:pt x="73343" y="128588"/>
                      <a:pt x="71438" y="128588"/>
                      <a:pt x="69532" y="129540"/>
                    </a:cubicBezTo>
                    <a:cubicBezTo>
                      <a:pt x="68580" y="129540"/>
                      <a:pt x="68580" y="129540"/>
                      <a:pt x="67627" y="128588"/>
                    </a:cubicBezTo>
                    <a:cubicBezTo>
                      <a:pt x="68580" y="127635"/>
                      <a:pt x="68580" y="127635"/>
                      <a:pt x="68580" y="126683"/>
                    </a:cubicBezTo>
                    <a:cubicBezTo>
                      <a:pt x="63818" y="132398"/>
                      <a:pt x="56198" y="135255"/>
                      <a:pt x="52388" y="141923"/>
                    </a:cubicBezTo>
                    <a:cubicBezTo>
                      <a:pt x="49530" y="146685"/>
                      <a:pt x="47625" y="153353"/>
                      <a:pt x="40957" y="155258"/>
                    </a:cubicBezTo>
                    <a:cubicBezTo>
                      <a:pt x="39052" y="156210"/>
                      <a:pt x="41910" y="153353"/>
                      <a:pt x="40005" y="154305"/>
                    </a:cubicBezTo>
                    <a:cubicBezTo>
                      <a:pt x="24765" y="164783"/>
                      <a:pt x="13335" y="176213"/>
                      <a:pt x="952" y="189548"/>
                    </a:cubicBezTo>
                    <a:moveTo>
                      <a:pt x="43815" y="156210"/>
                    </a:moveTo>
                    <a:cubicBezTo>
                      <a:pt x="42863" y="157163"/>
                      <a:pt x="42863" y="157163"/>
                      <a:pt x="41910" y="158115"/>
                    </a:cubicBezTo>
                    <a:cubicBezTo>
                      <a:pt x="40957" y="159067"/>
                      <a:pt x="40957" y="160020"/>
                      <a:pt x="40005" y="160020"/>
                    </a:cubicBezTo>
                    <a:cubicBezTo>
                      <a:pt x="39052" y="160020"/>
                      <a:pt x="39052" y="160020"/>
                      <a:pt x="39052" y="159067"/>
                    </a:cubicBezTo>
                    <a:cubicBezTo>
                      <a:pt x="40005" y="157163"/>
                      <a:pt x="40957" y="155258"/>
                      <a:pt x="42863" y="154305"/>
                    </a:cubicBezTo>
                    <a:cubicBezTo>
                      <a:pt x="43815" y="155258"/>
                      <a:pt x="43815" y="155258"/>
                      <a:pt x="43815" y="156210"/>
                    </a:cubicBezTo>
                    <a:moveTo>
                      <a:pt x="67627" y="232410"/>
                    </a:moveTo>
                    <a:cubicBezTo>
                      <a:pt x="67627" y="233363"/>
                      <a:pt x="66675" y="233363"/>
                      <a:pt x="66675" y="234315"/>
                    </a:cubicBezTo>
                    <a:cubicBezTo>
                      <a:pt x="67627" y="234315"/>
                      <a:pt x="67627" y="234315"/>
                      <a:pt x="67627" y="235267"/>
                    </a:cubicBezTo>
                    <a:cubicBezTo>
                      <a:pt x="66675" y="236220"/>
                      <a:pt x="65723" y="237173"/>
                      <a:pt x="63818" y="238125"/>
                    </a:cubicBezTo>
                    <a:cubicBezTo>
                      <a:pt x="63818" y="238125"/>
                      <a:pt x="63818" y="238125"/>
                      <a:pt x="62865" y="238125"/>
                    </a:cubicBezTo>
                    <a:cubicBezTo>
                      <a:pt x="61913" y="239078"/>
                      <a:pt x="61913" y="239078"/>
                      <a:pt x="60960" y="240030"/>
                    </a:cubicBezTo>
                    <a:cubicBezTo>
                      <a:pt x="60007" y="240983"/>
                      <a:pt x="57150" y="240030"/>
                      <a:pt x="58102" y="239078"/>
                    </a:cubicBezTo>
                    <a:cubicBezTo>
                      <a:pt x="59055" y="238125"/>
                      <a:pt x="60960" y="236220"/>
                      <a:pt x="61913" y="235267"/>
                    </a:cubicBezTo>
                    <a:cubicBezTo>
                      <a:pt x="62865" y="234315"/>
                      <a:pt x="63818" y="234315"/>
                      <a:pt x="63818" y="233363"/>
                    </a:cubicBezTo>
                    <a:cubicBezTo>
                      <a:pt x="63818" y="233363"/>
                      <a:pt x="64770" y="232410"/>
                      <a:pt x="64770" y="232410"/>
                    </a:cubicBezTo>
                    <a:cubicBezTo>
                      <a:pt x="64770" y="231458"/>
                      <a:pt x="67627" y="231458"/>
                      <a:pt x="67627" y="232410"/>
                    </a:cubicBezTo>
                    <a:moveTo>
                      <a:pt x="58102" y="228600"/>
                    </a:moveTo>
                    <a:cubicBezTo>
                      <a:pt x="58102" y="228600"/>
                      <a:pt x="58102" y="228600"/>
                      <a:pt x="58102" y="228600"/>
                    </a:cubicBezTo>
                    <a:cubicBezTo>
                      <a:pt x="56198" y="230505"/>
                      <a:pt x="54293" y="231458"/>
                      <a:pt x="52388" y="232410"/>
                    </a:cubicBezTo>
                    <a:cubicBezTo>
                      <a:pt x="50482" y="233363"/>
                      <a:pt x="47625" y="234315"/>
                      <a:pt x="45720" y="235267"/>
                    </a:cubicBezTo>
                    <a:cubicBezTo>
                      <a:pt x="45720" y="235267"/>
                      <a:pt x="45720" y="235267"/>
                      <a:pt x="45720" y="235267"/>
                    </a:cubicBezTo>
                    <a:cubicBezTo>
                      <a:pt x="45720" y="235267"/>
                      <a:pt x="44768" y="235267"/>
                      <a:pt x="44768" y="235267"/>
                    </a:cubicBezTo>
                    <a:cubicBezTo>
                      <a:pt x="42863" y="236220"/>
                      <a:pt x="40957" y="238125"/>
                      <a:pt x="40005" y="239078"/>
                    </a:cubicBezTo>
                    <a:cubicBezTo>
                      <a:pt x="40005" y="239078"/>
                      <a:pt x="40005" y="239078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7148" y="241935"/>
                      <a:pt x="37148" y="241935"/>
                    </a:cubicBezTo>
                    <a:cubicBezTo>
                      <a:pt x="37148" y="241935"/>
                      <a:pt x="37148" y="242888"/>
                      <a:pt x="36195" y="242888"/>
                    </a:cubicBezTo>
                    <a:cubicBezTo>
                      <a:pt x="36195" y="242888"/>
                      <a:pt x="35243" y="242888"/>
                      <a:pt x="35243" y="242888"/>
                    </a:cubicBezTo>
                    <a:cubicBezTo>
                      <a:pt x="35243" y="242888"/>
                      <a:pt x="35243" y="242888"/>
                      <a:pt x="35243" y="242888"/>
                    </a:cubicBezTo>
                    <a:cubicBezTo>
                      <a:pt x="35243" y="242888"/>
                      <a:pt x="34290" y="242888"/>
                      <a:pt x="34290" y="242888"/>
                    </a:cubicBezTo>
                    <a:cubicBezTo>
                      <a:pt x="34290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2385" y="243840"/>
                      <a:pt x="32385" y="243840"/>
                      <a:pt x="31432" y="244792"/>
                    </a:cubicBezTo>
                    <a:cubicBezTo>
                      <a:pt x="30480" y="245745"/>
                      <a:pt x="29527" y="246698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8603"/>
                    </a:cubicBezTo>
                    <a:lnTo>
                      <a:pt x="28575" y="248603"/>
                    </a:ln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7650"/>
                      <a:pt x="28575" y="247650"/>
                    </a:cubicBezTo>
                    <a:lnTo>
                      <a:pt x="28575" y="247650"/>
                    </a:ln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9527" y="246698"/>
                      <a:pt x="29527" y="246698"/>
                      <a:pt x="30480" y="245745"/>
                    </a:cubicBezTo>
                    <a:cubicBezTo>
                      <a:pt x="30480" y="245745"/>
                      <a:pt x="30480" y="245745"/>
                      <a:pt x="30480" y="245745"/>
                    </a:cubicBezTo>
                    <a:cubicBezTo>
                      <a:pt x="30480" y="245745"/>
                      <a:pt x="30480" y="245745"/>
                      <a:pt x="31432" y="244792"/>
                    </a:cubicBezTo>
                    <a:cubicBezTo>
                      <a:pt x="31432" y="244792"/>
                      <a:pt x="32385" y="243840"/>
                      <a:pt x="32385" y="243840"/>
                    </a:cubicBezTo>
                    <a:cubicBezTo>
                      <a:pt x="32385" y="243840"/>
                      <a:pt x="32385" y="243840"/>
                      <a:pt x="32385" y="243840"/>
                    </a:cubicBezTo>
                    <a:cubicBezTo>
                      <a:pt x="33338" y="242888"/>
                      <a:pt x="33338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5243" y="240983"/>
                      <a:pt x="35243" y="240983"/>
                    </a:cubicBezTo>
                    <a:cubicBezTo>
                      <a:pt x="35243" y="240983"/>
                      <a:pt x="35243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8125"/>
                    </a:cubicBezTo>
                    <a:cubicBezTo>
                      <a:pt x="37148" y="238125"/>
                      <a:pt x="37148" y="238125"/>
                      <a:pt x="37148" y="238125"/>
                    </a:cubicBezTo>
                    <a:cubicBezTo>
                      <a:pt x="37148" y="238125"/>
                      <a:pt x="37148" y="237173"/>
                      <a:pt x="37148" y="237173"/>
                    </a:cubicBezTo>
                    <a:cubicBezTo>
                      <a:pt x="37148" y="237173"/>
                      <a:pt x="37148" y="237173"/>
                      <a:pt x="37148" y="237173"/>
                    </a:cubicBezTo>
                    <a:cubicBezTo>
                      <a:pt x="38100" y="236220"/>
                      <a:pt x="38100" y="235267"/>
                      <a:pt x="39052" y="234315"/>
                    </a:cubicBezTo>
                    <a:cubicBezTo>
                      <a:pt x="39052" y="234315"/>
                      <a:pt x="39052" y="234315"/>
                      <a:pt x="39052" y="234315"/>
                    </a:cubicBezTo>
                    <a:cubicBezTo>
                      <a:pt x="38100" y="234315"/>
                      <a:pt x="38100" y="235267"/>
                      <a:pt x="37148" y="236220"/>
                    </a:cubicBezTo>
                    <a:cubicBezTo>
                      <a:pt x="36195" y="236220"/>
                      <a:pt x="35243" y="236220"/>
                      <a:pt x="36195" y="235267"/>
                    </a:cubicBezTo>
                    <a:cubicBezTo>
                      <a:pt x="36195" y="235267"/>
                      <a:pt x="37148" y="234315"/>
                      <a:pt x="37148" y="234315"/>
                    </a:cubicBezTo>
                    <a:cubicBezTo>
                      <a:pt x="37148" y="234315"/>
                      <a:pt x="37148" y="234315"/>
                      <a:pt x="37148" y="234315"/>
                    </a:cubicBezTo>
                    <a:cubicBezTo>
                      <a:pt x="38100" y="233363"/>
                      <a:pt x="39052" y="232410"/>
                      <a:pt x="40005" y="231458"/>
                    </a:cubicBezTo>
                    <a:cubicBezTo>
                      <a:pt x="40957" y="231458"/>
                      <a:pt x="40957" y="230505"/>
                      <a:pt x="41910" y="230505"/>
                    </a:cubicBezTo>
                    <a:cubicBezTo>
                      <a:pt x="41910" y="230505"/>
                      <a:pt x="41910" y="230505"/>
                      <a:pt x="41910" y="230505"/>
                    </a:cubicBezTo>
                    <a:cubicBezTo>
                      <a:pt x="41910" y="230505"/>
                      <a:pt x="42863" y="229553"/>
                      <a:pt x="42863" y="229553"/>
                    </a:cubicBezTo>
                    <a:cubicBezTo>
                      <a:pt x="42863" y="229553"/>
                      <a:pt x="42863" y="229553"/>
                      <a:pt x="42863" y="229553"/>
                    </a:cubicBezTo>
                    <a:cubicBezTo>
                      <a:pt x="47625" y="224790"/>
                      <a:pt x="56198" y="224790"/>
                      <a:pt x="62865" y="221933"/>
                    </a:cubicBezTo>
                    <a:cubicBezTo>
                      <a:pt x="65723" y="220980"/>
                      <a:pt x="68580" y="222885"/>
                      <a:pt x="71438" y="221933"/>
                    </a:cubicBezTo>
                    <a:cubicBezTo>
                      <a:pt x="73343" y="221933"/>
                      <a:pt x="74295" y="221933"/>
                      <a:pt x="76200" y="222885"/>
                    </a:cubicBezTo>
                    <a:cubicBezTo>
                      <a:pt x="66675" y="222885"/>
                      <a:pt x="62865" y="225742"/>
                      <a:pt x="58102" y="228600"/>
                    </a:cubicBezTo>
                    <a:moveTo>
                      <a:pt x="68580" y="193358"/>
                    </a:moveTo>
                    <a:cubicBezTo>
                      <a:pt x="67627" y="192405"/>
                      <a:pt x="70485" y="193358"/>
                      <a:pt x="70485" y="192405"/>
                    </a:cubicBezTo>
                    <a:lnTo>
                      <a:pt x="66675" y="192405"/>
                    </a:lnTo>
                    <a:cubicBezTo>
                      <a:pt x="65723" y="192405"/>
                      <a:pt x="65723" y="191453"/>
                      <a:pt x="65723" y="191453"/>
                    </a:cubicBezTo>
                    <a:cubicBezTo>
                      <a:pt x="62865" y="192405"/>
                      <a:pt x="60007" y="193358"/>
                      <a:pt x="57150" y="193358"/>
                    </a:cubicBezTo>
                    <a:cubicBezTo>
                      <a:pt x="53340" y="194310"/>
                      <a:pt x="50482" y="197167"/>
                      <a:pt x="46673" y="198120"/>
                    </a:cubicBezTo>
                    <a:cubicBezTo>
                      <a:pt x="40957" y="200025"/>
                      <a:pt x="36195" y="204788"/>
                      <a:pt x="30480" y="206692"/>
                    </a:cubicBezTo>
                    <a:cubicBezTo>
                      <a:pt x="29527" y="206692"/>
                      <a:pt x="29527" y="205740"/>
                      <a:pt x="29527" y="205740"/>
                    </a:cubicBezTo>
                    <a:cubicBezTo>
                      <a:pt x="30480" y="203835"/>
                      <a:pt x="32385" y="203835"/>
                      <a:pt x="33338" y="201930"/>
                    </a:cubicBezTo>
                    <a:cubicBezTo>
                      <a:pt x="33338" y="200978"/>
                      <a:pt x="33338" y="200978"/>
                      <a:pt x="32385" y="200978"/>
                    </a:cubicBezTo>
                    <a:cubicBezTo>
                      <a:pt x="36195" y="195263"/>
                      <a:pt x="41910" y="192405"/>
                      <a:pt x="47625" y="187642"/>
                    </a:cubicBezTo>
                    <a:lnTo>
                      <a:pt x="47625" y="185738"/>
                    </a:lnTo>
                    <a:cubicBezTo>
                      <a:pt x="49530" y="183833"/>
                      <a:pt x="51435" y="182880"/>
                      <a:pt x="52388" y="180023"/>
                    </a:cubicBezTo>
                    <a:cubicBezTo>
                      <a:pt x="53340" y="178117"/>
                      <a:pt x="55245" y="176213"/>
                      <a:pt x="57150" y="175260"/>
                    </a:cubicBezTo>
                    <a:cubicBezTo>
                      <a:pt x="56198" y="174308"/>
                      <a:pt x="55245" y="174308"/>
                      <a:pt x="55245" y="173355"/>
                    </a:cubicBezTo>
                    <a:cubicBezTo>
                      <a:pt x="53340" y="173355"/>
                      <a:pt x="51435" y="174308"/>
                      <a:pt x="49530" y="172403"/>
                    </a:cubicBezTo>
                    <a:cubicBezTo>
                      <a:pt x="50482" y="171450"/>
                      <a:pt x="51435" y="170498"/>
                      <a:pt x="52388" y="170498"/>
                    </a:cubicBezTo>
                    <a:cubicBezTo>
                      <a:pt x="52388" y="170498"/>
                      <a:pt x="51435" y="170498"/>
                      <a:pt x="51435" y="169545"/>
                    </a:cubicBezTo>
                    <a:cubicBezTo>
                      <a:pt x="50482" y="168592"/>
                      <a:pt x="52388" y="167640"/>
                      <a:pt x="54293" y="166688"/>
                    </a:cubicBezTo>
                    <a:cubicBezTo>
                      <a:pt x="56198" y="165735"/>
                      <a:pt x="59055" y="165735"/>
                      <a:pt x="60007" y="164783"/>
                    </a:cubicBezTo>
                    <a:cubicBezTo>
                      <a:pt x="56198" y="163830"/>
                      <a:pt x="52388" y="165735"/>
                      <a:pt x="48577" y="163830"/>
                    </a:cubicBezTo>
                    <a:cubicBezTo>
                      <a:pt x="51435" y="157163"/>
                      <a:pt x="55245" y="151448"/>
                      <a:pt x="60960" y="148590"/>
                    </a:cubicBezTo>
                    <a:cubicBezTo>
                      <a:pt x="61913" y="148590"/>
                      <a:pt x="62865" y="148590"/>
                      <a:pt x="62865" y="149542"/>
                    </a:cubicBezTo>
                    <a:cubicBezTo>
                      <a:pt x="62865" y="152400"/>
                      <a:pt x="60960" y="154305"/>
                      <a:pt x="59055" y="154305"/>
                    </a:cubicBezTo>
                    <a:cubicBezTo>
                      <a:pt x="62865" y="155258"/>
                      <a:pt x="67627" y="155258"/>
                      <a:pt x="71438" y="157163"/>
                    </a:cubicBezTo>
                    <a:cubicBezTo>
                      <a:pt x="70485" y="158115"/>
                      <a:pt x="69532" y="158115"/>
                      <a:pt x="69532" y="158115"/>
                    </a:cubicBezTo>
                    <a:cubicBezTo>
                      <a:pt x="72390" y="160020"/>
                      <a:pt x="75248" y="159067"/>
                      <a:pt x="78105" y="160973"/>
                    </a:cubicBezTo>
                    <a:cubicBezTo>
                      <a:pt x="76200" y="162878"/>
                      <a:pt x="75248" y="160973"/>
                      <a:pt x="73343" y="160973"/>
                    </a:cubicBezTo>
                    <a:cubicBezTo>
                      <a:pt x="89535" y="165735"/>
                      <a:pt x="105727" y="169545"/>
                      <a:pt x="119063" y="179070"/>
                    </a:cubicBezTo>
                    <a:cubicBezTo>
                      <a:pt x="107632" y="184785"/>
                      <a:pt x="96202" y="187642"/>
                      <a:pt x="83820" y="189548"/>
                    </a:cubicBezTo>
                    <a:cubicBezTo>
                      <a:pt x="81915" y="189548"/>
                      <a:pt x="80963" y="189548"/>
                      <a:pt x="80010" y="188595"/>
                    </a:cubicBezTo>
                    <a:cubicBezTo>
                      <a:pt x="80010" y="189548"/>
                      <a:pt x="80010" y="190500"/>
                      <a:pt x="79057" y="190500"/>
                    </a:cubicBezTo>
                    <a:cubicBezTo>
                      <a:pt x="77152" y="190500"/>
                      <a:pt x="75248" y="190500"/>
                      <a:pt x="74295" y="191453"/>
                    </a:cubicBezTo>
                    <a:cubicBezTo>
                      <a:pt x="73343" y="194310"/>
                      <a:pt x="70485" y="194310"/>
                      <a:pt x="68580" y="193358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6" name="Forme libre : forme 15">
                <a:extLst>
                  <a:ext uri="{FF2B5EF4-FFF2-40B4-BE49-F238E27FC236}">
                    <a16:creationId xmlns:a16="http://schemas.microsoft.com/office/drawing/2014/main" id="{D8D3202E-8F82-4420-97EA-F8CC611573DC}"/>
                  </a:ext>
                </a:extLst>
              </p:cNvPr>
              <p:cNvSpPr/>
              <p:nvPr/>
            </p:nvSpPr>
            <p:spPr>
              <a:xfrm>
                <a:off x="270509" y="270509"/>
                <a:ext cx="349567" cy="269557"/>
              </a:xfrm>
              <a:custGeom>
                <a:avLst/>
                <a:gdLst>
                  <a:gd name="connsiteX0" fmla="*/ 306705 w 349567"/>
                  <a:gd name="connsiteY0" fmla="*/ 237173 h 269557"/>
                  <a:gd name="connsiteX1" fmla="*/ 315278 w 349567"/>
                  <a:gd name="connsiteY1" fmla="*/ 227648 h 269557"/>
                  <a:gd name="connsiteX2" fmla="*/ 315278 w 349567"/>
                  <a:gd name="connsiteY2" fmla="*/ 227648 h 269557"/>
                  <a:gd name="connsiteX3" fmla="*/ 332423 w 349567"/>
                  <a:gd name="connsiteY3" fmla="*/ 210503 h 269557"/>
                  <a:gd name="connsiteX4" fmla="*/ 338138 w 349567"/>
                  <a:gd name="connsiteY4" fmla="*/ 205740 h 269557"/>
                  <a:gd name="connsiteX5" fmla="*/ 339090 w 349567"/>
                  <a:gd name="connsiteY5" fmla="*/ 203835 h 269557"/>
                  <a:gd name="connsiteX6" fmla="*/ 332423 w 349567"/>
                  <a:gd name="connsiteY6" fmla="*/ 207645 h 269557"/>
                  <a:gd name="connsiteX7" fmla="*/ 331470 w 349567"/>
                  <a:gd name="connsiteY7" fmla="*/ 206692 h 269557"/>
                  <a:gd name="connsiteX8" fmla="*/ 337185 w 349567"/>
                  <a:gd name="connsiteY8" fmla="*/ 202883 h 269557"/>
                  <a:gd name="connsiteX9" fmla="*/ 337185 w 349567"/>
                  <a:gd name="connsiteY9" fmla="*/ 202883 h 269557"/>
                  <a:gd name="connsiteX10" fmla="*/ 336233 w 349567"/>
                  <a:gd name="connsiteY10" fmla="*/ 201930 h 269557"/>
                  <a:gd name="connsiteX11" fmla="*/ 320040 w 349567"/>
                  <a:gd name="connsiteY11" fmla="*/ 210503 h 269557"/>
                  <a:gd name="connsiteX12" fmla="*/ 317183 w 349567"/>
                  <a:gd name="connsiteY12" fmla="*/ 209550 h 269557"/>
                  <a:gd name="connsiteX13" fmla="*/ 296228 w 349567"/>
                  <a:gd name="connsiteY13" fmla="*/ 221933 h 269557"/>
                  <a:gd name="connsiteX14" fmla="*/ 296228 w 349567"/>
                  <a:gd name="connsiteY14" fmla="*/ 220980 h 269557"/>
                  <a:gd name="connsiteX15" fmla="*/ 286703 w 349567"/>
                  <a:gd name="connsiteY15" fmla="*/ 224790 h 269557"/>
                  <a:gd name="connsiteX16" fmla="*/ 274320 w 349567"/>
                  <a:gd name="connsiteY16" fmla="*/ 225742 h 269557"/>
                  <a:gd name="connsiteX17" fmla="*/ 256223 w 349567"/>
                  <a:gd name="connsiteY17" fmla="*/ 228600 h 269557"/>
                  <a:gd name="connsiteX18" fmla="*/ 255270 w 349567"/>
                  <a:gd name="connsiteY18" fmla="*/ 228600 h 269557"/>
                  <a:gd name="connsiteX19" fmla="*/ 245745 w 349567"/>
                  <a:gd name="connsiteY19" fmla="*/ 232410 h 269557"/>
                  <a:gd name="connsiteX20" fmla="*/ 245745 w 349567"/>
                  <a:gd name="connsiteY20" fmla="*/ 232410 h 269557"/>
                  <a:gd name="connsiteX21" fmla="*/ 244792 w 349567"/>
                  <a:gd name="connsiteY21" fmla="*/ 233363 h 269557"/>
                  <a:gd name="connsiteX22" fmla="*/ 240983 w 349567"/>
                  <a:gd name="connsiteY22" fmla="*/ 236220 h 269557"/>
                  <a:gd name="connsiteX23" fmla="*/ 232410 w 349567"/>
                  <a:gd name="connsiteY23" fmla="*/ 242888 h 269557"/>
                  <a:gd name="connsiteX24" fmla="*/ 231458 w 349567"/>
                  <a:gd name="connsiteY24" fmla="*/ 242888 h 269557"/>
                  <a:gd name="connsiteX25" fmla="*/ 222885 w 349567"/>
                  <a:gd name="connsiteY25" fmla="*/ 250508 h 269557"/>
                  <a:gd name="connsiteX26" fmla="*/ 220980 w 349567"/>
                  <a:gd name="connsiteY26" fmla="*/ 250508 h 269557"/>
                  <a:gd name="connsiteX27" fmla="*/ 220980 w 349567"/>
                  <a:gd name="connsiteY27" fmla="*/ 250508 h 269557"/>
                  <a:gd name="connsiteX28" fmla="*/ 220980 w 349567"/>
                  <a:gd name="connsiteY28" fmla="*/ 249555 h 269557"/>
                  <a:gd name="connsiteX29" fmla="*/ 221933 w 349567"/>
                  <a:gd name="connsiteY29" fmla="*/ 247650 h 269557"/>
                  <a:gd name="connsiteX30" fmla="*/ 223838 w 349567"/>
                  <a:gd name="connsiteY30" fmla="*/ 245745 h 269557"/>
                  <a:gd name="connsiteX31" fmla="*/ 225742 w 349567"/>
                  <a:gd name="connsiteY31" fmla="*/ 242888 h 269557"/>
                  <a:gd name="connsiteX32" fmla="*/ 225742 w 349567"/>
                  <a:gd name="connsiteY32" fmla="*/ 241935 h 269557"/>
                  <a:gd name="connsiteX33" fmla="*/ 224790 w 349567"/>
                  <a:gd name="connsiteY33" fmla="*/ 241935 h 269557"/>
                  <a:gd name="connsiteX34" fmla="*/ 233363 w 349567"/>
                  <a:gd name="connsiteY34" fmla="*/ 235267 h 269557"/>
                  <a:gd name="connsiteX35" fmla="*/ 233363 w 349567"/>
                  <a:gd name="connsiteY35" fmla="*/ 235267 h 269557"/>
                  <a:gd name="connsiteX36" fmla="*/ 232410 w 349567"/>
                  <a:gd name="connsiteY36" fmla="*/ 234315 h 269557"/>
                  <a:gd name="connsiteX37" fmla="*/ 233363 w 349567"/>
                  <a:gd name="connsiteY37" fmla="*/ 233363 h 269557"/>
                  <a:gd name="connsiteX38" fmla="*/ 233363 w 349567"/>
                  <a:gd name="connsiteY38" fmla="*/ 233363 h 269557"/>
                  <a:gd name="connsiteX39" fmla="*/ 233363 w 349567"/>
                  <a:gd name="connsiteY39" fmla="*/ 233363 h 269557"/>
                  <a:gd name="connsiteX40" fmla="*/ 233363 w 349567"/>
                  <a:gd name="connsiteY40" fmla="*/ 234315 h 269557"/>
                  <a:gd name="connsiteX41" fmla="*/ 229553 w 349567"/>
                  <a:gd name="connsiteY41" fmla="*/ 237173 h 269557"/>
                  <a:gd name="connsiteX42" fmla="*/ 228600 w 349567"/>
                  <a:gd name="connsiteY42" fmla="*/ 237173 h 269557"/>
                  <a:gd name="connsiteX43" fmla="*/ 227648 w 349567"/>
                  <a:gd name="connsiteY43" fmla="*/ 237173 h 269557"/>
                  <a:gd name="connsiteX44" fmla="*/ 227648 w 349567"/>
                  <a:gd name="connsiteY44" fmla="*/ 237173 h 269557"/>
                  <a:gd name="connsiteX45" fmla="*/ 227648 w 349567"/>
                  <a:gd name="connsiteY45" fmla="*/ 237173 h 269557"/>
                  <a:gd name="connsiteX46" fmla="*/ 227648 w 349567"/>
                  <a:gd name="connsiteY46" fmla="*/ 237173 h 269557"/>
                  <a:gd name="connsiteX47" fmla="*/ 227648 w 349567"/>
                  <a:gd name="connsiteY47" fmla="*/ 237173 h 269557"/>
                  <a:gd name="connsiteX48" fmla="*/ 227648 w 349567"/>
                  <a:gd name="connsiteY48" fmla="*/ 237173 h 269557"/>
                  <a:gd name="connsiteX49" fmla="*/ 227648 w 349567"/>
                  <a:gd name="connsiteY49" fmla="*/ 237173 h 269557"/>
                  <a:gd name="connsiteX50" fmla="*/ 227648 w 349567"/>
                  <a:gd name="connsiteY50" fmla="*/ 236220 h 269557"/>
                  <a:gd name="connsiteX51" fmla="*/ 227648 w 349567"/>
                  <a:gd name="connsiteY51" fmla="*/ 236220 h 269557"/>
                  <a:gd name="connsiteX52" fmla="*/ 228600 w 349567"/>
                  <a:gd name="connsiteY52" fmla="*/ 235267 h 269557"/>
                  <a:gd name="connsiteX53" fmla="*/ 228600 w 349567"/>
                  <a:gd name="connsiteY53" fmla="*/ 234315 h 269557"/>
                  <a:gd name="connsiteX54" fmla="*/ 229553 w 349567"/>
                  <a:gd name="connsiteY54" fmla="*/ 233363 h 269557"/>
                  <a:gd name="connsiteX55" fmla="*/ 229553 w 349567"/>
                  <a:gd name="connsiteY55" fmla="*/ 232410 h 269557"/>
                  <a:gd name="connsiteX56" fmla="*/ 233363 w 349567"/>
                  <a:gd name="connsiteY56" fmla="*/ 229553 h 269557"/>
                  <a:gd name="connsiteX57" fmla="*/ 233363 w 349567"/>
                  <a:gd name="connsiteY57" fmla="*/ 229553 h 269557"/>
                  <a:gd name="connsiteX58" fmla="*/ 239078 w 349567"/>
                  <a:gd name="connsiteY58" fmla="*/ 226695 h 269557"/>
                  <a:gd name="connsiteX59" fmla="*/ 240030 w 349567"/>
                  <a:gd name="connsiteY59" fmla="*/ 225742 h 269557"/>
                  <a:gd name="connsiteX60" fmla="*/ 231458 w 349567"/>
                  <a:gd name="connsiteY60" fmla="*/ 229553 h 269557"/>
                  <a:gd name="connsiteX61" fmla="*/ 230505 w 349567"/>
                  <a:gd name="connsiteY61" fmla="*/ 229553 h 269557"/>
                  <a:gd name="connsiteX62" fmla="*/ 229553 w 349567"/>
                  <a:gd name="connsiteY62" fmla="*/ 229553 h 269557"/>
                  <a:gd name="connsiteX63" fmla="*/ 229553 w 349567"/>
                  <a:gd name="connsiteY63" fmla="*/ 229553 h 269557"/>
                  <a:gd name="connsiteX64" fmla="*/ 232410 w 349567"/>
                  <a:gd name="connsiteY64" fmla="*/ 226695 h 269557"/>
                  <a:gd name="connsiteX65" fmla="*/ 233363 w 349567"/>
                  <a:gd name="connsiteY65" fmla="*/ 227648 h 269557"/>
                  <a:gd name="connsiteX66" fmla="*/ 291465 w 349567"/>
                  <a:gd name="connsiteY66" fmla="*/ 211455 h 269557"/>
                  <a:gd name="connsiteX67" fmla="*/ 296228 w 349567"/>
                  <a:gd name="connsiteY67" fmla="*/ 208598 h 269557"/>
                  <a:gd name="connsiteX68" fmla="*/ 303848 w 349567"/>
                  <a:gd name="connsiteY68" fmla="*/ 203835 h 269557"/>
                  <a:gd name="connsiteX69" fmla="*/ 312420 w 349567"/>
                  <a:gd name="connsiteY69" fmla="*/ 192405 h 269557"/>
                  <a:gd name="connsiteX70" fmla="*/ 311468 w 349567"/>
                  <a:gd name="connsiteY70" fmla="*/ 191453 h 269557"/>
                  <a:gd name="connsiteX71" fmla="*/ 288608 w 349567"/>
                  <a:gd name="connsiteY71" fmla="*/ 208598 h 269557"/>
                  <a:gd name="connsiteX72" fmla="*/ 255270 w 349567"/>
                  <a:gd name="connsiteY72" fmla="*/ 214313 h 269557"/>
                  <a:gd name="connsiteX73" fmla="*/ 258128 w 349567"/>
                  <a:gd name="connsiteY73" fmla="*/ 213360 h 269557"/>
                  <a:gd name="connsiteX74" fmla="*/ 260033 w 349567"/>
                  <a:gd name="connsiteY74" fmla="*/ 210503 h 269557"/>
                  <a:gd name="connsiteX75" fmla="*/ 261938 w 349567"/>
                  <a:gd name="connsiteY75" fmla="*/ 210503 h 269557"/>
                  <a:gd name="connsiteX76" fmla="*/ 262890 w 349567"/>
                  <a:gd name="connsiteY76" fmla="*/ 209550 h 269557"/>
                  <a:gd name="connsiteX77" fmla="*/ 264795 w 349567"/>
                  <a:gd name="connsiteY77" fmla="*/ 208598 h 269557"/>
                  <a:gd name="connsiteX78" fmla="*/ 257175 w 349567"/>
                  <a:gd name="connsiteY78" fmla="*/ 208598 h 269557"/>
                  <a:gd name="connsiteX79" fmla="*/ 259080 w 349567"/>
                  <a:gd name="connsiteY79" fmla="*/ 205740 h 269557"/>
                  <a:gd name="connsiteX80" fmla="*/ 260985 w 349567"/>
                  <a:gd name="connsiteY80" fmla="*/ 205740 h 269557"/>
                  <a:gd name="connsiteX81" fmla="*/ 261938 w 349567"/>
                  <a:gd name="connsiteY81" fmla="*/ 203835 h 269557"/>
                  <a:gd name="connsiteX82" fmla="*/ 283845 w 349567"/>
                  <a:gd name="connsiteY82" fmla="*/ 191453 h 269557"/>
                  <a:gd name="connsiteX83" fmla="*/ 280035 w 349567"/>
                  <a:gd name="connsiteY83" fmla="*/ 192405 h 269557"/>
                  <a:gd name="connsiteX84" fmla="*/ 280988 w 349567"/>
                  <a:gd name="connsiteY84" fmla="*/ 190500 h 269557"/>
                  <a:gd name="connsiteX85" fmla="*/ 297180 w 349567"/>
                  <a:gd name="connsiteY85" fmla="*/ 183833 h 269557"/>
                  <a:gd name="connsiteX86" fmla="*/ 291465 w 349567"/>
                  <a:gd name="connsiteY86" fmla="*/ 183833 h 269557"/>
                  <a:gd name="connsiteX87" fmla="*/ 294323 w 349567"/>
                  <a:gd name="connsiteY87" fmla="*/ 181928 h 269557"/>
                  <a:gd name="connsiteX88" fmla="*/ 294323 w 349567"/>
                  <a:gd name="connsiteY88" fmla="*/ 180023 h 269557"/>
                  <a:gd name="connsiteX89" fmla="*/ 295275 w 349567"/>
                  <a:gd name="connsiteY89" fmla="*/ 179070 h 269557"/>
                  <a:gd name="connsiteX90" fmla="*/ 294323 w 349567"/>
                  <a:gd name="connsiteY90" fmla="*/ 178117 h 269557"/>
                  <a:gd name="connsiteX91" fmla="*/ 297180 w 349567"/>
                  <a:gd name="connsiteY91" fmla="*/ 176213 h 269557"/>
                  <a:gd name="connsiteX92" fmla="*/ 295275 w 349567"/>
                  <a:gd name="connsiteY92" fmla="*/ 175260 h 269557"/>
                  <a:gd name="connsiteX93" fmla="*/ 301943 w 349567"/>
                  <a:gd name="connsiteY93" fmla="*/ 172403 h 269557"/>
                  <a:gd name="connsiteX94" fmla="*/ 300038 w 349567"/>
                  <a:gd name="connsiteY94" fmla="*/ 171450 h 269557"/>
                  <a:gd name="connsiteX95" fmla="*/ 300990 w 349567"/>
                  <a:gd name="connsiteY95" fmla="*/ 170498 h 269557"/>
                  <a:gd name="connsiteX96" fmla="*/ 300990 w 349567"/>
                  <a:gd name="connsiteY96" fmla="*/ 170498 h 269557"/>
                  <a:gd name="connsiteX97" fmla="*/ 300038 w 349567"/>
                  <a:gd name="connsiteY97" fmla="*/ 168592 h 269557"/>
                  <a:gd name="connsiteX98" fmla="*/ 304800 w 349567"/>
                  <a:gd name="connsiteY98" fmla="*/ 156210 h 269557"/>
                  <a:gd name="connsiteX99" fmla="*/ 303848 w 349567"/>
                  <a:gd name="connsiteY99" fmla="*/ 155258 h 269557"/>
                  <a:gd name="connsiteX100" fmla="*/ 282893 w 349567"/>
                  <a:gd name="connsiteY100" fmla="*/ 164783 h 269557"/>
                  <a:gd name="connsiteX101" fmla="*/ 280035 w 349567"/>
                  <a:gd name="connsiteY101" fmla="*/ 164783 h 269557"/>
                  <a:gd name="connsiteX102" fmla="*/ 271463 w 349567"/>
                  <a:gd name="connsiteY102" fmla="*/ 163830 h 269557"/>
                  <a:gd name="connsiteX103" fmla="*/ 266700 w 349567"/>
                  <a:gd name="connsiteY103" fmla="*/ 160020 h 269557"/>
                  <a:gd name="connsiteX104" fmla="*/ 254317 w 349567"/>
                  <a:gd name="connsiteY104" fmla="*/ 154305 h 269557"/>
                  <a:gd name="connsiteX105" fmla="*/ 215265 w 349567"/>
                  <a:gd name="connsiteY105" fmla="*/ 148590 h 269557"/>
                  <a:gd name="connsiteX106" fmla="*/ 233363 w 349567"/>
                  <a:gd name="connsiteY106" fmla="*/ 143828 h 269557"/>
                  <a:gd name="connsiteX107" fmla="*/ 259080 w 349567"/>
                  <a:gd name="connsiteY107" fmla="*/ 139065 h 269557"/>
                  <a:gd name="connsiteX108" fmla="*/ 254317 w 349567"/>
                  <a:gd name="connsiteY108" fmla="*/ 139065 h 269557"/>
                  <a:gd name="connsiteX109" fmla="*/ 232410 w 349567"/>
                  <a:gd name="connsiteY109" fmla="*/ 141923 h 269557"/>
                  <a:gd name="connsiteX110" fmla="*/ 217170 w 349567"/>
                  <a:gd name="connsiteY110" fmla="*/ 145733 h 269557"/>
                  <a:gd name="connsiteX111" fmla="*/ 208598 w 349567"/>
                  <a:gd name="connsiteY111" fmla="*/ 149542 h 269557"/>
                  <a:gd name="connsiteX112" fmla="*/ 208598 w 349567"/>
                  <a:gd name="connsiteY112" fmla="*/ 147638 h 269557"/>
                  <a:gd name="connsiteX113" fmla="*/ 227648 w 349567"/>
                  <a:gd name="connsiteY113" fmla="*/ 135255 h 269557"/>
                  <a:gd name="connsiteX114" fmla="*/ 254317 w 349567"/>
                  <a:gd name="connsiteY114" fmla="*/ 136208 h 269557"/>
                  <a:gd name="connsiteX115" fmla="*/ 273368 w 349567"/>
                  <a:gd name="connsiteY115" fmla="*/ 140017 h 269557"/>
                  <a:gd name="connsiteX116" fmla="*/ 278130 w 349567"/>
                  <a:gd name="connsiteY116" fmla="*/ 144780 h 269557"/>
                  <a:gd name="connsiteX117" fmla="*/ 287655 w 349567"/>
                  <a:gd name="connsiteY117" fmla="*/ 146685 h 269557"/>
                  <a:gd name="connsiteX118" fmla="*/ 287655 w 349567"/>
                  <a:gd name="connsiteY118" fmla="*/ 143828 h 269557"/>
                  <a:gd name="connsiteX119" fmla="*/ 294323 w 349567"/>
                  <a:gd name="connsiteY119" fmla="*/ 142875 h 269557"/>
                  <a:gd name="connsiteX120" fmla="*/ 288608 w 349567"/>
                  <a:gd name="connsiteY120" fmla="*/ 132398 h 269557"/>
                  <a:gd name="connsiteX121" fmla="*/ 289560 w 349567"/>
                  <a:gd name="connsiteY121" fmla="*/ 131445 h 269557"/>
                  <a:gd name="connsiteX122" fmla="*/ 301943 w 349567"/>
                  <a:gd name="connsiteY122" fmla="*/ 141923 h 269557"/>
                  <a:gd name="connsiteX123" fmla="*/ 309563 w 349567"/>
                  <a:gd name="connsiteY123" fmla="*/ 140970 h 269557"/>
                  <a:gd name="connsiteX124" fmla="*/ 298133 w 349567"/>
                  <a:gd name="connsiteY124" fmla="*/ 125730 h 269557"/>
                  <a:gd name="connsiteX125" fmla="*/ 298133 w 349567"/>
                  <a:gd name="connsiteY125" fmla="*/ 123825 h 269557"/>
                  <a:gd name="connsiteX126" fmla="*/ 296228 w 349567"/>
                  <a:gd name="connsiteY126" fmla="*/ 122873 h 269557"/>
                  <a:gd name="connsiteX127" fmla="*/ 296228 w 349567"/>
                  <a:gd name="connsiteY127" fmla="*/ 120015 h 269557"/>
                  <a:gd name="connsiteX128" fmla="*/ 293370 w 349567"/>
                  <a:gd name="connsiteY128" fmla="*/ 115253 h 269557"/>
                  <a:gd name="connsiteX129" fmla="*/ 291465 w 349567"/>
                  <a:gd name="connsiteY129" fmla="*/ 105728 h 269557"/>
                  <a:gd name="connsiteX130" fmla="*/ 290513 w 349567"/>
                  <a:gd name="connsiteY130" fmla="*/ 98108 h 269557"/>
                  <a:gd name="connsiteX131" fmla="*/ 285750 w 349567"/>
                  <a:gd name="connsiteY131" fmla="*/ 73342 h 269557"/>
                  <a:gd name="connsiteX132" fmla="*/ 296228 w 349567"/>
                  <a:gd name="connsiteY132" fmla="*/ 47625 h 269557"/>
                  <a:gd name="connsiteX133" fmla="*/ 310515 w 349567"/>
                  <a:gd name="connsiteY133" fmla="*/ 31433 h 269557"/>
                  <a:gd name="connsiteX134" fmla="*/ 320040 w 349567"/>
                  <a:gd name="connsiteY134" fmla="*/ 15240 h 269557"/>
                  <a:gd name="connsiteX135" fmla="*/ 336233 w 349567"/>
                  <a:gd name="connsiteY135" fmla="*/ 4763 h 269557"/>
                  <a:gd name="connsiteX136" fmla="*/ 349568 w 349567"/>
                  <a:gd name="connsiteY136" fmla="*/ 0 h 269557"/>
                  <a:gd name="connsiteX137" fmla="*/ 0 w 349567"/>
                  <a:gd name="connsiteY137" fmla="*/ 0 h 269557"/>
                  <a:gd name="connsiteX138" fmla="*/ 0 w 349567"/>
                  <a:gd name="connsiteY138" fmla="*/ 269558 h 269557"/>
                  <a:gd name="connsiteX139" fmla="*/ 247650 w 349567"/>
                  <a:gd name="connsiteY139" fmla="*/ 269558 h 269557"/>
                  <a:gd name="connsiteX140" fmla="*/ 280988 w 349567"/>
                  <a:gd name="connsiteY140" fmla="*/ 252413 h 269557"/>
                  <a:gd name="connsiteX141" fmla="*/ 306705 w 349567"/>
                  <a:gd name="connsiteY141" fmla="*/ 237173 h 269557"/>
                  <a:gd name="connsiteX142" fmla="*/ 227648 w 349567"/>
                  <a:gd name="connsiteY142" fmla="*/ 200978 h 269557"/>
                  <a:gd name="connsiteX143" fmla="*/ 224790 w 349567"/>
                  <a:gd name="connsiteY143" fmla="*/ 200025 h 269557"/>
                  <a:gd name="connsiteX144" fmla="*/ 230505 w 349567"/>
                  <a:gd name="connsiteY144" fmla="*/ 196215 h 269557"/>
                  <a:gd name="connsiteX145" fmla="*/ 234315 w 349567"/>
                  <a:gd name="connsiteY145" fmla="*/ 195263 h 269557"/>
                  <a:gd name="connsiteX146" fmla="*/ 238125 w 349567"/>
                  <a:gd name="connsiteY146" fmla="*/ 197167 h 269557"/>
                  <a:gd name="connsiteX147" fmla="*/ 227648 w 349567"/>
                  <a:gd name="connsiteY147" fmla="*/ 200978 h 269557"/>
                  <a:gd name="connsiteX148" fmla="*/ 149542 w 349567"/>
                  <a:gd name="connsiteY148" fmla="*/ 189548 h 269557"/>
                  <a:gd name="connsiteX149" fmla="*/ 148590 w 349567"/>
                  <a:gd name="connsiteY149" fmla="*/ 188595 h 269557"/>
                  <a:gd name="connsiteX150" fmla="*/ 164783 w 349567"/>
                  <a:gd name="connsiteY150" fmla="*/ 162878 h 269557"/>
                  <a:gd name="connsiteX151" fmla="*/ 181928 w 349567"/>
                  <a:gd name="connsiteY151" fmla="*/ 148590 h 269557"/>
                  <a:gd name="connsiteX152" fmla="*/ 210503 w 349567"/>
                  <a:gd name="connsiteY152" fmla="*/ 125730 h 269557"/>
                  <a:gd name="connsiteX153" fmla="*/ 223838 w 349567"/>
                  <a:gd name="connsiteY153" fmla="*/ 126683 h 269557"/>
                  <a:gd name="connsiteX154" fmla="*/ 218123 w 349567"/>
                  <a:gd name="connsiteY154" fmla="*/ 129540 h 269557"/>
                  <a:gd name="connsiteX155" fmla="*/ 216217 w 349567"/>
                  <a:gd name="connsiteY155" fmla="*/ 128588 h 269557"/>
                  <a:gd name="connsiteX156" fmla="*/ 217170 w 349567"/>
                  <a:gd name="connsiteY156" fmla="*/ 126683 h 269557"/>
                  <a:gd name="connsiteX157" fmla="*/ 200978 w 349567"/>
                  <a:gd name="connsiteY157" fmla="*/ 141923 h 269557"/>
                  <a:gd name="connsiteX158" fmla="*/ 189548 w 349567"/>
                  <a:gd name="connsiteY158" fmla="*/ 155258 h 269557"/>
                  <a:gd name="connsiteX159" fmla="*/ 188595 w 349567"/>
                  <a:gd name="connsiteY159" fmla="*/ 154305 h 269557"/>
                  <a:gd name="connsiteX160" fmla="*/ 149542 w 349567"/>
                  <a:gd name="connsiteY160" fmla="*/ 189548 h 269557"/>
                  <a:gd name="connsiteX161" fmla="*/ 192405 w 349567"/>
                  <a:gd name="connsiteY161" fmla="*/ 156210 h 269557"/>
                  <a:gd name="connsiteX162" fmla="*/ 190500 w 349567"/>
                  <a:gd name="connsiteY162" fmla="*/ 158115 h 269557"/>
                  <a:gd name="connsiteX163" fmla="*/ 188595 w 349567"/>
                  <a:gd name="connsiteY163" fmla="*/ 160020 h 269557"/>
                  <a:gd name="connsiteX164" fmla="*/ 187642 w 349567"/>
                  <a:gd name="connsiteY164" fmla="*/ 159067 h 269557"/>
                  <a:gd name="connsiteX165" fmla="*/ 191453 w 349567"/>
                  <a:gd name="connsiteY165" fmla="*/ 154305 h 269557"/>
                  <a:gd name="connsiteX166" fmla="*/ 192405 w 349567"/>
                  <a:gd name="connsiteY166" fmla="*/ 156210 h 269557"/>
                  <a:gd name="connsiteX167" fmla="*/ 216217 w 349567"/>
                  <a:gd name="connsiteY167" fmla="*/ 232410 h 269557"/>
                  <a:gd name="connsiteX168" fmla="*/ 215265 w 349567"/>
                  <a:gd name="connsiteY168" fmla="*/ 234315 h 269557"/>
                  <a:gd name="connsiteX169" fmla="*/ 216217 w 349567"/>
                  <a:gd name="connsiteY169" fmla="*/ 235267 h 269557"/>
                  <a:gd name="connsiteX170" fmla="*/ 212408 w 349567"/>
                  <a:gd name="connsiteY170" fmla="*/ 238125 h 269557"/>
                  <a:gd name="connsiteX171" fmla="*/ 211455 w 349567"/>
                  <a:gd name="connsiteY171" fmla="*/ 238125 h 269557"/>
                  <a:gd name="connsiteX172" fmla="*/ 209550 w 349567"/>
                  <a:gd name="connsiteY172" fmla="*/ 240030 h 269557"/>
                  <a:gd name="connsiteX173" fmla="*/ 206692 w 349567"/>
                  <a:gd name="connsiteY173" fmla="*/ 239078 h 269557"/>
                  <a:gd name="connsiteX174" fmla="*/ 210503 w 349567"/>
                  <a:gd name="connsiteY174" fmla="*/ 235267 h 269557"/>
                  <a:gd name="connsiteX175" fmla="*/ 212408 w 349567"/>
                  <a:gd name="connsiteY175" fmla="*/ 233363 h 269557"/>
                  <a:gd name="connsiteX176" fmla="*/ 213360 w 349567"/>
                  <a:gd name="connsiteY176" fmla="*/ 232410 h 269557"/>
                  <a:gd name="connsiteX177" fmla="*/ 216217 w 349567"/>
                  <a:gd name="connsiteY177" fmla="*/ 232410 h 269557"/>
                  <a:gd name="connsiteX178" fmla="*/ 206692 w 349567"/>
                  <a:gd name="connsiteY178" fmla="*/ 228600 h 269557"/>
                  <a:gd name="connsiteX179" fmla="*/ 206692 w 349567"/>
                  <a:gd name="connsiteY179" fmla="*/ 228600 h 269557"/>
                  <a:gd name="connsiteX180" fmla="*/ 200978 w 349567"/>
                  <a:gd name="connsiteY180" fmla="*/ 232410 h 269557"/>
                  <a:gd name="connsiteX181" fmla="*/ 194310 w 349567"/>
                  <a:gd name="connsiteY181" fmla="*/ 235267 h 269557"/>
                  <a:gd name="connsiteX182" fmla="*/ 194310 w 349567"/>
                  <a:gd name="connsiteY182" fmla="*/ 235267 h 269557"/>
                  <a:gd name="connsiteX183" fmla="*/ 193358 w 349567"/>
                  <a:gd name="connsiteY183" fmla="*/ 235267 h 269557"/>
                  <a:gd name="connsiteX184" fmla="*/ 188595 w 349567"/>
                  <a:gd name="connsiteY184" fmla="*/ 239078 h 269557"/>
                  <a:gd name="connsiteX185" fmla="*/ 187642 w 349567"/>
                  <a:gd name="connsiteY185" fmla="*/ 240030 h 269557"/>
                  <a:gd name="connsiteX186" fmla="*/ 187642 w 349567"/>
                  <a:gd name="connsiteY186" fmla="*/ 240030 h 269557"/>
                  <a:gd name="connsiteX187" fmla="*/ 187642 w 349567"/>
                  <a:gd name="connsiteY187" fmla="*/ 240030 h 269557"/>
                  <a:gd name="connsiteX188" fmla="*/ 186690 w 349567"/>
                  <a:gd name="connsiteY188" fmla="*/ 240983 h 269557"/>
                  <a:gd name="connsiteX189" fmla="*/ 186690 w 349567"/>
                  <a:gd name="connsiteY189" fmla="*/ 240983 h 269557"/>
                  <a:gd name="connsiteX190" fmla="*/ 186690 w 349567"/>
                  <a:gd name="connsiteY190" fmla="*/ 240983 h 269557"/>
                  <a:gd name="connsiteX191" fmla="*/ 185738 w 349567"/>
                  <a:gd name="connsiteY191" fmla="*/ 241935 h 269557"/>
                  <a:gd name="connsiteX192" fmla="*/ 184785 w 349567"/>
                  <a:gd name="connsiteY192" fmla="*/ 242888 h 269557"/>
                  <a:gd name="connsiteX193" fmla="*/ 183833 w 349567"/>
                  <a:gd name="connsiteY193" fmla="*/ 242888 h 269557"/>
                  <a:gd name="connsiteX194" fmla="*/ 183833 w 349567"/>
                  <a:gd name="connsiteY194" fmla="*/ 242888 h 269557"/>
                  <a:gd name="connsiteX195" fmla="*/ 182880 w 349567"/>
                  <a:gd name="connsiteY195" fmla="*/ 242888 h 269557"/>
                  <a:gd name="connsiteX196" fmla="*/ 181928 w 349567"/>
                  <a:gd name="connsiteY196" fmla="*/ 242888 h 269557"/>
                  <a:gd name="connsiteX197" fmla="*/ 181928 w 349567"/>
                  <a:gd name="connsiteY197" fmla="*/ 242888 h 269557"/>
                  <a:gd name="connsiteX198" fmla="*/ 181928 w 349567"/>
                  <a:gd name="connsiteY198" fmla="*/ 242888 h 269557"/>
                  <a:gd name="connsiteX199" fmla="*/ 180023 w 349567"/>
                  <a:gd name="connsiteY199" fmla="*/ 244792 h 269557"/>
                  <a:gd name="connsiteX200" fmla="*/ 177165 w 349567"/>
                  <a:gd name="connsiteY200" fmla="*/ 247650 h 269557"/>
                  <a:gd name="connsiteX201" fmla="*/ 177165 w 349567"/>
                  <a:gd name="connsiteY201" fmla="*/ 247650 h 269557"/>
                  <a:gd name="connsiteX202" fmla="*/ 177165 w 349567"/>
                  <a:gd name="connsiteY202" fmla="*/ 247650 h 269557"/>
                  <a:gd name="connsiteX203" fmla="*/ 177165 w 349567"/>
                  <a:gd name="connsiteY203" fmla="*/ 247650 h 269557"/>
                  <a:gd name="connsiteX204" fmla="*/ 177165 w 349567"/>
                  <a:gd name="connsiteY204" fmla="*/ 247650 h 269557"/>
                  <a:gd name="connsiteX205" fmla="*/ 177165 w 349567"/>
                  <a:gd name="connsiteY205" fmla="*/ 247650 h 269557"/>
                  <a:gd name="connsiteX206" fmla="*/ 177165 w 349567"/>
                  <a:gd name="connsiteY206" fmla="*/ 248603 h 269557"/>
                  <a:gd name="connsiteX207" fmla="*/ 177165 w 349567"/>
                  <a:gd name="connsiteY207" fmla="*/ 248603 h 269557"/>
                  <a:gd name="connsiteX208" fmla="*/ 177165 w 349567"/>
                  <a:gd name="connsiteY208" fmla="*/ 248603 h 269557"/>
                  <a:gd name="connsiteX209" fmla="*/ 177165 w 349567"/>
                  <a:gd name="connsiteY209" fmla="*/ 248603 h 269557"/>
                  <a:gd name="connsiteX210" fmla="*/ 177165 w 349567"/>
                  <a:gd name="connsiteY210" fmla="*/ 248603 h 269557"/>
                  <a:gd name="connsiteX211" fmla="*/ 177165 w 349567"/>
                  <a:gd name="connsiteY211" fmla="*/ 247650 h 269557"/>
                  <a:gd name="connsiteX212" fmla="*/ 177165 w 349567"/>
                  <a:gd name="connsiteY212" fmla="*/ 247650 h 269557"/>
                  <a:gd name="connsiteX213" fmla="*/ 177165 w 349567"/>
                  <a:gd name="connsiteY213" fmla="*/ 247650 h 269557"/>
                  <a:gd name="connsiteX214" fmla="*/ 179070 w 349567"/>
                  <a:gd name="connsiteY214" fmla="*/ 245745 h 269557"/>
                  <a:gd name="connsiteX215" fmla="*/ 179070 w 349567"/>
                  <a:gd name="connsiteY215" fmla="*/ 245745 h 269557"/>
                  <a:gd name="connsiteX216" fmla="*/ 180023 w 349567"/>
                  <a:gd name="connsiteY216" fmla="*/ 244792 h 269557"/>
                  <a:gd name="connsiteX217" fmla="*/ 180975 w 349567"/>
                  <a:gd name="connsiteY217" fmla="*/ 243840 h 269557"/>
                  <a:gd name="connsiteX218" fmla="*/ 180975 w 349567"/>
                  <a:gd name="connsiteY218" fmla="*/ 243840 h 269557"/>
                  <a:gd name="connsiteX219" fmla="*/ 182880 w 349567"/>
                  <a:gd name="connsiteY219" fmla="*/ 241935 h 269557"/>
                  <a:gd name="connsiteX220" fmla="*/ 182880 w 349567"/>
                  <a:gd name="connsiteY220" fmla="*/ 241935 h 269557"/>
                  <a:gd name="connsiteX221" fmla="*/ 182880 w 349567"/>
                  <a:gd name="connsiteY221" fmla="*/ 241935 h 269557"/>
                  <a:gd name="connsiteX222" fmla="*/ 183833 w 349567"/>
                  <a:gd name="connsiteY222" fmla="*/ 240983 h 269557"/>
                  <a:gd name="connsiteX223" fmla="*/ 184785 w 349567"/>
                  <a:gd name="connsiteY223" fmla="*/ 240030 h 269557"/>
                  <a:gd name="connsiteX224" fmla="*/ 184785 w 349567"/>
                  <a:gd name="connsiteY224" fmla="*/ 240030 h 269557"/>
                  <a:gd name="connsiteX225" fmla="*/ 184785 w 349567"/>
                  <a:gd name="connsiteY225" fmla="*/ 240030 h 269557"/>
                  <a:gd name="connsiteX226" fmla="*/ 184785 w 349567"/>
                  <a:gd name="connsiteY226" fmla="*/ 240030 h 269557"/>
                  <a:gd name="connsiteX227" fmla="*/ 185738 w 349567"/>
                  <a:gd name="connsiteY227" fmla="*/ 239078 h 269557"/>
                  <a:gd name="connsiteX228" fmla="*/ 185738 w 349567"/>
                  <a:gd name="connsiteY228" fmla="*/ 239078 h 269557"/>
                  <a:gd name="connsiteX229" fmla="*/ 185738 w 349567"/>
                  <a:gd name="connsiteY229" fmla="*/ 239078 h 269557"/>
                  <a:gd name="connsiteX230" fmla="*/ 185738 w 349567"/>
                  <a:gd name="connsiteY230" fmla="*/ 238125 h 269557"/>
                  <a:gd name="connsiteX231" fmla="*/ 185738 w 349567"/>
                  <a:gd name="connsiteY231" fmla="*/ 238125 h 269557"/>
                  <a:gd name="connsiteX232" fmla="*/ 185738 w 349567"/>
                  <a:gd name="connsiteY232" fmla="*/ 237173 h 269557"/>
                  <a:gd name="connsiteX233" fmla="*/ 185738 w 349567"/>
                  <a:gd name="connsiteY233" fmla="*/ 237173 h 269557"/>
                  <a:gd name="connsiteX234" fmla="*/ 187642 w 349567"/>
                  <a:gd name="connsiteY234" fmla="*/ 234315 h 269557"/>
                  <a:gd name="connsiteX235" fmla="*/ 187642 w 349567"/>
                  <a:gd name="connsiteY235" fmla="*/ 234315 h 269557"/>
                  <a:gd name="connsiteX236" fmla="*/ 185738 w 349567"/>
                  <a:gd name="connsiteY236" fmla="*/ 236220 h 269557"/>
                  <a:gd name="connsiteX237" fmla="*/ 184785 w 349567"/>
                  <a:gd name="connsiteY237" fmla="*/ 235267 h 269557"/>
                  <a:gd name="connsiteX238" fmla="*/ 185738 w 349567"/>
                  <a:gd name="connsiteY238" fmla="*/ 234315 h 269557"/>
                  <a:gd name="connsiteX239" fmla="*/ 185738 w 349567"/>
                  <a:gd name="connsiteY239" fmla="*/ 234315 h 269557"/>
                  <a:gd name="connsiteX240" fmla="*/ 188595 w 349567"/>
                  <a:gd name="connsiteY240" fmla="*/ 231458 h 269557"/>
                  <a:gd name="connsiteX241" fmla="*/ 190500 w 349567"/>
                  <a:gd name="connsiteY241" fmla="*/ 230505 h 269557"/>
                  <a:gd name="connsiteX242" fmla="*/ 190500 w 349567"/>
                  <a:gd name="connsiteY242" fmla="*/ 230505 h 269557"/>
                  <a:gd name="connsiteX243" fmla="*/ 191453 w 349567"/>
                  <a:gd name="connsiteY243" fmla="*/ 229553 h 269557"/>
                  <a:gd name="connsiteX244" fmla="*/ 191453 w 349567"/>
                  <a:gd name="connsiteY244" fmla="*/ 229553 h 269557"/>
                  <a:gd name="connsiteX245" fmla="*/ 211455 w 349567"/>
                  <a:gd name="connsiteY245" fmla="*/ 221933 h 269557"/>
                  <a:gd name="connsiteX246" fmla="*/ 220028 w 349567"/>
                  <a:gd name="connsiteY246" fmla="*/ 221933 h 269557"/>
                  <a:gd name="connsiteX247" fmla="*/ 224790 w 349567"/>
                  <a:gd name="connsiteY247" fmla="*/ 222885 h 269557"/>
                  <a:gd name="connsiteX248" fmla="*/ 206692 w 349567"/>
                  <a:gd name="connsiteY248" fmla="*/ 228600 h 269557"/>
                  <a:gd name="connsiteX249" fmla="*/ 217170 w 349567"/>
                  <a:gd name="connsiteY249" fmla="*/ 193358 h 269557"/>
                  <a:gd name="connsiteX250" fmla="*/ 219075 w 349567"/>
                  <a:gd name="connsiteY250" fmla="*/ 192405 h 269557"/>
                  <a:gd name="connsiteX251" fmla="*/ 215265 w 349567"/>
                  <a:gd name="connsiteY251" fmla="*/ 192405 h 269557"/>
                  <a:gd name="connsiteX252" fmla="*/ 214313 w 349567"/>
                  <a:gd name="connsiteY252" fmla="*/ 191453 h 269557"/>
                  <a:gd name="connsiteX253" fmla="*/ 205740 w 349567"/>
                  <a:gd name="connsiteY253" fmla="*/ 193358 h 269557"/>
                  <a:gd name="connsiteX254" fmla="*/ 195263 w 349567"/>
                  <a:gd name="connsiteY254" fmla="*/ 198120 h 269557"/>
                  <a:gd name="connsiteX255" fmla="*/ 179070 w 349567"/>
                  <a:gd name="connsiteY255" fmla="*/ 206692 h 269557"/>
                  <a:gd name="connsiteX256" fmla="*/ 178117 w 349567"/>
                  <a:gd name="connsiteY256" fmla="*/ 205740 h 269557"/>
                  <a:gd name="connsiteX257" fmla="*/ 181928 w 349567"/>
                  <a:gd name="connsiteY257" fmla="*/ 201930 h 269557"/>
                  <a:gd name="connsiteX258" fmla="*/ 180975 w 349567"/>
                  <a:gd name="connsiteY258" fmla="*/ 200978 h 269557"/>
                  <a:gd name="connsiteX259" fmla="*/ 196215 w 349567"/>
                  <a:gd name="connsiteY259" fmla="*/ 187642 h 269557"/>
                  <a:gd name="connsiteX260" fmla="*/ 196215 w 349567"/>
                  <a:gd name="connsiteY260" fmla="*/ 185738 h 269557"/>
                  <a:gd name="connsiteX261" fmla="*/ 200978 w 349567"/>
                  <a:gd name="connsiteY261" fmla="*/ 180023 h 269557"/>
                  <a:gd name="connsiteX262" fmla="*/ 205740 w 349567"/>
                  <a:gd name="connsiteY262" fmla="*/ 175260 h 269557"/>
                  <a:gd name="connsiteX263" fmla="*/ 203835 w 349567"/>
                  <a:gd name="connsiteY263" fmla="*/ 173355 h 269557"/>
                  <a:gd name="connsiteX264" fmla="*/ 198120 w 349567"/>
                  <a:gd name="connsiteY264" fmla="*/ 172403 h 269557"/>
                  <a:gd name="connsiteX265" fmla="*/ 200978 w 349567"/>
                  <a:gd name="connsiteY265" fmla="*/ 170498 h 269557"/>
                  <a:gd name="connsiteX266" fmla="*/ 200025 w 349567"/>
                  <a:gd name="connsiteY266" fmla="*/ 169545 h 269557"/>
                  <a:gd name="connsiteX267" fmla="*/ 202883 w 349567"/>
                  <a:gd name="connsiteY267" fmla="*/ 166688 h 269557"/>
                  <a:gd name="connsiteX268" fmla="*/ 208598 w 349567"/>
                  <a:gd name="connsiteY268" fmla="*/ 164783 h 269557"/>
                  <a:gd name="connsiteX269" fmla="*/ 197167 w 349567"/>
                  <a:gd name="connsiteY269" fmla="*/ 163830 h 269557"/>
                  <a:gd name="connsiteX270" fmla="*/ 209550 w 349567"/>
                  <a:gd name="connsiteY270" fmla="*/ 148590 h 269557"/>
                  <a:gd name="connsiteX271" fmla="*/ 211455 w 349567"/>
                  <a:gd name="connsiteY271" fmla="*/ 149542 h 269557"/>
                  <a:gd name="connsiteX272" fmla="*/ 207645 w 349567"/>
                  <a:gd name="connsiteY272" fmla="*/ 154305 h 269557"/>
                  <a:gd name="connsiteX273" fmla="*/ 220028 w 349567"/>
                  <a:gd name="connsiteY273" fmla="*/ 157163 h 269557"/>
                  <a:gd name="connsiteX274" fmla="*/ 218123 w 349567"/>
                  <a:gd name="connsiteY274" fmla="*/ 158115 h 269557"/>
                  <a:gd name="connsiteX275" fmla="*/ 226695 w 349567"/>
                  <a:gd name="connsiteY275" fmla="*/ 160973 h 269557"/>
                  <a:gd name="connsiteX276" fmla="*/ 221933 w 349567"/>
                  <a:gd name="connsiteY276" fmla="*/ 160973 h 269557"/>
                  <a:gd name="connsiteX277" fmla="*/ 267653 w 349567"/>
                  <a:gd name="connsiteY277" fmla="*/ 179070 h 269557"/>
                  <a:gd name="connsiteX278" fmla="*/ 232410 w 349567"/>
                  <a:gd name="connsiteY278" fmla="*/ 189548 h 269557"/>
                  <a:gd name="connsiteX279" fmla="*/ 228600 w 349567"/>
                  <a:gd name="connsiteY279" fmla="*/ 188595 h 269557"/>
                  <a:gd name="connsiteX280" fmla="*/ 227648 w 349567"/>
                  <a:gd name="connsiteY280" fmla="*/ 190500 h 269557"/>
                  <a:gd name="connsiteX281" fmla="*/ 222885 w 349567"/>
                  <a:gd name="connsiteY281" fmla="*/ 191453 h 269557"/>
                  <a:gd name="connsiteX282" fmla="*/ 217170 w 349567"/>
                  <a:gd name="connsiteY282" fmla="*/ 193358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</a:cxnLst>
                <a:rect l="l" t="t" r="r" b="b"/>
                <a:pathLst>
                  <a:path w="349567" h="269557">
                    <a:moveTo>
                      <a:pt x="306705" y="237173"/>
                    </a:moveTo>
                    <a:cubicBezTo>
                      <a:pt x="309563" y="234315"/>
                      <a:pt x="312420" y="231458"/>
                      <a:pt x="315278" y="227648"/>
                    </a:cubicBezTo>
                    <a:lnTo>
                      <a:pt x="315278" y="227648"/>
                    </a:lnTo>
                    <a:cubicBezTo>
                      <a:pt x="320993" y="221933"/>
                      <a:pt x="325755" y="215265"/>
                      <a:pt x="332423" y="210503"/>
                    </a:cubicBezTo>
                    <a:cubicBezTo>
                      <a:pt x="334328" y="208598"/>
                      <a:pt x="336233" y="207645"/>
                      <a:pt x="338138" y="205740"/>
                    </a:cubicBezTo>
                    <a:cubicBezTo>
                      <a:pt x="339090" y="204788"/>
                      <a:pt x="339090" y="203835"/>
                      <a:pt x="339090" y="203835"/>
                    </a:cubicBezTo>
                    <a:cubicBezTo>
                      <a:pt x="336233" y="204788"/>
                      <a:pt x="335280" y="206692"/>
                      <a:pt x="332423" y="207645"/>
                    </a:cubicBezTo>
                    <a:cubicBezTo>
                      <a:pt x="331470" y="207645"/>
                      <a:pt x="331470" y="206692"/>
                      <a:pt x="331470" y="206692"/>
                    </a:cubicBezTo>
                    <a:cubicBezTo>
                      <a:pt x="333375" y="205740"/>
                      <a:pt x="335280" y="203835"/>
                      <a:pt x="337185" y="202883"/>
                    </a:cubicBezTo>
                    <a:cubicBezTo>
                      <a:pt x="337185" y="202883"/>
                      <a:pt x="337185" y="202883"/>
                      <a:pt x="337185" y="202883"/>
                    </a:cubicBezTo>
                    <a:cubicBezTo>
                      <a:pt x="336233" y="202883"/>
                      <a:pt x="336233" y="201930"/>
                      <a:pt x="336233" y="201930"/>
                    </a:cubicBezTo>
                    <a:cubicBezTo>
                      <a:pt x="329565" y="201930"/>
                      <a:pt x="324803" y="205740"/>
                      <a:pt x="320040" y="210503"/>
                    </a:cubicBezTo>
                    <a:cubicBezTo>
                      <a:pt x="319088" y="211455"/>
                      <a:pt x="318135" y="209550"/>
                      <a:pt x="317183" y="209550"/>
                    </a:cubicBezTo>
                    <a:cubicBezTo>
                      <a:pt x="309563" y="212408"/>
                      <a:pt x="303848" y="219075"/>
                      <a:pt x="296228" y="221933"/>
                    </a:cubicBezTo>
                    <a:lnTo>
                      <a:pt x="296228" y="220980"/>
                    </a:lnTo>
                    <a:cubicBezTo>
                      <a:pt x="293370" y="221933"/>
                      <a:pt x="290513" y="223838"/>
                      <a:pt x="286703" y="224790"/>
                    </a:cubicBezTo>
                    <a:cubicBezTo>
                      <a:pt x="281940" y="225742"/>
                      <a:pt x="278130" y="225742"/>
                      <a:pt x="274320" y="225742"/>
                    </a:cubicBezTo>
                    <a:cubicBezTo>
                      <a:pt x="268605" y="226695"/>
                      <a:pt x="261938" y="227648"/>
                      <a:pt x="256223" y="228600"/>
                    </a:cubicBezTo>
                    <a:cubicBezTo>
                      <a:pt x="256223" y="228600"/>
                      <a:pt x="256223" y="228600"/>
                      <a:pt x="255270" y="228600"/>
                    </a:cubicBezTo>
                    <a:cubicBezTo>
                      <a:pt x="252413" y="229553"/>
                      <a:pt x="248603" y="230505"/>
                      <a:pt x="245745" y="232410"/>
                    </a:cubicBezTo>
                    <a:cubicBezTo>
                      <a:pt x="245745" y="232410"/>
                      <a:pt x="245745" y="232410"/>
                      <a:pt x="245745" y="232410"/>
                    </a:cubicBezTo>
                    <a:cubicBezTo>
                      <a:pt x="245745" y="232410"/>
                      <a:pt x="244792" y="233363"/>
                      <a:pt x="244792" y="233363"/>
                    </a:cubicBezTo>
                    <a:cubicBezTo>
                      <a:pt x="243840" y="234315"/>
                      <a:pt x="242888" y="235267"/>
                      <a:pt x="240983" y="236220"/>
                    </a:cubicBezTo>
                    <a:cubicBezTo>
                      <a:pt x="238125" y="238125"/>
                      <a:pt x="235267" y="240983"/>
                      <a:pt x="232410" y="242888"/>
                    </a:cubicBezTo>
                    <a:cubicBezTo>
                      <a:pt x="232410" y="242888"/>
                      <a:pt x="231458" y="242888"/>
                      <a:pt x="231458" y="242888"/>
                    </a:cubicBezTo>
                    <a:cubicBezTo>
                      <a:pt x="228600" y="245745"/>
                      <a:pt x="225742" y="248603"/>
                      <a:pt x="222885" y="250508"/>
                    </a:cubicBezTo>
                    <a:cubicBezTo>
                      <a:pt x="222885" y="250508"/>
                      <a:pt x="221933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49555"/>
                    </a:cubicBezTo>
                    <a:cubicBezTo>
                      <a:pt x="220980" y="248603"/>
                      <a:pt x="221933" y="247650"/>
                      <a:pt x="221933" y="247650"/>
                    </a:cubicBezTo>
                    <a:cubicBezTo>
                      <a:pt x="222885" y="246698"/>
                      <a:pt x="222885" y="245745"/>
                      <a:pt x="223838" y="245745"/>
                    </a:cubicBezTo>
                    <a:cubicBezTo>
                      <a:pt x="224790" y="244792"/>
                      <a:pt x="224790" y="243840"/>
                      <a:pt x="225742" y="242888"/>
                    </a:cubicBezTo>
                    <a:cubicBezTo>
                      <a:pt x="225742" y="242888"/>
                      <a:pt x="225742" y="241935"/>
                      <a:pt x="225742" y="241935"/>
                    </a:cubicBezTo>
                    <a:cubicBezTo>
                      <a:pt x="225742" y="241935"/>
                      <a:pt x="225742" y="241935"/>
                      <a:pt x="224790" y="241935"/>
                    </a:cubicBezTo>
                    <a:cubicBezTo>
                      <a:pt x="227648" y="239078"/>
                      <a:pt x="230505" y="237173"/>
                      <a:pt x="233363" y="235267"/>
                    </a:cubicBezTo>
                    <a:lnTo>
                      <a:pt x="233363" y="235267"/>
                    </a:lnTo>
                    <a:cubicBezTo>
                      <a:pt x="233363" y="235267"/>
                      <a:pt x="232410" y="235267"/>
                      <a:pt x="232410" y="234315"/>
                    </a:cubicBezTo>
                    <a:cubicBezTo>
                      <a:pt x="232410" y="234315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4315" y="233363"/>
                      <a:pt x="233363" y="234315"/>
                      <a:pt x="233363" y="234315"/>
                    </a:cubicBezTo>
                    <a:cubicBezTo>
                      <a:pt x="232410" y="235267"/>
                      <a:pt x="231458" y="238125"/>
                      <a:pt x="229553" y="237173"/>
                    </a:cubicBezTo>
                    <a:cubicBezTo>
                      <a:pt x="229553" y="237173"/>
                      <a:pt x="228600" y="237173"/>
                      <a:pt x="228600" y="237173"/>
                    </a:cubicBezTo>
                    <a:cubicBezTo>
                      <a:pt x="228600" y="237173"/>
                      <a:pt x="228600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6220"/>
                    </a:cubicBezTo>
                    <a:cubicBezTo>
                      <a:pt x="227648" y="236220"/>
                      <a:pt x="227648" y="236220"/>
                      <a:pt x="227648" y="236220"/>
                    </a:cubicBezTo>
                    <a:cubicBezTo>
                      <a:pt x="227648" y="236220"/>
                      <a:pt x="227648" y="235267"/>
                      <a:pt x="228600" y="235267"/>
                    </a:cubicBezTo>
                    <a:cubicBezTo>
                      <a:pt x="228600" y="235267"/>
                      <a:pt x="228600" y="235267"/>
                      <a:pt x="228600" y="234315"/>
                    </a:cubicBezTo>
                    <a:cubicBezTo>
                      <a:pt x="228600" y="234315"/>
                      <a:pt x="228600" y="233363"/>
                      <a:pt x="229553" y="233363"/>
                    </a:cubicBezTo>
                    <a:cubicBezTo>
                      <a:pt x="229553" y="233363"/>
                      <a:pt x="229553" y="232410"/>
                      <a:pt x="229553" y="232410"/>
                    </a:cubicBezTo>
                    <a:cubicBezTo>
                      <a:pt x="230505" y="231458"/>
                      <a:pt x="231458" y="230505"/>
                      <a:pt x="233363" y="229553"/>
                    </a:cubicBezTo>
                    <a:lnTo>
                      <a:pt x="233363" y="229553"/>
                    </a:lnTo>
                    <a:cubicBezTo>
                      <a:pt x="235267" y="228600"/>
                      <a:pt x="237173" y="227648"/>
                      <a:pt x="239078" y="226695"/>
                    </a:cubicBezTo>
                    <a:cubicBezTo>
                      <a:pt x="239078" y="226695"/>
                      <a:pt x="240030" y="225742"/>
                      <a:pt x="240030" y="225742"/>
                    </a:cubicBezTo>
                    <a:cubicBezTo>
                      <a:pt x="237173" y="226695"/>
                      <a:pt x="234315" y="227648"/>
                      <a:pt x="231458" y="229553"/>
                    </a:cubicBezTo>
                    <a:cubicBezTo>
                      <a:pt x="231458" y="229553"/>
                      <a:pt x="230505" y="229553"/>
                      <a:pt x="230505" y="229553"/>
                    </a:cubicBezTo>
                    <a:cubicBezTo>
                      <a:pt x="230505" y="229553"/>
                      <a:pt x="229553" y="229553"/>
                      <a:pt x="229553" y="229553"/>
                    </a:cubicBezTo>
                    <a:cubicBezTo>
                      <a:pt x="229553" y="229553"/>
                      <a:pt x="229553" y="229553"/>
                      <a:pt x="229553" y="229553"/>
                    </a:cubicBezTo>
                    <a:cubicBezTo>
                      <a:pt x="230505" y="228600"/>
                      <a:pt x="231458" y="227648"/>
                      <a:pt x="232410" y="226695"/>
                    </a:cubicBezTo>
                    <a:cubicBezTo>
                      <a:pt x="233363" y="226695"/>
                      <a:pt x="233363" y="226695"/>
                      <a:pt x="233363" y="227648"/>
                    </a:cubicBezTo>
                    <a:cubicBezTo>
                      <a:pt x="249555" y="215265"/>
                      <a:pt x="272415" y="218123"/>
                      <a:pt x="291465" y="211455"/>
                    </a:cubicBezTo>
                    <a:cubicBezTo>
                      <a:pt x="293370" y="210503"/>
                      <a:pt x="294323" y="209550"/>
                      <a:pt x="296228" y="208598"/>
                    </a:cubicBezTo>
                    <a:cubicBezTo>
                      <a:pt x="299085" y="207645"/>
                      <a:pt x="300990" y="204788"/>
                      <a:pt x="303848" y="203835"/>
                    </a:cubicBezTo>
                    <a:cubicBezTo>
                      <a:pt x="307658" y="200978"/>
                      <a:pt x="310515" y="197167"/>
                      <a:pt x="312420" y="192405"/>
                    </a:cubicBezTo>
                    <a:cubicBezTo>
                      <a:pt x="312420" y="191453"/>
                      <a:pt x="311468" y="191453"/>
                      <a:pt x="311468" y="191453"/>
                    </a:cubicBezTo>
                    <a:cubicBezTo>
                      <a:pt x="304800" y="199073"/>
                      <a:pt x="297180" y="203835"/>
                      <a:pt x="288608" y="208598"/>
                    </a:cubicBezTo>
                    <a:cubicBezTo>
                      <a:pt x="278130" y="214313"/>
                      <a:pt x="265748" y="213360"/>
                      <a:pt x="255270" y="214313"/>
                    </a:cubicBezTo>
                    <a:cubicBezTo>
                      <a:pt x="256223" y="213360"/>
                      <a:pt x="257175" y="213360"/>
                      <a:pt x="258128" y="213360"/>
                    </a:cubicBezTo>
                    <a:cubicBezTo>
                      <a:pt x="258128" y="211455"/>
                      <a:pt x="259080" y="211455"/>
                      <a:pt x="260033" y="210503"/>
                    </a:cubicBezTo>
                    <a:lnTo>
                      <a:pt x="261938" y="210503"/>
                    </a:lnTo>
                    <a:cubicBezTo>
                      <a:pt x="262890" y="210503"/>
                      <a:pt x="262890" y="209550"/>
                      <a:pt x="262890" y="209550"/>
                    </a:cubicBezTo>
                    <a:cubicBezTo>
                      <a:pt x="263843" y="209550"/>
                      <a:pt x="265748" y="208598"/>
                      <a:pt x="264795" y="208598"/>
                    </a:cubicBezTo>
                    <a:cubicBezTo>
                      <a:pt x="262890" y="206692"/>
                      <a:pt x="260033" y="210503"/>
                      <a:pt x="257175" y="208598"/>
                    </a:cubicBezTo>
                    <a:cubicBezTo>
                      <a:pt x="258128" y="207645"/>
                      <a:pt x="258128" y="205740"/>
                      <a:pt x="259080" y="205740"/>
                    </a:cubicBezTo>
                    <a:lnTo>
                      <a:pt x="260985" y="205740"/>
                    </a:lnTo>
                    <a:cubicBezTo>
                      <a:pt x="260985" y="204788"/>
                      <a:pt x="261938" y="203835"/>
                      <a:pt x="261938" y="203835"/>
                    </a:cubicBezTo>
                    <a:cubicBezTo>
                      <a:pt x="269558" y="199073"/>
                      <a:pt x="277178" y="195263"/>
                      <a:pt x="283845" y="191453"/>
                    </a:cubicBezTo>
                    <a:cubicBezTo>
                      <a:pt x="281940" y="191453"/>
                      <a:pt x="280988" y="193358"/>
                      <a:pt x="280035" y="192405"/>
                    </a:cubicBezTo>
                    <a:cubicBezTo>
                      <a:pt x="280988" y="192405"/>
                      <a:pt x="280035" y="190500"/>
                      <a:pt x="280988" y="190500"/>
                    </a:cubicBezTo>
                    <a:cubicBezTo>
                      <a:pt x="286703" y="188595"/>
                      <a:pt x="291465" y="185738"/>
                      <a:pt x="297180" y="183833"/>
                    </a:cubicBezTo>
                    <a:cubicBezTo>
                      <a:pt x="295275" y="183833"/>
                      <a:pt x="293370" y="185738"/>
                      <a:pt x="291465" y="183833"/>
                    </a:cubicBezTo>
                    <a:cubicBezTo>
                      <a:pt x="292418" y="182880"/>
                      <a:pt x="293370" y="181928"/>
                      <a:pt x="294323" y="181928"/>
                    </a:cubicBezTo>
                    <a:lnTo>
                      <a:pt x="294323" y="180023"/>
                    </a:lnTo>
                    <a:cubicBezTo>
                      <a:pt x="294323" y="179070"/>
                      <a:pt x="295275" y="179070"/>
                      <a:pt x="295275" y="179070"/>
                    </a:cubicBezTo>
                    <a:cubicBezTo>
                      <a:pt x="294323" y="179070"/>
                      <a:pt x="294323" y="178117"/>
                      <a:pt x="294323" y="178117"/>
                    </a:cubicBezTo>
                    <a:cubicBezTo>
                      <a:pt x="295275" y="177165"/>
                      <a:pt x="296228" y="177165"/>
                      <a:pt x="297180" y="176213"/>
                    </a:cubicBezTo>
                    <a:cubicBezTo>
                      <a:pt x="296228" y="176213"/>
                      <a:pt x="295275" y="176213"/>
                      <a:pt x="295275" y="175260"/>
                    </a:cubicBezTo>
                    <a:cubicBezTo>
                      <a:pt x="297180" y="173355"/>
                      <a:pt x="299085" y="172403"/>
                      <a:pt x="301943" y="172403"/>
                    </a:cubicBezTo>
                    <a:cubicBezTo>
                      <a:pt x="300990" y="171450"/>
                      <a:pt x="300038" y="172403"/>
                      <a:pt x="300038" y="171450"/>
                    </a:cubicBezTo>
                    <a:cubicBezTo>
                      <a:pt x="300038" y="170498"/>
                      <a:pt x="300990" y="170498"/>
                      <a:pt x="300990" y="170498"/>
                    </a:cubicBezTo>
                    <a:lnTo>
                      <a:pt x="300990" y="170498"/>
                    </a:lnTo>
                    <a:cubicBezTo>
                      <a:pt x="300038" y="169545"/>
                      <a:pt x="300038" y="168592"/>
                      <a:pt x="300038" y="168592"/>
                    </a:cubicBezTo>
                    <a:cubicBezTo>
                      <a:pt x="302895" y="164783"/>
                      <a:pt x="302895" y="160020"/>
                      <a:pt x="304800" y="156210"/>
                    </a:cubicBezTo>
                    <a:cubicBezTo>
                      <a:pt x="303848" y="156210"/>
                      <a:pt x="303848" y="156210"/>
                      <a:pt x="303848" y="155258"/>
                    </a:cubicBezTo>
                    <a:cubicBezTo>
                      <a:pt x="299085" y="160973"/>
                      <a:pt x="290513" y="162878"/>
                      <a:pt x="282893" y="164783"/>
                    </a:cubicBezTo>
                    <a:lnTo>
                      <a:pt x="280035" y="164783"/>
                    </a:lnTo>
                    <a:cubicBezTo>
                      <a:pt x="277178" y="165735"/>
                      <a:pt x="274320" y="165735"/>
                      <a:pt x="271463" y="163830"/>
                    </a:cubicBezTo>
                    <a:cubicBezTo>
                      <a:pt x="269558" y="162878"/>
                      <a:pt x="268605" y="160973"/>
                      <a:pt x="266700" y="160020"/>
                    </a:cubicBezTo>
                    <a:cubicBezTo>
                      <a:pt x="262890" y="157163"/>
                      <a:pt x="258128" y="155258"/>
                      <a:pt x="254317" y="154305"/>
                    </a:cubicBezTo>
                    <a:cubicBezTo>
                      <a:pt x="240983" y="150495"/>
                      <a:pt x="227648" y="148590"/>
                      <a:pt x="215265" y="148590"/>
                    </a:cubicBezTo>
                    <a:cubicBezTo>
                      <a:pt x="220980" y="145733"/>
                      <a:pt x="226695" y="145733"/>
                      <a:pt x="233363" y="143828"/>
                    </a:cubicBezTo>
                    <a:cubicBezTo>
                      <a:pt x="241935" y="140970"/>
                      <a:pt x="250508" y="138113"/>
                      <a:pt x="259080" y="139065"/>
                    </a:cubicBezTo>
                    <a:cubicBezTo>
                      <a:pt x="257175" y="138113"/>
                      <a:pt x="255270" y="139065"/>
                      <a:pt x="254317" y="139065"/>
                    </a:cubicBezTo>
                    <a:cubicBezTo>
                      <a:pt x="246698" y="138113"/>
                      <a:pt x="240030" y="140970"/>
                      <a:pt x="232410" y="141923"/>
                    </a:cubicBezTo>
                    <a:cubicBezTo>
                      <a:pt x="227648" y="142875"/>
                      <a:pt x="222885" y="144780"/>
                      <a:pt x="217170" y="145733"/>
                    </a:cubicBezTo>
                    <a:cubicBezTo>
                      <a:pt x="214313" y="146685"/>
                      <a:pt x="212408" y="149542"/>
                      <a:pt x="208598" y="149542"/>
                    </a:cubicBezTo>
                    <a:lnTo>
                      <a:pt x="208598" y="147638"/>
                    </a:lnTo>
                    <a:cubicBezTo>
                      <a:pt x="213360" y="141923"/>
                      <a:pt x="220028" y="135255"/>
                      <a:pt x="227648" y="135255"/>
                    </a:cubicBezTo>
                    <a:cubicBezTo>
                      <a:pt x="237173" y="133350"/>
                      <a:pt x="245745" y="135255"/>
                      <a:pt x="254317" y="136208"/>
                    </a:cubicBezTo>
                    <a:cubicBezTo>
                      <a:pt x="260985" y="137160"/>
                      <a:pt x="266700" y="138113"/>
                      <a:pt x="273368" y="140017"/>
                    </a:cubicBezTo>
                    <a:cubicBezTo>
                      <a:pt x="276225" y="140017"/>
                      <a:pt x="276225" y="143828"/>
                      <a:pt x="278130" y="144780"/>
                    </a:cubicBezTo>
                    <a:cubicBezTo>
                      <a:pt x="280988" y="145733"/>
                      <a:pt x="283845" y="144780"/>
                      <a:pt x="287655" y="146685"/>
                    </a:cubicBezTo>
                    <a:cubicBezTo>
                      <a:pt x="287655" y="145733"/>
                      <a:pt x="286703" y="144780"/>
                      <a:pt x="287655" y="143828"/>
                    </a:cubicBezTo>
                    <a:cubicBezTo>
                      <a:pt x="289560" y="141923"/>
                      <a:pt x="292418" y="144780"/>
                      <a:pt x="294323" y="142875"/>
                    </a:cubicBezTo>
                    <a:cubicBezTo>
                      <a:pt x="298133" y="140017"/>
                      <a:pt x="290513" y="136208"/>
                      <a:pt x="288608" y="132398"/>
                    </a:cubicBezTo>
                    <a:cubicBezTo>
                      <a:pt x="288608" y="131445"/>
                      <a:pt x="289560" y="131445"/>
                      <a:pt x="289560" y="131445"/>
                    </a:cubicBezTo>
                    <a:cubicBezTo>
                      <a:pt x="293370" y="135255"/>
                      <a:pt x="296228" y="139065"/>
                      <a:pt x="301943" y="141923"/>
                    </a:cubicBezTo>
                    <a:cubicBezTo>
                      <a:pt x="304800" y="142875"/>
                      <a:pt x="310515" y="144780"/>
                      <a:pt x="309563" y="140970"/>
                    </a:cubicBezTo>
                    <a:cubicBezTo>
                      <a:pt x="306705" y="135255"/>
                      <a:pt x="301943" y="130492"/>
                      <a:pt x="298133" y="125730"/>
                    </a:cubicBezTo>
                    <a:lnTo>
                      <a:pt x="298133" y="123825"/>
                    </a:lnTo>
                    <a:cubicBezTo>
                      <a:pt x="297180" y="123825"/>
                      <a:pt x="297180" y="122873"/>
                      <a:pt x="296228" y="122873"/>
                    </a:cubicBezTo>
                    <a:lnTo>
                      <a:pt x="296228" y="120015"/>
                    </a:lnTo>
                    <a:cubicBezTo>
                      <a:pt x="294323" y="119063"/>
                      <a:pt x="294323" y="117158"/>
                      <a:pt x="293370" y="115253"/>
                    </a:cubicBezTo>
                    <a:cubicBezTo>
                      <a:pt x="291465" y="112395"/>
                      <a:pt x="292418" y="109538"/>
                      <a:pt x="291465" y="105728"/>
                    </a:cubicBezTo>
                    <a:cubicBezTo>
                      <a:pt x="291465" y="103823"/>
                      <a:pt x="291465" y="100965"/>
                      <a:pt x="290513" y="98108"/>
                    </a:cubicBezTo>
                    <a:cubicBezTo>
                      <a:pt x="288608" y="89535"/>
                      <a:pt x="286703" y="81915"/>
                      <a:pt x="285750" y="73342"/>
                    </a:cubicBezTo>
                    <a:cubicBezTo>
                      <a:pt x="284798" y="63817"/>
                      <a:pt x="291465" y="56197"/>
                      <a:pt x="296228" y="47625"/>
                    </a:cubicBezTo>
                    <a:cubicBezTo>
                      <a:pt x="300038" y="41910"/>
                      <a:pt x="303848" y="35242"/>
                      <a:pt x="310515" y="31433"/>
                    </a:cubicBezTo>
                    <a:cubicBezTo>
                      <a:pt x="312420" y="25718"/>
                      <a:pt x="316230" y="20003"/>
                      <a:pt x="320040" y="15240"/>
                    </a:cubicBezTo>
                    <a:cubicBezTo>
                      <a:pt x="323850" y="10478"/>
                      <a:pt x="330518" y="7620"/>
                      <a:pt x="336233" y="4763"/>
                    </a:cubicBezTo>
                    <a:cubicBezTo>
                      <a:pt x="342900" y="1905"/>
                      <a:pt x="349568" y="0"/>
                      <a:pt x="349568" y="0"/>
                    </a:cubicBezTo>
                    <a:lnTo>
                      <a:pt x="0" y="0"/>
                    </a:lnTo>
                    <a:lnTo>
                      <a:pt x="0" y="269558"/>
                    </a:lnTo>
                    <a:lnTo>
                      <a:pt x="247650" y="269558"/>
                    </a:lnTo>
                    <a:cubicBezTo>
                      <a:pt x="257175" y="262890"/>
                      <a:pt x="266700" y="259080"/>
                      <a:pt x="280988" y="252413"/>
                    </a:cubicBezTo>
                    <a:cubicBezTo>
                      <a:pt x="286703" y="249555"/>
                      <a:pt x="301943" y="242888"/>
                      <a:pt x="306705" y="237173"/>
                    </a:cubicBezTo>
                    <a:moveTo>
                      <a:pt x="227648" y="200978"/>
                    </a:moveTo>
                    <a:cubicBezTo>
                      <a:pt x="226695" y="200978"/>
                      <a:pt x="224790" y="201930"/>
                      <a:pt x="224790" y="200025"/>
                    </a:cubicBezTo>
                    <a:cubicBezTo>
                      <a:pt x="225742" y="197167"/>
                      <a:pt x="228600" y="197167"/>
                      <a:pt x="230505" y="196215"/>
                    </a:cubicBezTo>
                    <a:cubicBezTo>
                      <a:pt x="231458" y="195263"/>
                      <a:pt x="233363" y="194310"/>
                      <a:pt x="234315" y="195263"/>
                    </a:cubicBezTo>
                    <a:cubicBezTo>
                      <a:pt x="235267" y="197167"/>
                      <a:pt x="237173" y="196215"/>
                      <a:pt x="238125" y="197167"/>
                    </a:cubicBezTo>
                    <a:cubicBezTo>
                      <a:pt x="235267" y="200978"/>
                      <a:pt x="231458" y="200025"/>
                      <a:pt x="227648" y="200978"/>
                    </a:cubicBezTo>
                    <a:moveTo>
                      <a:pt x="149542" y="189548"/>
                    </a:moveTo>
                    <a:cubicBezTo>
                      <a:pt x="149542" y="189548"/>
                      <a:pt x="148590" y="188595"/>
                      <a:pt x="148590" y="188595"/>
                    </a:cubicBezTo>
                    <a:cubicBezTo>
                      <a:pt x="155258" y="180023"/>
                      <a:pt x="160020" y="171450"/>
                      <a:pt x="164783" y="162878"/>
                    </a:cubicBezTo>
                    <a:cubicBezTo>
                      <a:pt x="171450" y="159067"/>
                      <a:pt x="177165" y="154305"/>
                      <a:pt x="181928" y="148590"/>
                    </a:cubicBezTo>
                    <a:cubicBezTo>
                      <a:pt x="190500" y="139065"/>
                      <a:pt x="200025" y="131445"/>
                      <a:pt x="210503" y="125730"/>
                    </a:cubicBezTo>
                    <a:cubicBezTo>
                      <a:pt x="214313" y="123825"/>
                      <a:pt x="220028" y="124778"/>
                      <a:pt x="223838" y="126683"/>
                    </a:cubicBezTo>
                    <a:cubicBezTo>
                      <a:pt x="221933" y="128588"/>
                      <a:pt x="220028" y="128588"/>
                      <a:pt x="218123" y="129540"/>
                    </a:cubicBezTo>
                    <a:cubicBezTo>
                      <a:pt x="217170" y="129540"/>
                      <a:pt x="217170" y="129540"/>
                      <a:pt x="216217" y="128588"/>
                    </a:cubicBezTo>
                    <a:cubicBezTo>
                      <a:pt x="217170" y="127635"/>
                      <a:pt x="217170" y="127635"/>
                      <a:pt x="217170" y="126683"/>
                    </a:cubicBezTo>
                    <a:cubicBezTo>
                      <a:pt x="212408" y="132398"/>
                      <a:pt x="204788" y="135255"/>
                      <a:pt x="200978" y="141923"/>
                    </a:cubicBezTo>
                    <a:cubicBezTo>
                      <a:pt x="198120" y="146685"/>
                      <a:pt x="196215" y="153353"/>
                      <a:pt x="189548" y="155258"/>
                    </a:cubicBezTo>
                    <a:cubicBezTo>
                      <a:pt x="187642" y="156210"/>
                      <a:pt x="190500" y="153353"/>
                      <a:pt x="188595" y="154305"/>
                    </a:cubicBezTo>
                    <a:cubicBezTo>
                      <a:pt x="173355" y="164783"/>
                      <a:pt x="161925" y="176213"/>
                      <a:pt x="149542" y="189548"/>
                    </a:cubicBezTo>
                    <a:moveTo>
                      <a:pt x="192405" y="156210"/>
                    </a:moveTo>
                    <a:cubicBezTo>
                      <a:pt x="191453" y="157163"/>
                      <a:pt x="191453" y="157163"/>
                      <a:pt x="190500" y="158115"/>
                    </a:cubicBezTo>
                    <a:cubicBezTo>
                      <a:pt x="189548" y="159067"/>
                      <a:pt x="189548" y="160020"/>
                      <a:pt x="188595" y="160020"/>
                    </a:cubicBezTo>
                    <a:cubicBezTo>
                      <a:pt x="187642" y="160020"/>
                      <a:pt x="187642" y="160020"/>
                      <a:pt x="187642" y="159067"/>
                    </a:cubicBezTo>
                    <a:cubicBezTo>
                      <a:pt x="188595" y="157163"/>
                      <a:pt x="189548" y="155258"/>
                      <a:pt x="191453" y="154305"/>
                    </a:cubicBezTo>
                    <a:cubicBezTo>
                      <a:pt x="192405" y="155258"/>
                      <a:pt x="192405" y="155258"/>
                      <a:pt x="192405" y="156210"/>
                    </a:cubicBezTo>
                    <a:moveTo>
                      <a:pt x="216217" y="232410"/>
                    </a:moveTo>
                    <a:cubicBezTo>
                      <a:pt x="216217" y="233363"/>
                      <a:pt x="215265" y="233363"/>
                      <a:pt x="215265" y="234315"/>
                    </a:cubicBezTo>
                    <a:cubicBezTo>
                      <a:pt x="216217" y="234315"/>
                      <a:pt x="216217" y="234315"/>
                      <a:pt x="216217" y="235267"/>
                    </a:cubicBezTo>
                    <a:cubicBezTo>
                      <a:pt x="215265" y="236220"/>
                      <a:pt x="214313" y="237173"/>
                      <a:pt x="212408" y="238125"/>
                    </a:cubicBezTo>
                    <a:cubicBezTo>
                      <a:pt x="212408" y="238125"/>
                      <a:pt x="212408" y="238125"/>
                      <a:pt x="211455" y="238125"/>
                    </a:cubicBezTo>
                    <a:cubicBezTo>
                      <a:pt x="210503" y="239078"/>
                      <a:pt x="210503" y="239078"/>
                      <a:pt x="209550" y="240030"/>
                    </a:cubicBezTo>
                    <a:cubicBezTo>
                      <a:pt x="208598" y="240983"/>
                      <a:pt x="205740" y="240030"/>
                      <a:pt x="206692" y="239078"/>
                    </a:cubicBezTo>
                    <a:cubicBezTo>
                      <a:pt x="207645" y="238125"/>
                      <a:pt x="209550" y="236220"/>
                      <a:pt x="210503" y="235267"/>
                    </a:cubicBezTo>
                    <a:cubicBezTo>
                      <a:pt x="211455" y="234315"/>
                      <a:pt x="212408" y="234315"/>
                      <a:pt x="212408" y="233363"/>
                    </a:cubicBezTo>
                    <a:cubicBezTo>
                      <a:pt x="212408" y="233363"/>
                      <a:pt x="213360" y="232410"/>
                      <a:pt x="213360" y="232410"/>
                    </a:cubicBezTo>
                    <a:cubicBezTo>
                      <a:pt x="213360" y="231458"/>
                      <a:pt x="216217" y="231458"/>
                      <a:pt x="216217" y="232410"/>
                    </a:cubicBezTo>
                    <a:moveTo>
                      <a:pt x="206692" y="228600"/>
                    </a:moveTo>
                    <a:cubicBezTo>
                      <a:pt x="206692" y="228600"/>
                      <a:pt x="206692" y="228600"/>
                      <a:pt x="206692" y="228600"/>
                    </a:cubicBezTo>
                    <a:cubicBezTo>
                      <a:pt x="204788" y="230505"/>
                      <a:pt x="202883" y="231458"/>
                      <a:pt x="200978" y="232410"/>
                    </a:cubicBezTo>
                    <a:cubicBezTo>
                      <a:pt x="199073" y="233363"/>
                      <a:pt x="196215" y="234315"/>
                      <a:pt x="194310" y="235267"/>
                    </a:cubicBezTo>
                    <a:cubicBezTo>
                      <a:pt x="194310" y="235267"/>
                      <a:pt x="194310" y="235267"/>
                      <a:pt x="194310" y="235267"/>
                    </a:cubicBezTo>
                    <a:cubicBezTo>
                      <a:pt x="194310" y="235267"/>
                      <a:pt x="193358" y="235267"/>
                      <a:pt x="193358" y="235267"/>
                    </a:cubicBezTo>
                    <a:cubicBezTo>
                      <a:pt x="191453" y="236220"/>
                      <a:pt x="189548" y="238125"/>
                      <a:pt x="188595" y="239078"/>
                    </a:cubicBezTo>
                    <a:cubicBezTo>
                      <a:pt x="188595" y="239078"/>
                      <a:pt x="188595" y="239078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5738" y="241935"/>
                      <a:pt x="185738" y="241935"/>
                    </a:cubicBezTo>
                    <a:cubicBezTo>
                      <a:pt x="185738" y="241935"/>
                      <a:pt x="185738" y="242888"/>
                      <a:pt x="184785" y="242888"/>
                    </a:cubicBezTo>
                    <a:cubicBezTo>
                      <a:pt x="184785" y="242888"/>
                      <a:pt x="183833" y="242888"/>
                      <a:pt x="183833" y="242888"/>
                    </a:cubicBezTo>
                    <a:cubicBezTo>
                      <a:pt x="183833" y="242888"/>
                      <a:pt x="183833" y="242888"/>
                      <a:pt x="183833" y="242888"/>
                    </a:cubicBezTo>
                    <a:cubicBezTo>
                      <a:pt x="183833" y="242888"/>
                      <a:pt x="182880" y="242888"/>
                      <a:pt x="182880" y="242888"/>
                    </a:cubicBezTo>
                    <a:cubicBezTo>
                      <a:pt x="182880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0975" y="243840"/>
                      <a:pt x="180975" y="243840"/>
                      <a:pt x="180023" y="244792"/>
                    </a:cubicBezTo>
                    <a:cubicBezTo>
                      <a:pt x="179070" y="245745"/>
                      <a:pt x="178117" y="246698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8603"/>
                    </a:cubicBezTo>
                    <a:lnTo>
                      <a:pt x="177165" y="248603"/>
                    </a:ln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7650"/>
                      <a:pt x="177165" y="247650"/>
                    </a:cubicBezTo>
                    <a:lnTo>
                      <a:pt x="177165" y="247650"/>
                    </a:ln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8117" y="246698"/>
                      <a:pt x="178117" y="246698"/>
                      <a:pt x="179070" y="245745"/>
                    </a:cubicBezTo>
                    <a:cubicBezTo>
                      <a:pt x="179070" y="245745"/>
                      <a:pt x="179070" y="245745"/>
                      <a:pt x="179070" y="245745"/>
                    </a:cubicBezTo>
                    <a:cubicBezTo>
                      <a:pt x="179070" y="245745"/>
                      <a:pt x="179070" y="245745"/>
                      <a:pt x="180023" y="244792"/>
                    </a:cubicBezTo>
                    <a:cubicBezTo>
                      <a:pt x="180023" y="244792"/>
                      <a:pt x="180975" y="243840"/>
                      <a:pt x="180975" y="243840"/>
                    </a:cubicBezTo>
                    <a:cubicBezTo>
                      <a:pt x="180975" y="243840"/>
                      <a:pt x="180975" y="243840"/>
                      <a:pt x="180975" y="243840"/>
                    </a:cubicBezTo>
                    <a:cubicBezTo>
                      <a:pt x="181928" y="242888"/>
                      <a:pt x="181928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3833" y="240983"/>
                      <a:pt x="183833" y="240983"/>
                    </a:cubicBezTo>
                    <a:cubicBezTo>
                      <a:pt x="183833" y="240983"/>
                      <a:pt x="183833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8125"/>
                    </a:cubicBezTo>
                    <a:cubicBezTo>
                      <a:pt x="185738" y="238125"/>
                      <a:pt x="185738" y="238125"/>
                      <a:pt x="185738" y="238125"/>
                    </a:cubicBezTo>
                    <a:cubicBezTo>
                      <a:pt x="185738" y="238125"/>
                      <a:pt x="185738" y="237173"/>
                      <a:pt x="185738" y="237173"/>
                    </a:cubicBezTo>
                    <a:cubicBezTo>
                      <a:pt x="185738" y="237173"/>
                      <a:pt x="185738" y="237173"/>
                      <a:pt x="185738" y="237173"/>
                    </a:cubicBezTo>
                    <a:cubicBezTo>
                      <a:pt x="186690" y="236220"/>
                      <a:pt x="186690" y="235267"/>
                      <a:pt x="187642" y="234315"/>
                    </a:cubicBezTo>
                    <a:cubicBezTo>
                      <a:pt x="187642" y="234315"/>
                      <a:pt x="187642" y="234315"/>
                      <a:pt x="187642" y="234315"/>
                    </a:cubicBezTo>
                    <a:cubicBezTo>
                      <a:pt x="186690" y="234315"/>
                      <a:pt x="186690" y="235267"/>
                      <a:pt x="185738" y="236220"/>
                    </a:cubicBezTo>
                    <a:cubicBezTo>
                      <a:pt x="184785" y="236220"/>
                      <a:pt x="183833" y="236220"/>
                      <a:pt x="184785" y="235267"/>
                    </a:cubicBezTo>
                    <a:cubicBezTo>
                      <a:pt x="184785" y="235267"/>
                      <a:pt x="185738" y="234315"/>
                      <a:pt x="185738" y="234315"/>
                    </a:cubicBezTo>
                    <a:cubicBezTo>
                      <a:pt x="185738" y="234315"/>
                      <a:pt x="185738" y="234315"/>
                      <a:pt x="185738" y="234315"/>
                    </a:cubicBezTo>
                    <a:cubicBezTo>
                      <a:pt x="186690" y="233363"/>
                      <a:pt x="187642" y="232410"/>
                      <a:pt x="188595" y="231458"/>
                    </a:cubicBezTo>
                    <a:cubicBezTo>
                      <a:pt x="189548" y="231458"/>
                      <a:pt x="189548" y="230505"/>
                      <a:pt x="190500" y="230505"/>
                    </a:cubicBezTo>
                    <a:cubicBezTo>
                      <a:pt x="190500" y="230505"/>
                      <a:pt x="190500" y="230505"/>
                      <a:pt x="190500" y="230505"/>
                    </a:cubicBezTo>
                    <a:cubicBezTo>
                      <a:pt x="190500" y="230505"/>
                      <a:pt x="191453" y="229553"/>
                      <a:pt x="191453" y="229553"/>
                    </a:cubicBezTo>
                    <a:cubicBezTo>
                      <a:pt x="191453" y="229553"/>
                      <a:pt x="191453" y="229553"/>
                      <a:pt x="191453" y="229553"/>
                    </a:cubicBezTo>
                    <a:cubicBezTo>
                      <a:pt x="196215" y="224790"/>
                      <a:pt x="204788" y="224790"/>
                      <a:pt x="211455" y="221933"/>
                    </a:cubicBezTo>
                    <a:cubicBezTo>
                      <a:pt x="214313" y="220980"/>
                      <a:pt x="217170" y="222885"/>
                      <a:pt x="220028" y="221933"/>
                    </a:cubicBezTo>
                    <a:cubicBezTo>
                      <a:pt x="221933" y="221933"/>
                      <a:pt x="222885" y="221933"/>
                      <a:pt x="224790" y="222885"/>
                    </a:cubicBezTo>
                    <a:cubicBezTo>
                      <a:pt x="215265" y="222885"/>
                      <a:pt x="211455" y="225742"/>
                      <a:pt x="206692" y="228600"/>
                    </a:cubicBezTo>
                    <a:moveTo>
                      <a:pt x="217170" y="193358"/>
                    </a:moveTo>
                    <a:cubicBezTo>
                      <a:pt x="216217" y="192405"/>
                      <a:pt x="219075" y="193358"/>
                      <a:pt x="219075" y="192405"/>
                    </a:cubicBezTo>
                    <a:lnTo>
                      <a:pt x="215265" y="192405"/>
                    </a:lnTo>
                    <a:cubicBezTo>
                      <a:pt x="214313" y="192405"/>
                      <a:pt x="214313" y="191453"/>
                      <a:pt x="214313" y="191453"/>
                    </a:cubicBezTo>
                    <a:cubicBezTo>
                      <a:pt x="211455" y="192405"/>
                      <a:pt x="208598" y="193358"/>
                      <a:pt x="205740" y="193358"/>
                    </a:cubicBezTo>
                    <a:cubicBezTo>
                      <a:pt x="201930" y="194310"/>
                      <a:pt x="199073" y="197167"/>
                      <a:pt x="195263" y="198120"/>
                    </a:cubicBezTo>
                    <a:cubicBezTo>
                      <a:pt x="189548" y="200025"/>
                      <a:pt x="184785" y="204788"/>
                      <a:pt x="179070" y="206692"/>
                    </a:cubicBezTo>
                    <a:cubicBezTo>
                      <a:pt x="178117" y="206692"/>
                      <a:pt x="178117" y="205740"/>
                      <a:pt x="178117" y="205740"/>
                    </a:cubicBezTo>
                    <a:cubicBezTo>
                      <a:pt x="179070" y="203835"/>
                      <a:pt x="180975" y="203835"/>
                      <a:pt x="181928" y="201930"/>
                    </a:cubicBezTo>
                    <a:cubicBezTo>
                      <a:pt x="181928" y="200978"/>
                      <a:pt x="181928" y="200978"/>
                      <a:pt x="180975" y="200978"/>
                    </a:cubicBezTo>
                    <a:cubicBezTo>
                      <a:pt x="184785" y="195263"/>
                      <a:pt x="190500" y="192405"/>
                      <a:pt x="196215" y="187642"/>
                    </a:cubicBezTo>
                    <a:lnTo>
                      <a:pt x="196215" y="185738"/>
                    </a:lnTo>
                    <a:cubicBezTo>
                      <a:pt x="198120" y="183833"/>
                      <a:pt x="200025" y="182880"/>
                      <a:pt x="200978" y="180023"/>
                    </a:cubicBezTo>
                    <a:cubicBezTo>
                      <a:pt x="201930" y="178117"/>
                      <a:pt x="203835" y="176213"/>
                      <a:pt x="205740" y="175260"/>
                    </a:cubicBezTo>
                    <a:cubicBezTo>
                      <a:pt x="204788" y="174308"/>
                      <a:pt x="203835" y="174308"/>
                      <a:pt x="203835" y="173355"/>
                    </a:cubicBezTo>
                    <a:cubicBezTo>
                      <a:pt x="201930" y="173355"/>
                      <a:pt x="200025" y="174308"/>
                      <a:pt x="198120" y="172403"/>
                    </a:cubicBezTo>
                    <a:cubicBezTo>
                      <a:pt x="199073" y="171450"/>
                      <a:pt x="200025" y="170498"/>
                      <a:pt x="200978" y="170498"/>
                    </a:cubicBezTo>
                    <a:cubicBezTo>
                      <a:pt x="200978" y="170498"/>
                      <a:pt x="200025" y="170498"/>
                      <a:pt x="200025" y="169545"/>
                    </a:cubicBezTo>
                    <a:cubicBezTo>
                      <a:pt x="199073" y="168592"/>
                      <a:pt x="200978" y="167640"/>
                      <a:pt x="202883" y="166688"/>
                    </a:cubicBezTo>
                    <a:cubicBezTo>
                      <a:pt x="204788" y="165735"/>
                      <a:pt x="207645" y="165735"/>
                      <a:pt x="208598" y="164783"/>
                    </a:cubicBezTo>
                    <a:cubicBezTo>
                      <a:pt x="204788" y="163830"/>
                      <a:pt x="200978" y="165735"/>
                      <a:pt x="197167" y="163830"/>
                    </a:cubicBezTo>
                    <a:cubicBezTo>
                      <a:pt x="200025" y="157163"/>
                      <a:pt x="203835" y="151448"/>
                      <a:pt x="209550" y="148590"/>
                    </a:cubicBezTo>
                    <a:cubicBezTo>
                      <a:pt x="210503" y="148590"/>
                      <a:pt x="211455" y="148590"/>
                      <a:pt x="211455" y="149542"/>
                    </a:cubicBezTo>
                    <a:cubicBezTo>
                      <a:pt x="211455" y="152400"/>
                      <a:pt x="209550" y="154305"/>
                      <a:pt x="207645" y="154305"/>
                    </a:cubicBezTo>
                    <a:cubicBezTo>
                      <a:pt x="211455" y="155258"/>
                      <a:pt x="216217" y="155258"/>
                      <a:pt x="220028" y="157163"/>
                    </a:cubicBezTo>
                    <a:cubicBezTo>
                      <a:pt x="219075" y="158115"/>
                      <a:pt x="218123" y="158115"/>
                      <a:pt x="218123" y="158115"/>
                    </a:cubicBezTo>
                    <a:cubicBezTo>
                      <a:pt x="220980" y="160020"/>
                      <a:pt x="223838" y="159067"/>
                      <a:pt x="226695" y="160973"/>
                    </a:cubicBezTo>
                    <a:cubicBezTo>
                      <a:pt x="224790" y="162878"/>
                      <a:pt x="223838" y="160973"/>
                      <a:pt x="221933" y="160973"/>
                    </a:cubicBezTo>
                    <a:cubicBezTo>
                      <a:pt x="238125" y="165735"/>
                      <a:pt x="254317" y="169545"/>
                      <a:pt x="267653" y="179070"/>
                    </a:cubicBezTo>
                    <a:cubicBezTo>
                      <a:pt x="256223" y="184785"/>
                      <a:pt x="244792" y="187642"/>
                      <a:pt x="232410" y="189548"/>
                    </a:cubicBezTo>
                    <a:cubicBezTo>
                      <a:pt x="230505" y="189548"/>
                      <a:pt x="229553" y="189548"/>
                      <a:pt x="228600" y="188595"/>
                    </a:cubicBezTo>
                    <a:cubicBezTo>
                      <a:pt x="228600" y="189548"/>
                      <a:pt x="228600" y="190500"/>
                      <a:pt x="227648" y="190500"/>
                    </a:cubicBezTo>
                    <a:cubicBezTo>
                      <a:pt x="225742" y="190500"/>
                      <a:pt x="223838" y="190500"/>
                      <a:pt x="222885" y="191453"/>
                    </a:cubicBezTo>
                    <a:cubicBezTo>
                      <a:pt x="221933" y="194310"/>
                      <a:pt x="219075" y="194310"/>
                      <a:pt x="217170" y="193358"/>
                    </a:cubicBezTo>
                  </a:path>
                </a:pathLst>
              </a:custGeom>
              <a:solidFill>
                <a:srgbClr val="0000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7" name="Forme libre : forme 16">
                <a:extLst>
                  <a:ext uri="{FF2B5EF4-FFF2-40B4-BE49-F238E27FC236}">
                    <a16:creationId xmlns:a16="http://schemas.microsoft.com/office/drawing/2014/main" id="{41FC6F51-0348-4282-861C-87E9A6355D24}"/>
                  </a:ext>
                </a:extLst>
              </p:cNvPr>
              <p:cNvSpPr/>
              <p:nvPr/>
            </p:nvSpPr>
            <p:spPr>
              <a:xfrm>
                <a:off x="687476" y="269557"/>
                <a:ext cx="327888" cy="269557"/>
              </a:xfrm>
              <a:custGeom>
                <a:avLst/>
                <a:gdLst>
                  <a:gd name="connsiteX0" fmla="*/ 325031 w 327888"/>
                  <a:gd name="connsiteY0" fmla="*/ 0 h 269557"/>
                  <a:gd name="connsiteX1" fmla="*/ 34519 w 327888"/>
                  <a:gd name="connsiteY1" fmla="*/ 0 h 269557"/>
                  <a:gd name="connsiteX2" fmla="*/ 37376 w 327888"/>
                  <a:gd name="connsiteY2" fmla="*/ 953 h 269557"/>
                  <a:gd name="connsiteX3" fmla="*/ 44996 w 327888"/>
                  <a:gd name="connsiteY3" fmla="*/ 4763 h 269557"/>
                  <a:gd name="connsiteX4" fmla="*/ 54521 w 327888"/>
                  <a:gd name="connsiteY4" fmla="*/ 13335 h 269557"/>
                  <a:gd name="connsiteX5" fmla="*/ 56426 w 327888"/>
                  <a:gd name="connsiteY5" fmla="*/ 20003 h 269557"/>
                  <a:gd name="connsiteX6" fmla="*/ 52616 w 327888"/>
                  <a:gd name="connsiteY6" fmla="*/ 27623 h 269557"/>
                  <a:gd name="connsiteX7" fmla="*/ 42139 w 327888"/>
                  <a:gd name="connsiteY7" fmla="*/ 28575 h 269557"/>
                  <a:gd name="connsiteX8" fmla="*/ 36424 w 327888"/>
                  <a:gd name="connsiteY8" fmla="*/ 27623 h 269557"/>
                  <a:gd name="connsiteX9" fmla="*/ 56426 w 327888"/>
                  <a:gd name="connsiteY9" fmla="*/ 40957 h 269557"/>
                  <a:gd name="connsiteX10" fmla="*/ 61189 w 327888"/>
                  <a:gd name="connsiteY10" fmla="*/ 42863 h 269557"/>
                  <a:gd name="connsiteX11" fmla="*/ 62141 w 327888"/>
                  <a:gd name="connsiteY11" fmla="*/ 44768 h 269557"/>
                  <a:gd name="connsiteX12" fmla="*/ 60236 w 327888"/>
                  <a:gd name="connsiteY12" fmla="*/ 47625 h 269557"/>
                  <a:gd name="connsiteX13" fmla="*/ 62141 w 327888"/>
                  <a:gd name="connsiteY13" fmla="*/ 47625 h 269557"/>
                  <a:gd name="connsiteX14" fmla="*/ 67856 w 327888"/>
                  <a:gd name="connsiteY14" fmla="*/ 42863 h 269557"/>
                  <a:gd name="connsiteX15" fmla="*/ 69761 w 327888"/>
                  <a:gd name="connsiteY15" fmla="*/ 50482 h 269557"/>
                  <a:gd name="connsiteX16" fmla="*/ 64046 w 327888"/>
                  <a:gd name="connsiteY16" fmla="*/ 55245 h 269557"/>
                  <a:gd name="connsiteX17" fmla="*/ 64046 w 327888"/>
                  <a:gd name="connsiteY17" fmla="*/ 59055 h 269557"/>
                  <a:gd name="connsiteX18" fmla="*/ 66904 w 327888"/>
                  <a:gd name="connsiteY18" fmla="*/ 64770 h 269557"/>
                  <a:gd name="connsiteX19" fmla="*/ 70714 w 327888"/>
                  <a:gd name="connsiteY19" fmla="*/ 76200 h 269557"/>
                  <a:gd name="connsiteX20" fmla="*/ 74524 w 327888"/>
                  <a:gd name="connsiteY20" fmla="*/ 99060 h 269557"/>
                  <a:gd name="connsiteX21" fmla="*/ 73571 w 327888"/>
                  <a:gd name="connsiteY21" fmla="*/ 110490 h 269557"/>
                  <a:gd name="connsiteX22" fmla="*/ 79286 w 327888"/>
                  <a:gd name="connsiteY22" fmla="*/ 120968 h 269557"/>
                  <a:gd name="connsiteX23" fmla="*/ 85001 w 327888"/>
                  <a:gd name="connsiteY23" fmla="*/ 129540 h 269557"/>
                  <a:gd name="connsiteX24" fmla="*/ 90716 w 327888"/>
                  <a:gd name="connsiteY24" fmla="*/ 145733 h 269557"/>
                  <a:gd name="connsiteX25" fmla="*/ 80239 w 327888"/>
                  <a:gd name="connsiteY25" fmla="*/ 150495 h 269557"/>
                  <a:gd name="connsiteX26" fmla="*/ 81191 w 327888"/>
                  <a:gd name="connsiteY26" fmla="*/ 160020 h 269557"/>
                  <a:gd name="connsiteX27" fmla="*/ 74524 w 327888"/>
                  <a:gd name="connsiteY27" fmla="*/ 169545 h 269557"/>
                  <a:gd name="connsiteX28" fmla="*/ 78334 w 327888"/>
                  <a:gd name="connsiteY28" fmla="*/ 171450 h 269557"/>
                  <a:gd name="connsiteX29" fmla="*/ 80239 w 327888"/>
                  <a:gd name="connsiteY29" fmla="*/ 178118 h 269557"/>
                  <a:gd name="connsiteX30" fmla="*/ 75476 w 327888"/>
                  <a:gd name="connsiteY30" fmla="*/ 187643 h 269557"/>
                  <a:gd name="connsiteX31" fmla="*/ 74524 w 327888"/>
                  <a:gd name="connsiteY31" fmla="*/ 199073 h 269557"/>
                  <a:gd name="connsiteX32" fmla="*/ 64999 w 327888"/>
                  <a:gd name="connsiteY32" fmla="*/ 206693 h 269557"/>
                  <a:gd name="connsiteX33" fmla="*/ 55474 w 327888"/>
                  <a:gd name="connsiteY33" fmla="*/ 207645 h 269557"/>
                  <a:gd name="connsiteX34" fmla="*/ 49759 w 327888"/>
                  <a:gd name="connsiteY34" fmla="*/ 206693 h 269557"/>
                  <a:gd name="connsiteX35" fmla="*/ 24041 w 327888"/>
                  <a:gd name="connsiteY35" fmla="*/ 202883 h 269557"/>
                  <a:gd name="connsiteX36" fmla="*/ 17374 w 327888"/>
                  <a:gd name="connsiteY36" fmla="*/ 204788 h 269557"/>
                  <a:gd name="connsiteX37" fmla="*/ 11659 w 327888"/>
                  <a:gd name="connsiteY37" fmla="*/ 210503 h 269557"/>
                  <a:gd name="connsiteX38" fmla="*/ 11659 w 327888"/>
                  <a:gd name="connsiteY38" fmla="*/ 210503 h 269557"/>
                  <a:gd name="connsiteX39" fmla="*/ 10706 w 327888"/>
                  <a:gd name="connsiteY39" fmla="*/ 211455 h 269557"/>
                  <a:gd name="connsiteX40" fmla="*/ 9754 w 327888"/>
                  <a:gd name="connsiteY40" fmla="*/ 212408 h 269557"/>
                  <a:gd name="connsiteX41" fmla="*/ 9754 w 327888"/>
                  <a:gd name="connsiteY41" fmla="*/ 213360 h 269557"/>
                  <a:gd name="connsiteX42" fmla="*/ 5944 w 327888"/>
                  <a:gd name="connsiteY42" fmla="*/ 219075 h 269557"/>
                  <a:gd name="connsiteX43" fmla="*/ 5944 w 327888"/>
                  <a:gd name="connsiteY43" fmla="*/ 219075 h 269557"/>
                  <a:gd name="connsiteX44" fmla="*/ 5944 w 327888"/>
                  <a:gd name="connsiteY44" fmla="*/ 220028 h 269557"/>
                  <a:gd name="connsiteX45" fmla="*/ 2134 w 327888"/>
                  <a:gd name="connsiteY45" fmla="*/ 229553 h 269557"/>
                  <a:gd name="connsiteX46" fmla="*/ 3086 w 327888"/>
                  <a:gd name="connsiteY46" fmla="*/ 253365 h 269557"/>
                  <a:gd name="connsiteX47" fmla="*/ 30709 w 327888"/>
                  <a:gd name="connsiteY47" fmla="*/ 263843 h 269557"/>
                  <a:gd name="connsiteX48" fmla="*/ 43091 w 327888"/>
                  <a:gd name="connsiteY48" fmla="*/ 269558 h 269557"/>
                  <a:gd name="connsiteX49" fmla="*/ 327889 w 327888"/>
                  <a:gd name="connsiteY49" fmla="*/ 269558 h 269557"/>
                  <a:gd name="connsiteX50" fmla="*/ 327889 w 327888"/>
                  <a:gd name="connsiteY50" fmla="*/ 0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327888" h="269557">
                    <a:moveTo>
                      <a:pt x="325031" y="0"/>
                    </a:moveTo>
                    <a:lnTo>
                      <a:pt x="34519" y="0"/>
                    </a:lnTo>
                    <a:cubicBezTo>
                      <a:pt x="34519" y="0"/>
                      <a:pt x="35471" y="0"/>
                      <a:pt x="37376" y="953"/>
                    </a:cubicBezTo>
                    <a:cubicBezTo>
                      <a:pt x="39281" y="1905"/>
                      <a:pt x="43091" y="3810"/>
                      <a:pt x="44996" y="4763"/>
                    </a:cubicBezTo>
                    <a:cubicBezTo>
                      <a:pt x="48806" y="6668"/>
                      <a:pt x="52616" y="9525"/>
                      <a:pt x="54521" y="13335"/>
                    </a:cubicBezTo>
                    <a:cubicBezTo>
                      <a:pt x="55474" y="15240"/>
                      <a:pt x="57379" y="18098"/>
                      <a:pt x="56426" y="20003"/>
                    </a:cubicBezTo>
                    <a:cubicBezTo>
                      <a:pt x="55474" y="22860"/>
                      <a:pt x="54521" y="26670"/>
                      <a:pt x="52616" y="27623"/>
                    </a:cubicBezTo>
                    <a:cubicBezTo>
                      <a:pt x="49759" y="29528"/>
                      <a:pt x="45949" y="29528"/>
                      <a:pt x="42139" y="28575"/>
                    </a:cubicBezTo>
                    <a:cubicBezTo>
                      <a:pt x="40234" y="28575"/>
                      <a:pt x="38329" y="27623"/>
                      <a:pt x="36424" y="27623"/>
                    </a:cubicBezTo>
                    <a:cubicBezTo>
                      <a:pt x="44044" y="30480"/>
                      <a:pt x="51664" y="34290"/>
                      <a:pt x="56426" y="40957"/>
                    </a:cubicBezTo>
                    <a:cubicBezTo>
                      <a:pt x="57379" y="41910"/>
                      <a:pt x="59284" y="42863"/>
                      <a:pt x="61189" y="42863"/>
                    </a:cubicBezTo>
                    <a:cubicBezTo>
                      <a:pt x="62141" y="42863"/>
                      <a:pt x="62141" y="43815"/>
                      <a:pt x="62141" y="44768"/>
                    </a:cubicBezTo>
                    <a:cubicBezTo>
                      <a:pt x="61189" y="45720"/>
                      <a:pt x="60236" y="46673"/>
                      <a:pt x="60236" y="47625"/>
                    </a:cubicBezTo>
                    <a:lnTo>
                      <a:pt x="62141" y="47625"/>
                    </a:lnTo>
                    <a:cubicBezTo>
                      <a:pt x="64999" y="46673"/>
                      <a:pt x="64046" y="41910"/>
                      <a:pt x="67856" y="42863"/>
                    </a:cubicBezTo>
                    <a:cubicBezTo>
                      <a:pt x="70714" y="44768"/>
                      <a:pt x="71666" y="47625"/>
                      <a:pt x="69761" y="50482"/>
                    </a:cubicBezTo>
                    <a:cubicBezTo>
                      <a:pt x="67856" y="52388"/>
                      <a:pt x="65951" y="54293"/>
                      <a:pt x="64046" y="55245"/>
                    </a:cubicBezTo>
                    <a:cubicBezTo>
                      <a:pt x="63094" y="56198"/>
                      <a:pt x="63094" y="58103"/>
                      <a:pt x="64046" y="59055"/>
                    </a:cubicBezTo>
                    <a:cubicBezTo>
                      <a:pt x="65951" y="60960"/>
                      <a:pt x="65951" y="62865"/>
                      <a:pt x="66904" y="64770"/>
                    </a:cubicBezTo>
                    <a:cubicBezTo>
                      <a:pt x="68809" y="68580"/>
                      <a:pt x="68809" y="72390"/>
                      <a:pt x="70714" y="76200"/>
                    </a:cubicBezTo>
                    <a:cubicBezTo>
                      <a:pt x="72619" y="83820"/>
                      <a:pt x="74524" y="91440"/>
                      <a:pt x="74524" y="99060"/>
                    </a:cubicBezTo>
                    <a:cubicBezTo>
                      <a:pt x="74524" y="102870"/>
                      <a:pt x="72619" y="106680"/>
                      <a:pt x="73571" y="110490"/>
                    </a:cubicBezTo>
                    <a:cubicBezTo>
                      <a:pt x="74524" y="114300"/>
                      <a:pt x="77381" y="118110"/>
                      <a:pt x="79286" y="120968"/>
                    </a:cubicBezTo>
                    <a:cubicBezTo>
                      <a:pt x="81191" y="123825"/>
                      <a:pt x="83096" y="125730"/>
                      <a:pt x="85001" y="129540"/>
                    </a:cubicBezTo>
                    <a:cubicBezTo>
                      <a:pt x="87859" y="134303"/>
                      <a:pt x="93574" y="140018"/>
                      <a:pt x="90716" y="145733"/>
                    </a:cubicBezTo>
                    <a:cubicBezTo>
                      <a:pt x="88811" y="149543"/>
                      <a:pt x="83096" y="148590"/>
                      <a:pt x="80239" y="150495"/>
                    </a:cubicBezTo>
                    <a:cubicBezTo>
                      <a:pt x="77381" y="153353"/>
                      <a:pt x="79286" y="157163"/>
                      <a:pt x="81191" y="160020"/>
                    </a:cubicBezTo>
                    <a:cubicBezTo>
                      <a:pt x="84049" y="164783"/>
                      <a:pt x="78334" y="167640"/>
                      <a:pt x="74524" y="169545"/>
                    </a:cubicBezTo>
                    <a:cubicBezTo>
                      <a:pt x="75476" y="171450"/>
                      <a:pt x="77381" y="170498"/>
                      <a:pt x="78334" y="171450"/>
                    </a:cubicBezTo>
                    <a:cubicBezTo>
                      <a:pt x="79286" y="174308"/>
                      <a:pt x="81191" y="175260"/>
                      <a:pt x="80239" y="178118"/>
                    </a:cubicBezTo>
                    <a:cubicBezTo>
                      <a:pt x="78334" y="180975"/>
                      <a:pt x="71666" y="182880"/>
                      <a:pt x="75476" y="187643"/>
                    </a:cubicBezTo>
                    <a:cubicBezTo>
                      <a:pt x="77381" y="191453"/>
                      <a:pt x="76429" y="195263"/>
                      <a:pt x="74524" y="199073"/>
                    </a:cubicBezTo>
                    <a:cubicBezTo>
                      <a:pt x="72619" y="203835"/>
                      <a:pt x="68809" y="205740"/>
                      <a:pt x="64999" y="206693"/>
                    </a:cubicBezTo>
                    <a:cubicBezTo>
                      <a:pt x="62141" y="207645"/>
                      <a:pt x="58331" y="207645"/>
                      <a:pt x="55474" y="207645"/>
                    </a:cubicBezTo>
                    <a:cubicBezTo>
                      <a:pt x="51664" y="206693"/>
                      <a:pt x="50711" y="206693"/>
                      <a:pt x="49759" y="206693"/>
                    </a:cubicBezTo>
                    <a:cubicBezTo>
                      <a:pt x="41186" y="205740"/>
                      <a:pt x="32614" y="202883"/>
                      <a:pt x="24041" y="202883"/>
                    </a:cubicBezTo>
                    <a:cubicBezTo>
                      <a:pt x="21184" y="203835"/>
                      <a:pt x="19279" y="203835"/>
                      <a:pt x="17374" y="204788"/>
                    </a:cubicBezTo>
                    <a:cubicBezTo>
                      <a:pt x="15469" y="206693"/>
                      <a:pt x="12611" y="208598"/>
                      <a:pt x="11659" y="210503"/>
                    </a:cubicBezTo>
                    <a:cubicBezTo>
                      <a:pt x="11659" y="210503"/>
                      <a:pt x="11659" y="210503"/>
                      <a:pt x="11659" y="210503"/>
                    </a:cubicBezTo>
                    <a:cubicBezTo>
                      <a:pt x="11659" y="210503"/>
                      <a:pt x="10706" y="211455"/>
                      <a:pt x="10706" y="211455"/>
                    </a:cubicBezTo>
                    <a:cubicBezTo>
                      <a:pt x="10706" y="211455"/>
                      <a:pt x="10706" y="212408"/>
                      <a:pt x="9754" y="212408"/>
                    </a:cubicBezTo>
                    <a:cubicBezTo>
                      <a:pt x="9754" y="212408"/>
                      <a:pt x="9754" y="212408"/>
                      <a:pt x="9754" y="213360"/>
                    </a:cubicBezTo>
                    <a:cubicBezTo>
                      <a:pt x="7849" y="215265"/>
                      <a:pt x="6896" y="217170"/>
                      <a:pt x="5944" y="219075"/>
                    </a:cubicBezTo>
                    <a:cubicBezTo>
                      <a:pt x="5944" y="219075"/>
                      <a:pt x="5944" y="219075"/>
                      <a:pt x="5944" y="219075"/>
                    </a:cubicBezTo>
                    <a:cubicBezTo>
                      <a:pt x="5944" y="219075"/>
                      <a:pt x="5944" y="220028"/>
                      <a:pt x="5944" y="220028"/>
                    </a:cubicBezTo>
                    <a:cubicBezTo>
                      <a:pt x="4039" y="222885"/>
                      <a:pt x="3086" y="226695"/>
                      <a:pt x="2134" y="229553"/>
                    </a:cubicBezTo>
                    <a:cubicBezTo>
                      <a:pt x="-1676" y="240983"/>
                      <a:pt x="229" y="251460"/>
                      <a:pt x="3086" y="253365"/>
                    </a:cubicBezTo>
                    <a:cubicBezTo>
                      <a:pt x="4039" y="254318"/>
                      <a:pt x="20231" y="259080"/>
                      <a:pt x="30709" y="263843"/>
                    </a:cubicBezTo>
                    <a:cubicBezTo>
                      <a:pt x="36424" y="265748"/>
                      <a:pt x="39281" y="267653"/>
                      <a:pt x="43091" y="269558"/>
                    </a:cubicBezTo>
                    <a:lnTo>
                      <a:pt x="327889" y="269558"/>
                    </a:lnTo>
                    <a:lnTo>
                      <a:pt x="327889" y="0"/>
                    </a:lnTo>
                    <a:close/>
                  </a:path>
                </a:pathLst>
              </a:custGeom>
              <a:solidFill>
                <a:srgbClr val="E1000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8" name="Forme libre : forme 17">
                <a:extLst>
                  <a:ext uri="{FF2B5EF4-FFF2-40B4-BE49-F238E27FC236}">
                    <a16:creationId xmlns:a16="http://schemas.microsoft.com/office/drawing/2014/main" id="{C721A0DA-2CD2-4A93-9D0C-C1DEBB82B2D7}"/>
                  </a:ext>
                </a:extLst>
              </p:cNvPr>
              <p:cNvSpPr/>
              <p:nvPr/>
            </p:nvSpPr>
            <p:spPr>
              <a:xfrm>
                <a:off x="717232" y="362507"/>
                <a:ext cx="33524" cy="30636"/>
              </a:xfrm>
              <a:custGeom>
                <a:avLst/>
                <a:gdLst>
                  <a:gd name="connsiteX0" fmla="*/ 21907 w 33524"/>
                  <a:gd name="connsiteY0" fmla="*/ 6110 h 30636"/>
                  <a:gd name="connsiteX1" fmla="*/ 26670 w 33524"/>
                  <a:gd name="connsiteY1" fmla="*/ 8015 h 30636"/>
                  <a:gd name="connsiteX2" fmla="*/ 16192 w 33524"/>
                  <a:gd name="connsiteY2" fmla="*/ 17540 h 30636"/>
                  <a:gd name="connsiteX3" fmla="*/ 14288 w 33524"/>
                  <a:gd name="connsiteY3" fmla="*/ 17540 h 30636"/>
                  <a:gd name="connsiteX4" fmla="*/ 11430 w 33524"/>
                  <a:gd name="connsiteY4" fmla="*/ 21350 h 30636"/>
                  <a:gd name="connsiteX5" fmla="*/ 6667 w 33524"/>
                  <a:gd name="connsiteY5" fmla="*/ 22302 h 30636"/>
                  <a:gd name="connsiteX6" fmla="*/ 14288 w 33524"/>
                  <a:gd name="connsiteY6" fmla="*/ 25160 h 30636"/>
                  <a:gd name="connsiteX7" fmla="*/ 16192 w 33524"/>
                  <a:gd name="connsiteY7" fmla="*/ 27065 h 30636"/>
                  <a:gd name="connsiteX8" fmla="*/ 17145 w 33524"/>
                  <a:gd name="connsiteY8" fmla="*/ 26112 h 30636"/>
                  <a:gd name="connsiteX9" fmla="*/ 18097 w 33524"/>
                  <a:gd name="connsiteY9" fmla="*/ 27065 h 30636"/>
                  <a:gd name="connsiteX10" fmla="*/ 18097 w 33524"/>
                  <a:gd name="connsiteY10" fmla="*/ 28017 h 30636"/>
                  <a:gd name="connsiteX11" fmla="*/ 12382 w 33524"/>
                  <a:gd name="connsiteY11" fmla="*/ 29922 h 30636"/>
                  <a:gd name="connsiteX12" fmla="*/ 23813 w 33524"/>
                  <a:gd name="connsiteY12" fmla="*/ 29922 h 30636"/>
                  <a:gd name="connsiteX13" fmla="*/ 25717 w 33524"/>
                  <a:gd name="connsiteY13" fmla="*/ 21350 h 30636"/>
                  <a:gd name="connsiteX14" fmla="*/ 24765 w 33524"/>
                  <a:gd name="connsiteY14" fmla="*/ 19445 h 30636"/>
                  <a:gd name="connsiteX15" fmla="*/ 27622 w 33524"/>
                  <a:gd name="connsiteY15" fmla="*/ 16587 h 30636"/>
                  <a:gd name="connsiteX16" fmla="*/ 30480 w 33524"/>
                  <a:gd name="connsiteY16" fmla="*/ 14682 h 30636"/>
                  <a:gd name="connsiteX17" fmla="*/ 28575 w 33524"/>
                  <a:gd name="connsiteY17" fmla="*/ 11825 h 30636"/>
                  <a:gd name="connsiteX18" fmla="*/ 33338 w 33524"/>
                  <a:gd name="connsiteY18" fmla="*/ 3252 h 30636"/>
                  <a:gd name="connsiteX19" fmla="*/ 25717 w 33524"/>
                  <a:gd name="connsiteY19" fmla="*/ 395 h 30636"/>
                  <a:gd name="connsiteX20" fmla="*/ 17145 w 33524"/>
                  <a:gd name="connsiteY20" fmla="*/ 1347 h 30636"/>
                  <a:gd name="connsiteX21" fmla="*/ 9525 w 33524"/>
                  <a:gd name="connsiteY21" fmla="*/ 3252 h 30636"/>
                  <a:gd name="connsiteX22" fmla="*/ 0 w 33524"/>
                  <a:gd name="connsiteY22" fmla="*/ 8015 h 30636"/>
                  <a:gd name="connsiteX23" fmla="*/ 11430 w 33524"/>
                  <a:gd name="connsiteY23" fmla="*/ 5157 h 30636"/>
                  <a:gd name="connsiteX24" fmla="*/ 21907 w 33524"/>
                  <a:gd name="connsiteY24" fmla="*/ 6110 h 3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3524" h="30636">
                    <a:moveTo>
                      <a:pt x="21907" y="6110"/>
                    </a:moveTo>
                    <a:cubicBezTo>
                      <a:pt x="23813" y="7062"/>
                      <a:pt x="26670" y="7062"/>
                      <a:pt x="26670" y="8015"/>
                    </a:cubicBezTo>
                    <a:cubicBezTo>
                      <a:pt x="25717" y="11825"/>
                      <a:pt x="20002" y="12777"/>
                      <a:pt x="16192" y="17540"/>
                    </a:cubicBezTo>
                    <a:lnTo>
                      <a:pt x="14288" y="17540"/>
                    </a:lnTo>
                    <a:cubicBezTo>
                      <a:pt x="12382" y="18492"/>
                      <a:pt x="13335" y="21350"/>
                      <a:pt x="11430" y="21350"/>
                    </a:cubicBezTo>
                    <a:cubicBezTo>
                      <a:pt x="9525" y="20397"/>
                      <a:pt x="8572" y="21350"/>
                      <a:pt x="6667" y="22302"/>
                    </a:cubicBezTo>
                    <a:cubicBezTo>
                      <a:pt x="8572" y="24207"/>
                      <a:pt x="11430" y="26112"/>
                      <a:pt x="14288" y="25160"/>
                    </a:cubicBezTo>
                    <a:cubicBezTo>
                      <a:pt x="15240" y="25160"/>
                      <a:pt x="16192" y="26112"/>
                      <a:pt x="16192" y="27065"/>
                    </a:cubicBezTo>
                    <a:cubicBezTo>
                      <a:pt x="16192" y="27065"/>
                      <a:pt x="17145" y="27065"/>
                      <a:pt x="17145" y="26112"/>
                    </a:cubicBezTo>
                    <a:cubicBezTo>
                      <a:pt x="18097" y="26112"/>
                      <a:pt x="18097" y="26112"/>
                      <a:pt x="18097" y="27065"/>
                    </a:cubicBezTo>
                    <a:lnTo>
                      <a:pt x="18097" y="28017"/>
                    </a:lnTo>
                    <a:cubicBezTo>
                      <a:pt x="16192" y="29922"/>
                      <a:pt x="14288" y="28970"/>
                      <a:pt x="12382" y="29922"/>
                    </a:cubicBezTo>
                    <a:cubicBezTo>
                      <a:pt x="16192" y="30875"/>
                      <a:pt x="20955" y="30875"/>
                      <a:pt x="23813" y="29922"/>
                    </a:cubicBezTo>
                    <a:cubicBezTo>
                      <a:pt x="26670" y="28970"/>
                      <a:pt x="23813" y="24207"/>
                      <a:pt x="25717" y="21350"/>
                    </a:cubicBezTo>
                    <a:cubicBezTo>
                      <a:pt x="24765" y="21350"/>
                      <a:pt x="25717" y="19445"/>
                      <a:pt x="24765" y="19445"/>
                    </a:cubicBezTo>
                    <a:cubicBezTo>
                      <a:pt x="25717" y="18492"/>
                      <a:pt x="26670" y="16587"/>
                      <a:pt x="27622" y="16587"/>
                    </a:cubicBezTo>
                    <a:cubicBezTo>
                      <a:pt x="28575" y="16587"/>
                      <a:pt x="30480" y="15635"/>
                      <a:pt x="30480" y="14682"/>
                    </a:cubicBezTo>
                    <a:cubicBezTo>
                      <a:pt x="30480" y="13730"/>
                      <a:pt x="28575" y="12777"/>
                      <a:pt x="28575" y="11825"/>
                    </a:cubicBezTo>
                    <a:cubicBezTo>
                      <a:pt x="31432" y="9920"/>
                      <a:pt x="34290" y="7062"/>
                      <a:pt x="33338" y="3252"/>
                    </a:cubicBezTo>
                    <a:cubicBezTo>
                      <a:pt x="32385" y="1347"/>
                      <a:pt x="28575" y="1347"/>
                      <a:pt x="25717" y="395"/>
                    </a:cubicBezTo>
                    <a:cubicBezTo>
                      <a:pt x="22860" y="-558"/>
                      <a:pt x="20002" y="395"/>
                      <a:pt x="17145" y="1347"/>
                    </a:cubicBezTo>
                    <a:cubicBezTo>
                      <a:pt x="14288" y="1347"/>
                      <a:pt x="12382" y="3252"/>
                      <a:pt x="9525" y="3252"/>
                    </a:cubicBezTo>
                    <a:cubicBezTo>
                      <a:pt x="5715" y="4205"/>
                      <a:pt x="2857" y="6110"/>
                      <a:pt x="0" y="8015"/>
                    </a:cubicBezTo>
                    <a:cubicBezTo>
                      <a:pt x="3810" y="6110"/>
                      <a:pt x="7620" y="6110"/>
                      <a:pt x="11430" y="5157"/>
                    </a:cubicBezTo>
                    <a:cubicBezTo>
                      <a:pt x="16192" y="6110"/>
                      <a:pt x="19050" y="5157"/>
                      <a:pt x="21907" y="6110"/>
                    </a:cubicBezTo>
                  </a:path>
                </a:pathLst>
              </a:custGeom>
              <a:solidFill>
                <a:srgbClr val="9C9B9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  <p:sp>
        <p:nvSpPr>
          <p:cNvPr id="31" name="Titre 1">
            <a:extLst>
              <a:ext uri="{FF2B5EF4-FFF2-40B4-BE49-F238E27FC236}">
                <a16:creationId xmlns:a16="http://schemas.microsoft.com/office/drawing/2014/main" id="{B798DD63-88D7-4D98-8CBC-A6C469B47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8163" y="1043684"/>
            <a:ext cx="11115675" cy="5274315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bg1"/>
            </a:solidFill>
          </a:ln>
        </p:spPr>
        <p:txBody>
          <a:bodyPr lIns="0" bIns="360000" anchor="ctr" anchorCtr="0"/>
          <a:lstStyle>
            <a:lvl1pPr marL="0" indent="0">
              <a:buFont typeface="+mj-lt"/>
              <a:buNone/>
              <a:defRPr sz="44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N°. Titre</a:t>
            </a:r>
          </a:p>
        </p:txBody>
      </p: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16F09BCC-0950-40DF-A0B0-370132F99F8C}"/>
              </a:ext>
            </a:extLst>
          </p:cNvPr>
          <p:cNvGrpSpPr/>
          <p:nvPr userDrawn="1"/>
        </p:nvGrpSpPr>
        <p:grpSpPr>
          <a:xfrm>
            <a:off x="10061357" y="512156"/>
            <a:ext cx="1592481" cy="198907"/>
            <a:chOff x="10061357" y="512156"/>
            <a:chExt cx="1592481" cy="198907"/>
          </a:xfrm>
        </p:grpSpPr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11BD2823-5869-4500-B061-41647F00345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189201" y="540544"/>
              <a:ext cx="464637" cy="170519"/>
            </a:xfrm>
            <a:custGeom>
              <a:avLst/>
              <a:gdLst>
                <a:gd name="connsiteX0" fmla="*/ 0 w 464637"/>
                <a:gd name="connsiteY0" fmla="*/ 0 h 170519"/>
                <a:gd name="connsiteX1" fmla="*/ 0 w 464637"/>
                <a:gd name="connsiteY1" fmla="*/ 82673 h 170519"/>
                <a:gd name="connsiteX2" fmla="*/ 381965 w 464637"/>
                <a:gd name="connsiteY2" fmla="*/ 82673 h 170519"/>
                <a:gd name="connsiteX3" fmla="*/ 381965 w 464637"/>
                <a:gd name="connsiteY3" fmla="*/ 170520 h 170519"/>
                <a:gd name="connsiteX4" fmla="*/ 464638 w 464637"/>
                <a:gd name="connsiteY4" fmla="*/ 170520 h 170519"/>
                <a:gd name="connsiteX5" fmla="*/ 464638 w 464637"/>
                <a:gd name="connsiteY5" fmla="*/ 0 h 170519"/>
                <a:gd name="connsiteX6" fmla="*/ 0 w 464637"/>
                <a:gd name="connsiteY6" fmla="*/ 0 h 170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4637" h="170519">
                  <a:moveTo>
                    <a:pt x="0" y="0"/>
                  </a:moveTo>
                  <a:lnTo>
                    <a:pt x="0" y="82673"/>
                  </a:lnTo>
                  <a:lnTo>
                    <a:pt x="381965" y="82673"/>
                  </a:lnTo>
                  <a:lnTo>
                    <a:pt x="381965" y="170520"/>
                  </a:lnTo>
                  <a:lnTo>
                    <a:pt x="464638" y="170520"/>
                  </a:lnTo>
                  <a:lnTo>
                    <a:pt x="46463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" name="ZoneTexte 20">
              <a:extLst>
                <a:ext uri="{FF2B5EF4-FFF2-40B4-BE49-F238E27FC236}">
                  <a16:creationId xmlns:a16="http://schemas.microsoft.com/office/drawing/2014/main" id="{6308A32B-51D3-447E-873C-1179DD55C572}"/>
                </a:ext>
              </a:extLst>
            </p:cNvPr>
            <p:cNvSpPr txBox="1"/>
            <p:nvPr userDrawn="1"/>
          </p:nvSpPr>
          <p:spPr>
            <a:xfrm>
              <a:off x="10061357" y="512156"/>
              <a:ext cx="1102866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fr-FR" sz="900" b="1" cap="all" baseline="0" dirty="0">
                  <a:solidFill>
                    <a:schemeClr val="accent1"/>
                  </a:solidFill>
                </a:rPr>
                <a:t>Investir l’aveni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661749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- Fond L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96F4B6-B01F-4AB3-ABC6-8527D7A2733A}"/>
              </a:ext>
            </a:extLst>
          </p:cNvPr>
          <p:cNvSpPr/>
          <p:nvPr userDrawn="1"/>
        </p:nvSpPr>
        <p:spPr>
          <a:xfrm>
            <a:off x="0" y="0"/>
            <a:ext cx="12192000" cy="10436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A52FDD7-76B5-4B8E-A008-DBC75B8F4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C40CD10-8C5F-4412-9285-E7009438FA08}" type="datetime1">
              <a:rPr lang="fr-FR" smtClean="0"/>
              <a:t>22/11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02BE54F-4953-4F0A-AA2E-99A3D6292F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COMEX – 9 avril 2021 - POUR INFORMATION</a:t>
            </a:r>
            <a:endParaRPr lang="fr-FR">
              <a:solidFill>
                <a:schemeClr val="tx1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35E73AA-FFC7-4E68-A1E5-2653FA5B5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3598" y="6511056"/>
            <a:ext cx="650240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C02D038-4989-45BB-AD16-38E0E231338A}" type="slidenum">
              <a:rPr lang="fr-FR" smtClean="0"/>
              <a:pPr/>
              <a:t>‹N°›</a:t>
            </a:fld>
            <a:endParaRPr lang="fr-FR" dirty="0"/>
          </a:p>
        </p:txBody>
      </p:sp>
      <p:grpSp>
        <p:nvGrpSpPr>
          <p:cNvPr id="11" name="Graphique 2">
            <a:extLst>
              <a:ext uri="{FF2B5EF4-FFF2-40B4-BE49-F238E27FC236}">
                <a16:creationId xmlns:a16="http://schemas.microsoft.com/office/drawing/2014/main" id="{889398C8-CCDA-460C-8D6D-66F796CDB51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40000" y="270000"/>
            <a:ext cx="432404" cy="504000"/>
            <a:chOff x="269557" y="269557"/>
            <a:chExt cx="1311592" cy="1528762"/>
          </a:xfrm>
        </p:grpSpPr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B68CE830-96CE-42DC-A43C-3F0242DFFD10}"/>
                </a:ext>
              </a:extLst>
            </p:cNvPr>
            <p:cNvSpPr/>
            <p:nvPr/>
          </p:nvSpPr>
          <p:spPr>
            <a:xfrm>
              <a:off x="269557" y="1304925"/>
              <a:ext cx="693419" cy="493395"/>
            </a:xfrm>
            <a:custGeom>
              <a:avLst/>
              <a:gdLst>
                <a:gd name="connsiteX0" fmla="*/ 659130 w 693419"/>
                <a:gd name="connsiteY0" fmla="*/ 422910 h 493395"/>
                <a:gd name="connsiteX1" fmla="*/ 666750 w 693419"/>
                <a:gd name="connsiteY1" fmla="*/ 437197 h 493395"/>
                <a:gd name="connsiteX2" fmla="*/ 641033 w 693419"/>
                <a:gd name="connsiteY2" fmla="*/ 442913 h 493395"/>
                <a:gd name="connsiteX3" fmla="*/ 659130 w 693419"/>
                <a:gd name="connsiteY3" fmla="*/ 422910 h 493395"/>
                <a:gd name="connsiteX4" fmla="*/ 673418 w 693419"/>
                <a:gd name="connsiteY4" fmla="*/ 464820 h 493395"/>
                <a:gd name="connsiteX5" fmla="*/ 668655 w 693419"/>
                <a:gd name="connsiteY5" fmla="*/ 464820 h 493395"/>
                <a:gd name="connsiteX6" fmla="*/ 648653 w 693419"/>
                <a:gd name="connsiteY6" fmla="*/ 478155 h 493395"/>
                <a:gd name="connsiteX7" fmla="*/ 638175 w 693419"/>
                <a:gd name="connsiteY7" fmla="*/ 464820 h 493395"/>
                <a:gd name="connsiteX8" fmla="*/ 639128 w 693419"/>
                <a:gd name="connsiteY8" fmla="*/ 453390 h 493395"/>
                <a:gd name="connsiteX9" fmla="*/ 680085 w 693419"/>
                <a:gd name="connsiteY9" fmla="*/ 440055 h 493395"/>
                <a:gd name="connsiteX10" fmla="*/ 666750 w 693419"/>
                <a:gd name="connsiteY10" fmla="*/ 412433 h 493395"/>
                <a:gd name="connsiteX11" fmla="*/ 624840 w 693419"/>
                <a:gd name="connsiteY11" fmla="*/ 473392 h 493395"/>
                <a:gd name="connsiteX12" fmla="*/ 640080 w 693419"/>
                <a:gd name="connsiteY12" fmla="*/ 493395 h 493395"/>
                <a:gd name="connsiteX13" fmla="*/ 673418 w 693419"/>
                <a:gd name="connsiteY13" fmla="*/ 464820 h 493395"/>
                <a:gd name="connsiteX14" fmla="*/ 664845 w 693419"/>
                <a:gd name="connsiteY14" fmla="*/ 404813 h 493395"/>
                <a:gd name="connsiteX15" fmla="*/ 693420 w 693419"/>
                <a:gd name="connsiteY15" fmla="*/ 378142 h 493395"/>
                <a:gd name="connsiteX16" fmla="*/ 693420 w 693419"/>
                <a:gd name="connsiteY16" fmla="*/ 375285 h 493395"/>
                <a:gd name="connsiteX17" fmla="*/ 678180 w 693419"/>
                <a:gd name="connsiteY17" fmla="*/ 375285 h 493395"/>
                <a:gd name="connsiteX18" fmla="*/ 660083 w 693419"/>
                <a:gd name="connsiteY18" fmla="*/ 405765 h 493395"/>
                <a:gd name="connsiteX19" fmla="*/ 664845 w 693419"/>
                <a:gd name="connsiteY19" fmla="*/ 405765 h 493395"/>
                <a:gd name="connsiteX20" fmla="*/ 576263 w 693419"/>
                <a:gd name="connsiteY20" fmla="*/ 423863 h 493395"/>
                <a:gd name="connsiteX21" fmla="*/ 589598 w 693419"/>
                <a:gd name="connsiteY21" fmla="*/ 423863 h 493395"/>
                <a:gd name="connsiteX22" fmla="*/ 567690 w 693419"/>
                <a:gd name="connsiteY22" fmla="*/ 482917 h 493395"/>
                <a:gd name="connsiteX23" fmla="*/ 573405 w 693419"/>
                <a:gd name="connsiteY23" fmla="*/ 493395 h 493395"/>
                <a:gd name="connsiteX24" fmla="*/ 612458 w 693419"/>
                <a:gd name="connsiteY24" fmla="*/ 464820 h 493395"/>
                <a:gd name="connsiteX25" fmla="*/ 608648 w 693419"/>
                <a:gd name="connsiteY25" fmla="*/ 464820 h 493395"/>
                <a:gd name="connsiteX26" fmla="*/ 583883 w 693419"/>
                <a:gd name="connsiteY26" fmla="*/ 480060 h 493395"/>
                <a:gd name="connsiteX27" fmla="*/ 603885 w 693419"/>
                <a:gd name="connsiteY27" fmla="*/ 424815 h 493395"/>
                <a:gd name="connsiteX28" fmla="*/ 623888 w 693419"/>
                <a:gd name="connsiteY28" fmla="*/ 424815 h 493395"/>
                <a:gd name="connsiteX29" fmla="*/ 626745 w 693419"/>
                <a:gd name="connsiteY29" fmla="*/ 416242 h 493395"/>
                <a:gd name="connsiteX30" fmla="*/ 606743 w 693419"/>
                <a:gd name="connsiteY30" fmla="*/ 416242 h 493395"/>
                <a:gd name="connsiteX31" fmla="*/ 614363 w 693419"/>
                <a:gd name="connsiteY31" fmla="*/ 395288 h 493395"/>
                <a:gd name="connsiteX32" fmla="*/ 606743 w 693419"/>
                <a:gd name="connsiteY32" fmla="*/ 395288 h 493395"/>
                <a:gd name="connsiteX33" fmla="*/ 592455 w 693419"/>
                <a:gd name="connsiteY33" fmla="*/ 416242 h 493395"/>
                <a:gd name="connsiteX34" fmla="*/ 575310 w 693419"/>
                <a:gd name="connsiteY34" fmla="*/ 418147 h 493395"/>
                <a:gd name="connsiteX35" fmla="*/ 575310 w 693419"/>
                <a:gd name="connsiteY35" fmla="*/ 423863 h 493395"/>
                <a:gd name="connsiteX36" fmla="*/ 558165 w 693419"/>
                <a:gd name="connsiteY36" fmla="*/ 421005 h 493395"/>
                <a:gd name="connsiteX37" fmla="*/ 553403 w 693419"/>
                <a:gd name="connsiteY37" fmla="*/ 412433 h 493395"/>
                <a:gd name="connsiteX38" fmla="*/ 521970 w 693419"/>
                <a:gd name="connsiteY38" fmla="*/ 438150 h 493395"/>
                <a:gd name="connsiteX39" fmla="*/ 525780 w 693419"/>
                <a:gd name="connsiteY39" fmla="*/ 438150 h 493395"/>
                <a:gd name="connsiteX40" fmla="*/ 541973 w 693419"/>
                <a:gd name="connsiteY40" fmla="*/ 425767 h 493395"/>
                <a:gd name="connsiteX41" fmla="*/ 519113 w 693419"/>
                <a:gd name="connsiteY41" fmla="*/ 484822 h 493395"/>
                <a:gd name="connsiteX42" fmla="*/ 523875 w 693419"/>
                <a:gd name="connsiteY42" fmla="*/ 493395 h 493395"/>
                <a:gd name="connsiteX43" fmla="*/ 554355 w 693419"/>
                <a:gd name="connsiteY43" fmla="*/ 467678 h 493395"/>
                <a:gd name="connsiteX44" fmla="*/ 550545 w 693419"/>
                <a:gd name="connsiteY44" fmla="*/ 467678 h 493395"/>
                <a:gd name="connsiteX45" fmla="*/ 534353 w 693419"/>
                <a:gd name="connsiteY45" fmla="*/ 480060 h 493395"/>
                <a:gd name="connsiteX46" fmla="*/ 558165 w 693419"/>
                <a:gd name="connsiteY46" fmla="*/ 421005 h 493395"/>
                <a:gd name="connsiteX47" fmla="*/ 561975 w 693419"/>
                <a:gd name="connsiteY47" fmla="*/ 391478 h 493395"/>
                <a:gd name="connsiteX48" fmla="*/ 571500 w 693419"/>
                <a:gd name="connsiteY48" fmla="*/ 381953 h 493395"/>
                <a:gd name="connsiteX49" fmla="*/ 561975 w 693419"/>
                <a:gd name="connsiteY49" fmla="*/ 372428 h 493395"/>
                <a:gd name="connsiteX50" fmla="*/ 552450 w 693419"/>
                <a:gd name="connsiteY50" fmla="*/ 381953 h 493395"/>
                <a:gd name="connsiteX51" fmla="*/ 561975 w 693419"/>
                <a:gd name="connsiteY51" fmla="*/ 391478 h 493395"/>
                <a:gd name="connsiteX52" fmla="*/ 431483 w 693419"/>
                <a:gd name="connsiteY52" fmla="*/ 481965 h 493395"/>
                <a:gd name="connsiteX53" fmla="*/ 438150 w 693419"/>
                <a:gd name="connsiteY53" fmla="*/ 493395 h 493395"/>
                <a:gd name="connsiteX54" fmla="*/ 445770 w 693419"/>
                <a:gd name="connsiteY54" fmla="*/ 487680 h 493395"/>
                <a:gd name="connsiteX55" fmla="*/ 461963 w 693419"/>
                <a:gd name="connsiteY55" fmla="*/ 445770 h 493395"/>
                <a:gd name="connsiteX56" fmla="*/ 490538 w 693419"/>
                <a:gd name="connsiteY56" fmla="*/ 427672 h 493395"/>
                <a:gd name="connsiteX57" fmla="*/ 491490 w 693419"/>
                <a:gd name="connsiteY57" fmla="*/ 436245 h 493395"/>
                <a:gd name="connsiteX58" fmla="*/ 467678 w 693419"/>
                <a:gd name="connsiteY58" fmla="*/ 482917 h 493395"/>
                <a:gd name="connsiteX59" fmla="*/ 473393 w 693419"/>
                <a:gd name="connsiteY59" fmla="*/ 493395 h 493395"/>
                <a:gd name="connsiteX60" fmla="*/ 504825 w 693419"/>
                <a:gd name="connsiteY60" fmla="*/ 467678 h 493395"/>
                <a:gd name="connsiteX61" fmla="*/ 501015 w 693419"/>
                <a:gd name="connsiteY61" fmla="*/ 467678 h 493395"/>
                <a:gd name="connsiteX62" fmla="*/ 484822 w 693419"/>
                <a:gd name="connsiteY62" fmla="*/ 480060 h 493395"/>
                <a:gd name="connsiteX63" fmla="*/ 505778 w 693419"/>
                <a:gd name="connsiteY63" fmla="*/ 438150 h 493395"/>
                <a:gd name="connsiteX64" fmla="*/ 509588 w 693419"/>
                <a:gd name="connsiteY64" fmla="*/ 423863 h 493395"/>
                <a:gd name="connsiteX65" fmla="*/ 498158 w 693419"/>
                <a:gd name="connsiteY65" fmla="*/ 412433 h 493395"/>
                <a:gd name="connsiteX66" fmla="*/ 464820 w 693419"/>
                <a:gd name="connsiteY66" fmla="*/ 438150 h 493395"/>
                <a:gd name="connsiteX67" fmla="*/ 464820 w 693419"/>
                <a:gd name="connsiteY67" fmla="*/ 426720 h 493395"/>
                <a:gd name="connsiteX68" fmla="*/ 455295 w 693419"/>
                <a:gd name="connsiteY68" fmla="*/ 411480 h 493395"/>
                <a:gd name="connsiteX69" fmla="*/ 442913 w 693419"/>
                <a:gd name="connsiteY69" fmla="*/ 421005 h 493395"/>
                <a:gd name="connsiteX70" fmla="*/ 442913 w 693419"/>
                <a:gd name="connsiteY70" fmla="*/ 422910 h 493395"/>
                <a:gd name="connsiteX71" fmla="*/ 448628 w 693419"/>
                <a:gd name="connsiteY71" fmla="*/ 445770 h 493395"/>
                <a:gd name="connsiteX72" fmla="*/ 431483 w 693419"/>
                <a:gd name="connsiteY72" fmla="*/ 481965 h 493395"/>
                <a:gd name="connsiteX73" fmla="*/ 431483 w 693419"/>
                <a:gd name="connsiteY73" fmla="*/ 430530 h 493395"/>
                <a:gd name="connsiteX74" fmla="*/ 425768 w 693419"/>
                <a:gd name="connsiteY74" fmla="*/ 412433 h 493395"/>
                <a:gd name="connsiteX75" fmla="*/ 405765 w 693419"/>
                <a:gd name="connsiteY75" fmla="*/ 438150 h 493395"/>
                <a:gd name="connsiteX76" fmla="*/ 405765 w 693419"/>
                <a:gd name="connsiteY76" fmla="*/ 426720 h 493395"/>
                <a:gd name="connsiteX77" fmla="*/ 396240 w 693419"/>
                <a:gd name="connsiteY77" fmla="*/ 411480 h 493395"/>
                <a:gd name="connsiteX78" fmla="*/ 374333 w 693419"/>
                <a:gd name="connsiteY78" fmla="*/ 437197 h 493395"/>
                <a:gd name="connsiteX79" fmla="*/ 378143 w 693419"/>
                <a:gd name="connsiteY79" fmla="*/ 437197 h 493395"/>
                <a:gd name="connsiteX80" fmla="*/ 388620 w 693419"/>
                <a:gd name="connsiteY80" fmla="*/ 427672 h 493395"/>
                <a:gd name="connsiteX81" fmla="*/ 388620 w 693419"/>
                <a:gd name="connsiteY81" fmla="*/ 445770 h 493395"/>
                <a:gd name="connsiteX82" fmla="*/ 372428 w 693419"/>
                <a:gd name="connsiteY82" fmla="*/ 481013 h 493395"/>
                <a:gd name="connsiteX83" fmla="*/ 379095 w 693419"/>
                <a:gd name="connsiteY83" fmla="*/ 492442 h 493395"/>
                <a:gd name="connsiteX84" fmla="*/ 386715 w 693419"/>
                <a:gd name="connsiteY84" fmla="*/ 486728 h 493395"/>
                <a:gd name="connsiteX85" fmla="*/ 402908 w 693419"/>
                <a:gd name="connsiteY85" fmla="*/ 444817 h 493395"/>
                <a:gd name="connsiteX86" fmla="*/ 416243 w 693419"/>
                <a:gd name="connsiteY86" fmla="*/ 429578 h 493395"/>
                <a:gd name="connsiteX87" fmla="*/ 431483 w 693419"/>
                <a:gd name="connsiteY87" fmla="*/ 429578 h 493395"/>
                <a:gd name="connsiteX88" fmla="*/ 340043 w 693419"/>
                <a:gd name="connsiteY88" fmla="*/ 422910 h 493395"/>
                <a:gd name="connsiteX89" fmla="*/ 347663 w 693419"/>
                <a:gd name="connsiteY89" fmla="*/ 437197 h 493395"/>
                <a:gd name="connsiteX90" fmla="*/ 321945 w 693419"/>
                <a:gd name="connsiteY90" fmla="*/ 442913 h 493395"/>
                <a:gd name="connsiteX91" fmla="*/ 340043 w 693419"/>
                <a:gd name="connsiteY91" fmla="*/ 422910 h 493395"/>
                <a:gd name="connsiteX92" fmla="*/ 354330 w 693419"/>
                <a:gd name="connsiteY92" fmla="*/ 464820 h 493395"/>
                <a:gd name="connsiteX93" fmla="*/ 349568 w 693419"/>
                <a:gd name="connsiteY93" fmla="*/ 464820 h 493395"/>
                <a:gd name="connsiteX94" fmla="*/ 329565 w 693419"/>
                <a:gd name="connsiteY94" fmla="*/ 478155 h 493395"/>
                <a:gd name="connsiteX95" fmla="*/ 319088 w 693419"/>
                <a:gd name="connsiteY95" fmla="*/ 464820 h 493395"/>
                <a:gd name="connsiteX96" fmla="*/ 320040 w 693419"/>
                <a:gd name="connsiteY96" fmla="*/ 453390 h 493395"/>
                <a:gd name="connsiteX97" fmla="*/ 360997 w 693419"/>
                <a:gd name="connsiteY97" fmla="*/ 440055 h 493395"/>
                <a:gd name="connsiteX98" fmla="*/ 347663 w 693419"/>
                <a:gd name="connsiteY98" fmla="*/ 412433 h 493395"/>
                <a:gd name="connsiteX99" fmla="*/ 305753 w 693419"/>
                <a:gd name="connsiteY99" fmla="*/ 473392 h 493395"/>
                <a:gd name="connsiteX100" fmla="*/ 320993 w 693419"/>
                <a:gd name="connsiteY100" fmla="*/ 493395 h 493395"/>
                <a:gd name="connsiteX101" fmla="*/ 354330 w 693419"/>
                <a:gd name="connsiteY101" fmla="*/ 464820 h 493395"/>
                <a:gd name="connsiteX102" fmla="*/ 257175 w 693419"/>
                <a:gd name="connsiteY102" fmla="*/ 423863 h 493395"/>
                <a:gd name="connsiteX103" fmla="*/ 270510 w 693419"/>
                <a:gd name="connsiteY103" fmla="*/ 423863 h 493395"/>
                <a:gd name="connsiteX104" fmla="*/ 248603 w 693419"/>
                <a:gd name="connsiteY104" fmla="*/ 482917 h 493395"/>
                <a:gd name="connsiteX105" fmla="*/ 254318 w 693419"/>
                <a:gd name="connsiteY105" fmla="*/ 493395 h 493395"/>
                <a:gd name="connsiteX106" fmla="*/ 293370 w 693419"/>
                <a:gd name="connsiteY106" fmla="*/ 464820 h 493395"/>
                <a:gd name="connsiteX107" fmla="*/ 289560 w 693419"/>
                <a:gd name="connsiteY107" fmla="*/ 464820 h 493395"/>
                <a:gd name="connsiteX108" fmla="*/ 264795 w 693419"/>
                <a:gd name="connsiteY108" fmla="*/ 480060 h 493395"/>
                <a:gd name="connsiteX109" fmla="*/ 284798 w 693419"/>
                <a:gd name="connsiteY109" fmla="*/ 424815 h 493395"/>
                <a:gd name="connsiteX110" fmla="*/ 304800 w 693419"/>
                <a:gd name="connsiteY110" fmla="*/ 424815 h 493395"/>
                <a:gd name="connsiteX111" fmla="*/ 307658 w 693419"/>
                <a:gd name="connsiteY111" fmla="*/ 416242 h 493395"/>
                <a:gd name="connsiteX112" fmla="*/ 287655 w 693419"/>
                <a:gd name="connsiteY112" fmla="*/ 416242 h 493395"/>
                <a:gd name="connsiteX113" fmla="*/ 295275 w 693419"/>
                <a:gd name="connsiteY113" fmla="*/ 395288 h 493395"/>
                <a:gd name="connsiteX114" fmla="*/ 287655 w 693419"/>
                <a:gd name="connsiteY114" fmla="*/ 395288 h 493395"/>
                <a:gd name="connsiteX115" fmla="*/ 273368 w 693419"/>
                <a:gd name="connsiteY115" fmla="*/ 416242 h 493395"/>
                <a:gd name="connsiteX116" fmla="*/ 256223 w 693419"/>
                <a:gd name="connsiteY116" fmla="*/ 418147 h 493395"/>
                <a:gd name="connsiteX117" fmla="*/ 256223 w 693419"/>
                <a:gd name="connsiteY117" fmla="*/ 423863 h 493395"/>
                <a:gd name="connsiteX118" fmla="*/ 181928 w 693419"/>
                <a:gd name="connsiteY118" fmla="*/ 469583 h 493395"/>
                <a:gd name="connsiteX119" fmla="*/ 213360 w 693419"/>
                <a:gd name="connsiteY119" fmla="*/ 426720 h 493395"/>
                <a:gd name="connsiteX120" fmla="*/ 220028 w 693419"/>
                <a:gd name="connsiteY120" fmla="*/ 427672 h 493395"/>
                <a:gd name="connsiteX121" fmla="*/ 208598 w 693419"/>
                <a:gd name="connsiteY121" fmla="*/ 459105 h 493395"/>
                <a:gd name="connsiteX122" fmla="*/ 186690 w 693419"/>
                <a:gd name="connsiteY122" fmla="*/ 477203 h 493395"/>
                <a:gd name="connsiteX123" fmla="*/ 181928 w 693419"/>
                <a:gd name="connsiteY123" fmla="*/ 469583 h 493395"/>
                <a:gd name="connsiteX124" fmla="*/ 244793 w 693419"/>
                <a:gd name="connsiteY124" fmla="*/ 408622 h 493395"/>
                <a:gd name="connsiteX125" fmla="*/ 238125 w 693419"/>
                <a:gd name="connsiteY125" fmla="*/ 408622 h 493395"/>
                <a:gd name="connsiteX126" fmla="*/ 231458 w 693419"/>
                <a:gd name="connsiteY126" fmla="*/ 415290 h 493395"/>
                <a:gd name="connsiteX127" fmla="*/ 229553 w 693419"/>
                <a:gd name="connsiteY127" fmla="*/ 415290 h 493395"/>
                <a:gd name="connsiteX128" fmla="*/ 166688 w 693419"/>
                <a:gd name="connsiteY128" fmla="*/ 481013 h 493395"/>
                <a:gd name="connsiteX129" fmla="*/ 179070 w 693419"/>
                <a:gd name="connsiteY129" fmla="*/ 493395 h 493395"/>
                <a:gd name="connsiteX130" fmla="*/ 205740 w 693419"/>
                <a:gd name="connsiteY130" fmla="*/ 467678 h 493395"/>
                <a:gd name="connsiteX131" fmla="*/ 205740 w 693419"/>
                <a:gd name="connsiteY131" fmla="*/ 472440 h 493395"/>
                <a:gd name="connsiteX132" fmla="*/ 216218 w 693419"/>
                <a:gd name="connsiteY132" fmla="*/ 493395 h 493395"/>
                <a:gd name="connsiteX133" fmla="*/ 238125 w 693419"/>
                <a:gd name="connsiteY133" fmla="*/ 467678 h 493395"/>
                <a:gd name="connsiteX134" fmla="*/ 234315 w 693419"/>
                <a:gd name="connsiteY134" fmla="*/ 467678 h 493395"/>
                <a:gd name="connsiteX135" fmla="*/ 223838 w 693419"/>
                <a:gd name="connsiteY135" fmla="*/ 477203 h 493395"/>
                <a:gd name="connsiteX136" fmla="*/ 223838 w 693419"/>
                <a:gd name="connsiteY136" fmla="*/ 459105 h 493395"/>
                <a:gd name="connsiteX137" fmla="*/ 244793 w 693419"/>
                <a:gd name="connsiteY137" fmla="*/ 408622 h 493395"/>
                <a:gd name="connsiteX138" fmla="*/ 172403 w 693419"/>
                <a:gd name="connsiteY138" fmla="*/ 430530 h 493395"/>
                <a:gd name="connsiteX139" fmla="*/ 166688 w 693419"/>
                <a:gd name="connsiteY139" fmla="*/ 412433 h 493395"/>
                <a:gd name="connsiteX140" fmla="*/ 146685 w 693419"/>
                <a:gd name="connsiteY140" fmla="*/ 438150 h 493395"/>
                <a:gd name="connsiteX141" fmla="*/ 146685 w 693419"/>
                <a:gd name="connsiteY141" fmla="*/ 426720 h 493395"/>
                <a:gd name="connsiteX142" fmla="*/ 137160 w 693419"/>
                <a:gd name="connsiteY142" fmla="*/ 411480 h 493395"/>
                <a:gd name="connsiteX143" fmla="*/ 115253 w 693419"/>
                <a:gd name="connsiteY143" fmla="*/ 437197 h 493395"/>
                <a:gd name="connsiteX144" fmla="*/ 119063 w 693419"/>
                <a:gd name="connsiteY144" fmla="*/ 437197 h 493395"/>
                <a:gd name="connsiteX145" fmla="*/ 129540 w 693419"/>
                <a:gd name="connsiteY145" fmla="*/ 427672 h 493395"/>
                <a:gd name="connsiteX146" fmla="*/ 129540 w 693419"/>
                <a:gd name="connsiteY146" fmla="*/ 445770 h 493395"/>
                <a:gd name="connsiteX147" fmla="*/ 113348 w 693419"/>
                <a:gd name="connsiteY147" fmla="*/ 481013 h 493395"/>
                <a:gd name="connsiteX148" fmla="*/ 120015 w 693419"/>
                <a:gd name="connsiteY148" fmla="*/ 492442 h 493395"/>
                <a:gd name="connsiteX149" fmla="*/ 127635 w 693419"/>
                <a:gd name="connsiteY149" fmla="*/ 486728 h 493395"/>
                <a:gd name="connsiteX150" fmla="*/ 143828 w 693419"/>
                <a:gd name="connsiteY150" fmla="*/ 444817 h 493395"/>
                <a:gd name="connsiteX151" fmla="*/ 157163 w 693419"/>
                <a:gd name="connsiteY151" fmla="*/ 429578 h 493395"/>
                <a:gd name="connsiteX152" fmla="*/ 172403 w 693419"/>
                <a:gd name="connsiteY152" fmla="*/ 429578 h 493395"/>
                <a:gd name="connsiteX153" fmla="*/ 59055 w 693419"/>
                <a:gd name="connsiteY153" fmla="*/ 489585 h 493395"/>
                <a:gd name="connsiteX154" fmla="*/ 60960 w 693419"/>
                <a:gd name="connsiteY154" fmla="*/ 484822 h 493395"/>
                <a:gd name="connsiteX155" fmla="*/ 46673 w 693419"/>
                <a:gd name="connsiteY155" fmla="*/ 460058 h 493395"/>
                <a:gd name="connsiteX156" fmla="*/ 54293 w 693419"/>
                <a:gd name="connsiteY156" fmla="*/ 438150 h 493395"/>
                <a:gd name="connsiteX157" fmla="*/ 76200 w 693419"/>
                <a:gd name="connsiteY157" fmla="*/ 438150 h 493395"/>
                <a:gd name="connsiteX158" fmla="*/ 84773 w 693419"/>
                <a:gd name="connsiteY158" fmla="*/ 452438 h 493395"/>
                <a:gd name="connsiteX159" fmla="*/ 90488 w 693419"/>
                <a:gd name="connsiteY159" fmla="*/ 452438 h 493395"/>
                <a:gd name="connsiteX160" fmla="*/ 103823 w 693419"/>
                <a:gd name="connsiteY160" fmla="*/ 416242 h 493395"/>
                <a:gd name="connsiteX161" fmla="*/ 98107 w 693419"/>
                <a:gd name="connsiteY161" fmla="*/ 416242 h 493395"/>
                <a:gd name="connsiteX162" fmla="*/ 79057 w 693419"/>
                <a:gd name="connsiteY162" fmla="*/ 430530 h 493395"/>
                <a:gd name="connsiteX163" fmla="*/ 57150 w 693419"/>
                <a:gd name="connsiteY163" fmla="*/ 430530 h 493395"/>
                <a:gd name="connsiteX164" fmla="*/ 68580 w 693419"/>
                <a:gd name="connsiteY164" fmla="*/ 399097 h 493395"/>
                <a:gd name="connsiteX165" fmla="*/ 87630 w 693419"/>
                <a:gd name="connsiteY165" fmla="*/ 386715 h 493395"/>
                <a:gd name="connsiteX166" fmla="*/ 97155 w 693419"/>
                <a:gd name="connsiteY166" fmla="*/ 386715 h 493395"/>
                <a:gd name="connsiteX167" fmla="*/ 112395 w 693419"/>
                <a:gd name="connsiteY167" fmla="*/ 404813 h 493395"/>
                <a:gd name="connsiteX168" fmla="*/ 118110 w 693419"/>
                <a:gd name="connsiteY168" fmla="*/ 404813 h 493395"/>
                <a:gd name="connsiteX169" fmla="*/ 122873 w 693419"/>
                <a:gd name="connsiteY169" fmla="*/ 380047 h 493395"/>
                <a:gd name="connsiteX170" fmla="*/ 40957 w 693419"/>
                <a:gd name="connsiteY170" fmla="*/ 380047 h 493395"/>
                <a:gd name="connsiteX171" fmla="*/ 39053 w 693419"/>
                <a:gd name="connsiteY171" fmla="*/ 384810 h 493395"/>
                <a:gd name="connsiteX172" fmla="*/ 48578 w 693419"/>
                <a:gd name="connsiteY172" fmla="*/ 409575 h 493395"/>
                <a:gd name="connsiteX173" fmla="*/ 30480 w 693419"/>
                <a:gd name="connsiteY173" fmla="*/ 458153 h 493395"/>
                <a:gd name="connsiteX174" fmla="*/ 1905 w 693419"/>
                <a:gd name="connsiteY174" fmla="*/ 482917 h 493395"/>
                <a:gd name="connsiteX175" fmla="*/ 953 w 693419"/>
                <a:gd name="connsiteY175" fmla="*/ 487680 h 493395"/>
                <a:gd name="connsiteX176" fmla="*/ 59055 w 693419"/>
                <a:gd name="connsiteY176" fmla="*/ 487680 h 493395"/>
                <a:gd name="connsiteX177" fmla="*/ 460058 w 693419"/>
                <a:gd name="connsiteY177" fmla="*/ 238125 h 493395"/>
                <a:gd name="connsiteX178" fmla="*/ 467678 w 693419"/>
                <a:gd name="connsiteY178" fmla="*/ 252413 h 493395"/>
                <a:gd name="connsiteX179" fmla="*/ 441960 w 693419"/>
                <a:gd name="connsiteY179" fmla="*/ 258128 h 493395"/>
                <a:gd name="connsiteX180" fmla="*/ 460058 w 693419"/>
                <a:gd name="connsiteY180" fmla="*/ 238125 h 493395"/>
                <a:gd name="connsiteX181" fmla="*/ 474345 w 693419"/>
                <a:gd name="connsiteY181" fmla="*/ 279083 h 493395"/>
                <a:gd name="connsiteX182" fmla="*/ 469583 w 693419"/>
                <a:gd name="connsiteY182" fmla="*/ 279083 h 493395"/>
                <a:gd name="connsiteX183" fmla="*/ 449580 w 693419"/>
                <a:gd name="connsiteY183" fmla="*/ 292417 h 493395"/>
                <a:gd name="connsiteX184" fmla="*/ 439103 w 693419"/>
                <a:gd name="connsiteY184" fmla="*/ 279083 h 493395"/>
                <a:gd name="connsiteX185" fmla="*/ 440055 w 693419"/>
                <a:gd name="connsiteY185" fmla="*/ 267653 h 493395"/>
                <a:gd name="connsiteX186" fmla="*/ 481013 w 693419"/>
                <a:gd name="connsiteY186" fmla="*/ 254317 h 493395"/>
                <a:gd name="connsiteX187" fmla="*/ 467678 w 693419"/>
                <a:gd name="connsiteY187" fmla="*/ 226695 h 493395"/>
                <a:gd name="connsiteX188" fmla="*/ 425768 w 693419"/>
                <a:gd name="connsiteY188" fmla="*/ 287655 h 493395"/>
                <a:gd name="connsiteX189" fmla="*/ 441008 w 693419"/>
                <a:gd name="connsiteY189" fmla="*/ 307658 h 493395"/>
                <a:gd name="connsiteX190" fmla="*/ 474345 w 693419"/>
                <a:gd name="connsiteY190" fmla="*/ 279083 h 493395"/>
                <a:gd name="connsiteX191" fmla="*/ 466725 w 693419"/>
                <a:gd name="connsiteY191" fmla="*/ 219075 h 493395"/>
                <a:gd name="connsiteX192" fmla="*/ 495300 w 693419"/>
                <a:gd name="connsiteY192" fmla="*/ 192405 h 493395"/>
                <a:gd name="connsiteX193" fmla="*/ 495300 w 693419"/>
                <a:gd name="connsiteY193" fmla="*/ 189547 h 493395"/>
                <a:gd name="connsiteX194" fmla="*/ 480060 w 693419"/>
                <a:gd name="connsiteY194" fmla="*/ 189547 h 493395"/>
                <a:gd name="connsiteX195" fmla="*/ 461963 w 693419"/>
                <a:gd name="connsiteY195" fmla="*/ 220028 h 493395"/>
                <a:gd name="connsiteX196" fmla="*/ 466725 w 693419"/>
                <a:gd name="connsiteY196" fmla="*/ 220028 h 493395"/>
                <a:gd name="connsiteX197" fmla="*/ 378143 w 693419"/>
                <a:gd name="connsiteY197" fmla="*/ 238125 h 493395"/>
                <a:gd name="connsiteX198" fmla="*/ 391478 w 693419"/>
                <a:gd name="connsiteY198" fmla="*/ 238125 h 493395"/>
                <a:gd name="connsiteX199" fmla="*/ 369570 w 693419"/>
                <a:gd name="connsiteY199" fmla="*/ 297180 h 493395"/>
                <a:gd name="connsiteX200" fmla="*/ 375285 w 693419"/>
                <a:gd name="connsiteY200" fmla="*/ 307658 h 493395"/>
                <a:gd name="connsiteX201" fmla="*/ 414338 w 693419"/>
                <a:gd name="connsiteY201" fmla="*/ 279083 h 493395"/>
                <a:gd name="connsiteX202" fmla="*/ 410528 w 693419"/>
                <a:gd name="connsiteY202" fmla="*/ 279083 h 493395"/>
                <a:gd name="connsiteX203" fmla="*/ 385763 w 693419"/>
                <a:gd name="connsiteY203" fmla="*/ 294322 h 493395"/>
                <a:gd name="connsiteX204" fmla="*/ 405765 w 693419"/>
                <a:gd name="connsiteY204" fmla="*/ 239078 h 493395"/>
                <a:gd name="connsiteX205" fmla="*/ 425768 w 693419"/>
                <a:gd name="connsiteY205" fmla="*/ 239078 h 493395"/>
                <a:gd name="connsiteX206" fmla="*/ 428625 w 693419"/>
                <a:gd name="connsiteY206" fmla="*/ 230505 h 493395"/>
                <a:gd name="connsiteX207" fmla="*/ 408622 w 693419"/>
                <a:gd name="connsiteY207" fmla="*/ 230505 h 493395"/>
                <a:gd name="connsiteX208" fmla="*/ 416243 w 693419"/>
                <a:gd name="connsiteY208" fmla="*/ 209550 h 493395"/>
                <a:gd name="connsiteX209" fmla="*/ 408622 w 693419"/>
                <a:gd name="connsiteY209" fmla="*/ 209550 h 493395"/>
                <a:gd name="connsiteX210" fmla="*/ 394335 w 693419"/>
                <a:gd name="connsiteY210" fmla="*/ 230505 h 493395"/>
                <a:gd name="connsiteX211" fmla="*/ 377190 w 693419"/>
                <a:gd name="connsiteY211" fmla="*/ 232410 h 493395"/>
                <a:gd name="connsiteX212" fmla="*/ 377190 w 693419"/>
                <a:gd name="connsiteY212" fmla="*/ 238125 h 493395"/>
                <a:gd name="connsiteX213" fmla="*/ 359093 w 693419"/>
                <a:gd name="connsiteY213" fmla="*/ 235267 h 493395"/>
                <a:gd name="connsiteX214" fmla="*/ 354330 w 693419"/>
                <a:gd name="connsiteY214" fmla="*/ 226695 h 493395"/>
                <a:gd name="connsiteX215" fmla="*/ 322898 w 693419"/>
                <a:gd name="connsiteY215" fmla="*/ 252413 h 493395"/>
                <a:gd name="connsiteX216" fmla="*/ 326708 w 693419"/>
                <a:gd name="connsiteY216" fmla="*/ 252413 h 493395"/>
                <a:gd name="connsiteX217" fmla="*/ 342900 w 693419"/>
                <a:gd name="connsiteY217" fmla="*/ 240030 h 493395"/>
                <a:gd name="connsiteX218" fmla="*/ 320040 w 693419"/>
                <a:gd name="connsiteY218" fmla="*/ 299085 h 493395"/>
                <a:gd name="connsiteX219" fmla="*/ 324803 w 693419"/>
                <a:gd name="connsiteY219" fmla="*/ 307658 h 493395"/>
                <a:gd name="connsiteX220" fmla="*/ 355283 w 693419"/>
                <a:gd name="connsiteY220" fmla="*/ 281940 h 493395"/>
                <a:gd name="connsiteX221" fmla="*/ 351472 w 693419"/>
                <a:gd name="connsiteY221" fmla="*/ 281940 h 493395"/>
                <a:gd name="connsiteX222" fmla="*/ 335280 w 693419"/>
                <a:gd name="connsiteY222" fmla="*/ 294322 h 493395"/>
                <a:gd name="connsiteX223" fmla="*/ 359093 w 693419"/>
                <a:gd name="connsiteY223" fmla="*/ 235267 h 493395"/>
                <a:gd name="connsiteX224" fmla="*/ 363855 w 693419"/>
                <a:gd name="connsiteY224" fmla="*/ 205740 h 493395"/>
                <a:gd name="connsiteX225" fmla="*/ 373380 w 693419"/>
                <a:gd name="connsiteY225" fmla="*/ 196215 h 493395"/>
                <a:gd name="connsiteX226" fmla="*/ 363855 w 693419"/>
                <a:gd name="connsiteY226" fmla="*/ 186690 h 493395"/>
                <a:gd name="connsiteX227" fmla="*/ 354330 w 693419"/>
                <a:gd name="connsiteY227" fmla="*/ 196215 h 493395"/>
                <a:gd name="connsiteX228" fmla="*/ 363855 w 693419"/>
                <a:gd name="connsiteY228" fmla="*/ 205740 h 493395"/>
                <a:gd name="connsiteX229" fmla="*/ 284798 w 693419"/>
                <a:gd name="connsiteY229" fmla="*/ 294322 h 493395"/>
                <a:gd name="connsiteX230" fmla="*/ 325755 w 693419"/>
                <a:gd name="connsiteY230" fmla="*/ 185738 h 493395"/>
                <a:gd name="connsiteX231" fmla="*/ 324803 w 693419"/>
                <a:gd name="connsiteY231" fmla="*/ 183833 h 493395"/>
                <a:gd name="connsiteX232" fmla="*/ 299085 w 693419"/>
                <a:gd name="connsiteY232" fmla="*/ 186690 h 493395"/>
                <a:gd name="connsiteX233" fmla="*/ 299085 w 693419"/>
                <a:gd name="connsiteY233" fmla="*/ 189547 h 493395"/>
                <a:gd name="connsiteX234" fmla="*/ 303848 w 693419"/>
                <a:gd name="connsiteY234" fmla="*/ 193358 h 493395"/>
                <a:gd name="connsiteX235" fmla="*/ 302895 w 693419"/>
                <a:gd name="connsiteY235" fmla="*/ 211455 h 493395"/>
                <a:gd name="connsiteX236" fmla="*/ 270510 w 693419"/>
                <a:gd name="connsiteY236" fmla="*/ 296228 h 493395"/>
                <a:gd name="connsiteX237" fmla="*/ 276225 w 693419"/>
                <a:gd name="connsiteY237" fmla="*/ 306705 h 493395"/>
                <a:gd name="connsiteX238" fmla="*/ 306705 w 693419"/>
                <a:gd name="connsiteY238" fmla="*/ 280988 h 493395"/>
                <a:gd name="connsiteX239" fmla="*/ 302895 w 693419"/>
                <a:gd name="connsiteY239" fmla="*/ 280988 h 493395"/>
                <a:gd name="connsiteX240" fmla="*/ 284798 w 693419"/>
                <a:gd name="connsiteY240" fmla="*/ 294322 h 493395"/>
                <a:gd name="connsiteX241" fmla="*/ 205740 w 693419"/>
                <a:gd name="connsiteY241" fmla="*/ 284797 h 493395"/>
                <a:gd name="connsiteX242" fmla="*/ 237173 w 693419"/>
                <a:gd name="connsiteY242" fmla="*/ 241935 h 493395"/>
                <a:gd name="connsiteX243" fmla="*/ 243840 w 693419"/>
                <a:gd name="connsiteY243" fmla="*/ 242888 h 493395"/>
                <a:gd name="connsiteX244" fmla="*/ 232410 w 693419"/>
                <a:gd name="connsiteY244" fmla="*/ 274320 h 493395"/>
                <a:gd name="connsiteX245" fmla="*/ 210503 w 693419"/>
                <a:gd name="connsiteY245" fmla="*/ 292417 h 493395"/>
                <a:gd name="connsiteX246" fmla="*/ 205740 w 693419"/>
                <a:gd name="connsiteY246" fmla="*/ 284797 h 493395"/>
                <a:gd name="connsiteX247" fmla="*/ 268605 w 693419"/>
                <a:gd name="connsiteY247" fmla="*/ 223838 h 493395"/>
                <a:gd name="connsiteX248" fmla="*/ 261938 w 693419"/>
                <a:gd name="connsiteY248" fmla="*/ 223838 h 493395"/>
                <a:gd name="connsiteX249" fmla="*/ 255270 w 693419"/>
                <a:gd name="connsiteY249" fmla="*/ 230505 h 493395"/>
                <a:gd name="connsiteX250" fmla="*/ 253365 w 693419"/>
                <a:gd name="connsiteY250" fmla="*/ 230505 h 493395"/>
                <a:gd name="connsiteX251" fmla="*/ 190500 w 693419"/>
                <a:gd name="connsiteY251" fmla="*/ 296228 h 493395"/>
                <a:gd name="connsiteX252" fmla="*/ 202883 w 693419"/>
                <a:gd name="connsiteY252" fmla="*/ 308610 h 493395"/>
                <a:gd name="connsiteX253" fmla="*/ 229553 w 693419"/>
                <a:gd name="connsiteY253" fmla="*/ 282892 h 493395"/>
                <a:gd name="connsiteX254" fmla="*/ 229553 w 693419"/>
                <a:gd name="connsiteY254" fmla="*/ 287655 h 493395"/>
                <a:gd name="connsiteX255" fmla="*/ 240030 w 693419"/>
                <a:gd name="connsiteY255" fmla="*/ 308610 h 493395"/>
                <a:gd name="connsiteX256" fmla="*/ 261938 w 693419"/>
                <a:gd name="connsiteY256" fmla="*/ 282892 h 493395"/>
                <a:gd name="connsiteX257" fmla="*/ 258128 w 693419"/>
                <a:gd name="connsiteY257" fmla="*/ 282892 h 493395"/>
                <a:gd name="connsiteX258" fmla="*/ 247650 w 693419"/>
                <a:gd name="connsiteY258" fmla="*/ 292417 h 493395"/>
                <a:gd name="connsiteX259" fmla="*/ 247650 w 693419"/>
                <a:gd name="connsiteY259" fmla="*/ 274320 h 493395"/>
                <a:gd name="connsiteX260" fmla="*/ 268605 w 693419"/>
                <a:gd name="connsiteY260" fmla="*/ 223838 h 493395"/>
                <a:gd name="connsiteX261" fmla="*/ 117157 w 693419"/>
                <a:gd name="connsiteY261" fmla="*/ 321945 h 493395"/>
                <a:gd name="connsiteX262" fmla="*/ 135255 w 693419"/>
                <a:gd name="connsiteY262" fmla="*/ 304800 h 493395"/>
                <a:gd name="connsiteX263" fmla="*/ 151448 w 693419"/>
                <a:gd name="connsiteY263" fmla="*/ 310515 h 493395"/>
                <a:gd name="connsiteX264" fmla="*/ 166688 w 693419"/>
                <a:gd name="connsiteY264" fmla="*/ 319088 h 493395"/>
                <a:gd name="connsiteX265" fmla="*/ 137160 w 693419"/>
                <a:gd name="connsiteY265" fmla="*/ 331470 h 493395"/>
                <a:gd name="connsiteX266" fmla="*/ 117157 w 693419"/>
                <a:gd name="connsiteY266" fmla="*/ 321945 h 493395"/>
                <a:gd name="connsiteX267" fmla="*/ 147638 w 693419"/>
                <a:gd name="connsiteY267" fmla="*/ 274320 h 493395"/>
                <a:gd name="connsiteX268" fmla="*/ 140970 w 693419"/>
                <a:gd name="connsiteY268" fmla="*/ 265747 h 493395"/>
                <a:gd name="connsiteX269" fmla="*/ 159068 w 693419"/>
                <a:gd name="connsiteY269" fmla="*/ 233363 h 493395"/>
                <a:gd name="connsiteX270" fmla="*/ 165735 w 693419"/>
                <a:gd name="connsiteY270" fmla="*/ 241935 h 493395"/>
                <a:gd name="connsiteX271" fmla="*/ 147638 w 693419"/>
                <a:gd name="connsiteY271" fmla="*/ 274320 h 493395"/>
                <a:gd name="connsiteX272" fmla="*/ 180023 w 693419"/>
                <a:gd name="connsiteY272" fmla="*/ 314325 h 493395"/>
                <a:gd name="connsiteX273" fmla="*/ 158115 w 693419"/>
                <a:gd name="connsiteY273" fmla="*/ 297180 h 493395"/>
                <a:gd name="connsiteX274" fmla="*/ 140970 w 693419"/>
                <a:gd name="connsiteY274" fmla="*/ 288608 h 493395"/>
                <a:gd name="connsiteX275" fmla="*/ 148590 w 693419"/>
                <a:gd name="connsiteY275" fmla="*/ 279083 h 493395"/>
                <a:gd name="connsiteX276" fmla="*/ 180975 w 693419"/>
                <a:gd name="connsiteY276" fmla="*/ 245745 h 493395"/>
                <a:gd name="connsiteX277" fmla="*/ 179070 w 693419"/>
                <a:gd name="connsiteY277" fmla="*/ 237172 h 493395"/>
                <a:gd name="connsiteX278" fmla="*/ 195263 w 693419"/>
                <a:gd name="connsiteY278" fmla="*/ 237172 h 493395"/>
                <a:gd name="connsiteX279" fmla="*/ 198120 w 693419"/>
                <a:gd name="connsiteY279" fmla="*/ 228600 h 493395"/>
                <a:gd name="connsiteX280" fmla="*/ 172403 w 693419"/>
                <a:gd name="connsiteY280" fmla="*/ 228600 h 493395"/>
                <a:gd name="connsiteX281" fmla="*/ 161925 w 693419"/>
                <a:gd name="connsiteY281" fmla="*/ 225742 h 493395"/>
                <a:gd name="connsiteX282" fmla="*/ 127635 w 693419"/>
                <a:gd name="connsiteY282" fmla="*/ 258128 h 493395"/>
                <a:gd name="connsiteX283" fmla="*/ 143828 w 693419"/>
                <a:gd name="connsiteY283" fmla="*/ 278130 h 493395"/>
                <a:gd name="connsiteX284" fmla="*/ 128588 w 693419"/>
                <a:gd name="connsiteY284" fmla="*/ 293370 h 493395"/>
                <a:gd name="connsiteX285" fmla="*/ 132398 w 693419"/>
                <a:gd name="connsiteY285" fmla="*/ 300990 h 493395"/>
                <a:gd name="connsiteX286" fmla="*/ 100965 w 693419"/>
                <a:gd name="connsiteY286" fmla="*/ 325755 h 493395"/>
                <a:gd name="connsiteX287" fmla="*/ 130493 w 693419"/>
                <a:gd name="connsiteY287" fmla="*/ 340042 h 493395"/>
                <a:gd name="connsiteX288" fmla="*/ 180023 w 693419"/>
                <a:gd name="connsiteY288" fmla="*/ 314325 h 493395"/>
                <a:gd name="connsiteX289" fmla="*/ 76200 w 693419"/>
                <a:gd name="connsiteY289" fmla="*/ 251460 h 493395"/>
                <a:gd name="connsiteX290" fmla="*/ 84773 w 693419"/>
                <a:gd name="connsiteY290" fmla="*/ 265747 h 493395"/>
                <a:gd name="connsiteX291" fmla="*/ 90488 w 693419"/>
                <a:gd name="connsiteY291" fmla="*/ 265747 h 493395"/>
                <a:gd name="connsiteX292" fmla="*/ 103823 w 693419"/>
                <a:gd name="connsiteY292" fmla="*/ 229553 h 493395"/>
                <a:gd name="connsiteX293" fmla="*/ 98107 w 693419"/>
                <a:gd name="connsiteY293" fmla="*/ 229553 h 493395"/>
                <a:gd name="connsiteX294" fmla="*/ 79057 w 693419"/>
                <a:gd name="connsiteY294" fmla="*/ 243840 h 493395"/>
                <a:gd name="connsiteX295" fmla="*/ 57150 w 693419"/>
                <a:gd name="connsiteY295" fmla="*/ 243840 h 493395"/>
                <a:gd name="connsiteX296" fmla="*/ 67628 w 693419"/>
                <a:gd name="connsiteY296" fmla="*/ 214313 h 493395"/>
                <a:gd name="connsiteX297" fmla="*/ 86678 w 693419"/>
                <a:gd name="connsiteY297" fmla="*/ 202883 h 493395"/>
                <a:gd name="connsiteX298" fmla="*/ 96203 w 693419"/>
                <a:gd name="connsiteY298" fmla="*/ 202883 h 493395"/>
                <a:gd name="connsiteX299" fmla="*/ 111443 w 693419"/>
                <a:gd name="connsiteY299" fmla="*/ 220028 h 493395"/>
                <a:gd name="connsiteX300" fmla="*/ 117157 w 693419"/>
                <a:gd name="connsiteY300" fmla="*/ 220028 h 493395"/>
                <a:gd name="connsiteX301" fmla="*/ 121920 w 693419"/>
                <a:gd name="connsiteY301" fmla="*/ 195263 h 493395"/>
                <a:gd name="connsiteX302" fmla="*/ 40005 w 693419"/>
                <a:gd name="connsiteY302" fmla="*/ 195263 h 493395"/>
                <a:gd name="connsiteX303" fmla="*/ 38100 w 693419"/>
                <a:gd name="connsiteY303" fmla="*/ 200025 h 493395"/>
                <a:gd name="connsiteX304" fmla="*/ 47625 w 693419"/>
                <a:gd name="connsiteY304" fmla="*/ 224790 h 493395"/>
                <a:gd name="connsiteX305" fmla="*/ 29528 w 693419"/>
                <a:gd name="connsiteY305" fmla="*/ 273367 h 493395"/>
                <a:gd name="connsiteX306" fmla="*/ 953 w 693419"/>
                <a:gd name="connsiteY306" fmla="*/ 298133 h 493395"/>
                <a:gd name="connsiteX307" fmla="*/ 0 w 693419"/>
                <a:gd name="connsiteY307" fmla="*/ 302895 h 493395"/>
                <a:gd name="connsiteX308" fmla="*/ 91440 w 693419"/>
                <a:gd name="connsiteY308" fmla="*/ 302895 h 493395"/>
                <a:gd name="connsiteX309" fmla="*/ 107632 w 693419"/>
                <a:gd name="connsiteY309" fmla="*/ 277178 h 493395"/>
                <a:gd name="connsiteX310" fmla="*/ 101918 w 693419"/>
                <a:gd name="connsiteY310" fmla="*/ 277178 h 493395"/>
                <a:gd name="connsiteX311" fmla="*/ 60007 w 693419"/>
                <a:gd name="connsiteY311" fmla="*/ 296228 h 493395"/>
                <a:gd name="connsiteX312" fmla="*/ 45720 w 693419"/>
                <a:gd name="connsiteY312" fmla="*/ 273367 h 493395"/>
                <a:gd name="connsiteX313" fmla="*/ 54293 w 693419"/>
                <a:gd name="connsiteY313" fmla="*/ 249555 h 493395"/>
                <a:gd name="connsiteX314" fmla="*/ 76200 w 693419"/>
                <a:gd name="connsiteY314" fmla="*/ 249555 h 493395"/>
                <a:gd name="connsiteX315" fmla="*/ 88582 w 693419"/>
                <a:gd name="connsiteY315" fmla="*/ 188595 h 493395"/>
                <a:gd name="connsiteX316" fmla="*/ 117157 w 693419"/>
                <a:gd name="connsiteY316" fmla="*/ 168592 h 493395"/>
                <a:gd name="connsiteX317" fmla="*/ 117157 w 693419"/>
                <a:gd name="connsiteY317" fmla="*/ 165735 h 493395"/>
                <a:gd name="connsiteX318" fmla="*/ 100013 w 693419"/>
                <a:gd name="connsiteY318" fmla="*/ 165735 h 493395"/>
                <a:gd name="connsiteX319" fmla="*/ 83820 w 693419"/>
                <a:gd name="connsiteY319" fmla="*/ 188595 h 493395"/>
                <a:gd name="connsiteX320" fmla="*/ 88582 w 693419"/>
                <a:gd name="connsiteY320" fmla="*/ 188595 h 493395"/>
                <a:gd name="connsiteX321" fmla="*/ 450533 w 693419"/>
                <a:gd name="connsiteY321" fmla="*/ 52388 h 493395"/>
                <a:gd name="connsiteX322" fmla="*/ 458153 w 693419"/>
                <a:gd name="connsiteY322" fmla="*/ 66675 h 493395"/>
                <a:gd name="connsiteX323" fmla="*/ 432435 w 693419"/>
                <a:gd name="connsiteY323" fmla="*/ 72390 h 493395"/>
                <a:gd name="connsiteX324" fmla="*/ 450533 w 693419"/>
                <a:gd name="connsiteY324" fmla="*/ 52388 h 493395"/>
                <a:gd name="connsiteX325" fmla="*/ 464820 w 693419"/>
                <a:gd name="connsiteY325" fmla="*/ 93345 h 493395"/>
                <a:gd name="connsiteX326" fmla="*/ 460058 w 693419"/>
                <a:gd name="connsiteY326" fmla="*/ 93345 h 493395"/>
                <a:gd name="connsiteX327" fmla="*/ 440055 w 693419"/>
                <a:gd name="connsiteY327" fmla="*/ 106680 h 493395"/>
                <a:gd name="connsiteX328" fmla="*/ 429578 w 693419"/>
                <a:gd name="connsiteY328" fmla="*/ 93345 h 493395"/>
                <a:gd name="connsiteX329" fmla="*/ 430530 w 693419"/>
                <a:gd name="connsiteY329" fmla="*/ 81915 h 493395"/>
                <a:gd name="connsiteX330" fmla="*/ 471488 w 693419"/>
                <a:gd name="connsiteY330" fmla="*/ 68580 h 493395"/>
                <a:gd name="connsiteX331" fmla="*/ 458153 w 693419"/>
                <a:gd name="connsiteY331" fmla="*/ 40958 h 493395"/>
                <a:gd name="connsiteX332" fmla="*/ 416243 w 693419"/>
                <a:gd name="connsiteY332" fmla="*/ 101917 h 493395"/>
                <a:gd name="connsiteX333" fmla="*/ 431483 w 693419"/>
                <a:gd name="connsiteY333" fmla="*/ 121920 h 493395"/>
                <a:gd name="connsiteX334" fmla="*/ 464820 w 693419"/>
                <a:gd name="connsiteY334" fmla="*/ 93345 h 493395"/>
                <a:gd name="connsiteX335" fmla="*/ 457200 w 693419"/>
                <a:gd name="connsiteY335" fmla="*/ 33338 h 493395"/>
                <a:gd name="connsiteX336" fmla="*/ 485775 w 693419"/>
                <a:gd name="connsiteY336" fmla="*/ 6667 h 493395"/>
                <a:gd name="connsiteX337" fmla="*/ 485775 w 693419"/>
                <a:gd name="connsiteY337" fmla="*/ 3810 h 493395"/>
                <a:gd name="connsiteX338" fmla="*/ 470535 w 693419"/>
                <a:gd name="connsiteY338" fmla="*/ 3810 h 493395"/>
                <a:gd name="connsiteX339" fmla="*/ 452438 w 693419"/>
                <a:gd name="connsiteY339" fmla="*/ 34290 h 493395"/>
                <a:gd name="connsiteX340" fmla="*/ 457200 w 693419"/>
                <a:gd name="connsiteY340" fmla="*/ 34290 h 493395"/>
                <a:gd name="connsiteX341" fmla="*/ 371475 w 693419"/>
                <a:gd name="connsiteY341" fmla="*/ 52388 h 493395"/>
                <a:gd name="connsiteX342" fmla="*/ 381953 w 693419"/>
                <a:gd name="connsiteY342" fmla="*/ 52388 h 493395"/>
                <a:gd name="connsiteX343" fmla="*/ 360045 w 693419"/>
                <a:gd name="connsiteY343" fmla="*/ 111442 h 493395"/>
                <a:gd name="connsiteX344" fmla="*/ 365760 w 693419"/>
                <a:gd name="connsiteY344" fmla="*/ 121920 h 493395"/>
                <a:gd name="connsiteX345" fmla="*/ 404813 w 693419"/>
                <a:gd name="connsiteY345" fmla="*/ 93345 h 493395"/>
                <a:gd name="connsiteX346" fmla="*/ 401003 w 693419"/>
                <a:gd name="connsiteY346" fmla="*/ 93345 h 493395"/>
                <a:gd name="connsiteX347" fmla="*/ 376238 w 693419"/>
                <a:gd name="connsiteY347" fmla="*/ 108585 h 493395"/>
                <a:gd name="connsiteX348" fmla="*/ 396240 w 693419"/>
                <a:gd name="connsiteY348" fmla="*/ 53340 h 493395"/>
                <a:gd name="connsiteX349" fmla="*/ 416243 w 693419"/>
                <a:gd name="connsiteY349" fmla="*/ 53340 h 493395"/>
                <a:gd name="connsiteX350" fmla="*/ 419100 w 693419"/>
                <a:gd name="connsiteY350" fmla="*/ 44767 h 493395"/>
                <a:gd name="connsiteX351" fmla="*/ 399097 w 693419"/>
                <a:gd name="connsiteY351" fmla="*/ 44767 h 493395"/>
                <a:gd name="connsiteX352" fmla="*/ 406718 w 693419"/>
                <a:gd name="connsiteY352" fmla="*/ 23813 h 493395"/>
                <a:gd name="connsiteX353" fmla="*/ 399097 w 693419"/>
                <a:gd name="connsiteY353" fmla="*/ 23813 h 493395"/>
                <a:gd name="connsiteX354" fmla="*/ 384810 w 693419"/>
                <a:gd name="connsiteY354" fmla="*/ 44767 h 493395"/>
                <a:gd name="connsiteX355" fmla="*/ 370522 w 693419"/>
                <a:gd name="connsiteY355" fmla="*/ 46672 h 493395"/>
                <a:gd name="connsiteX356" fmla="*/ 370522 w 693419"/>
                <a:gd name="connsiteY356" fmla="*/ 52388 h 493395"/>
                <a:gd name="connsiteX357" fmla="*/ 360997 w 693419"/>
                <a:gd name="connsiteY357" fmla="*/ 59055 h 493395"/>
                <a:gd name="connsiteX358" fmla="*/ 355283 w 693419"/>
                <a:gd name="connsiteY358" fmla="*/ 40958 h 493395"/>
                <a:gd name="connsiteX359" fmla="*/ 335280 w 693419"/>
                <a:gd name="connsiteY359" fmla="*/ 66675 h 493395"/>
                <a:gd name="connsiteX360" fmla="*/ 335280 w 693419"/>
                <a:gd name="connsiteY360" fmla="*/ 55245 h 493395"/>
                <a:gd name="connsiteX361" fmla="*/ 325755 w 693419"/>
                <a:gd name="connsiteY361" fmla="*/ 40005 h 493395"/>
                <a:gd name="connsiteX362" fmla="*/ 303848 w 693419"/>
                <a:gd name="connsiteY362" fmla="*/ 65722 h 493395"/>
                <a:gd name="connsiteX363" fmla="*/ 307658 w 693419"/>
                <a:gd name="connsiteY363" fmla="*/ 65722 h 493395"/>
                <a:gd name="connsiteX364" fmla="*/ 318135 w 693419"/>
                <a:gd name="connsiteY364" fmla="*/ 56197 h 493395"/>
                <a:gd name="connsiteX365" fmla="*/ 318135 w 693419"/>
                <a:gd name="connsiteY365" fmla="*/ 74295 h 493395"/>
                <a:gd name="connsiteX366" fmla="*/ 301943 w 693419"/>
                <a:gd name="connsiteY366" fmla="*/ 109538 h 493395"/>
                <a:gd name="connsiteX367" fmla="*/ 308610 w 693419"/>
                <a:gd name="connsiteY367" fmla="*/ 120967 h 493395"/>
                <a:gd name="connsiteX368" fmla="*/ 316230 w 693419"/>
                <a:gd name="connsiteY368" fmla="*/ 115253 h 493395"/>
                <a:gd name="connsiteX369" fmla="*/ 332423 w 693419"/>
                <a:gd name="connsiteY369" fmla="*/ 73342 h 493395"/>
                <a:gd name="connsiteX370" fmla="*/ 345758 w 693419"/>
                <a:gd name="connsiteY370" fmla="*/ 58103 h 493395"/>
                <a:gd name="connsiteX371" fmla="*/ 360997 w 693419"/>
                <a:gd name="connsiteY371" fmla="*/ 58103 h 493395"/>
                <a:gd name="connsiteX372" fmla="*/ 269558 w 693419"/>
                <a:gd name="connsiteY372" fmla="*/ 52388 h 493395"/>
                <a:gd name="connsiteX373" fmla="*/ 277178 w 693419"/>
                <a:gd name="connsiteY373" fmla="*/ 66675 h 493395"/>
                <a:gd name="connsiteX374" fmla="*/ 251460 w 693419"/>
                <a:gd name="connsiteY374" fmla="*/ 72390 h 493395"/>
                <a:gd name="connsiteX375" fmla="*/ 269558 w 693419"/>
                <a:gd name="connsiteY375" fmla="*/ 52388 h 493395"/>
                <a:gd name="connsiteX376" fmla="*/ 283845 w 693419"/>
                <a:gd name="connsiteY376" fmla="*/ 93345 h 493395"/>
                <a:gd name="connsiteX377" fmla="*/ 279083 w 693419"/>
                <a:gd name="connsiteY377" fmla="*/ 93345 h 493395"/>
                <a:gd name="connsiteX378" fmla="*/ 259080 w 693419"/>
                <a:gd name="connsiteY378" fmla="*/ 106680 h 493395"/>
                <a:gd name="connsiteX379" fmla="*/ 248603 w 693419"/>
                <a:gd name="connsiteY379" fmla="*/ 93345 h 493395"/>
                <a:gd name="connsiteX380" fmla="*/ 249555 w 693419"/>
                <a:gd name="connsiteY380" fmla="*/ 81915 h 493395"/>
                <a:gd name="connsiteX381" fmla="*/ 290513 w 693419"/>
                <a:gd name="connsiteY381" fmla="*/ 68580 h 493395"/>
                <a:gd name="connsiteX382" fmla="*/ 277178 w 693419"/>
                <a:gd name="connsiteY382" fmla="*/ 40958 h 493395"/>
                <a:gd name="connsiteX383" fmla="*/ 235268 w 693419"/>
                <a:gd name="connsiteY383" fmla="*/ 101917 h 493395"/>
                <a:gd name="connsiteX384" fmla="*/ 250508 w 693419"/>
                <a:gd name="connsiteY384" fmla="*/ 121920 h 493395"/>
                <a:gd name="connsiteX385" fmla="*/ 283845 w 693419"/>
                <a:gd name="connsiteY385" fmla="*/ 93345 h 493395"/>
                <a:gd name="connsiteX386" fmla="*/ 182880 w 693419"/>
                <a:gd name="connsiteY386" fmla="*/ 110490 h 493395"/>
                <a:gd name="connsiteX387" fmla="*/ 173355 w 693419"/>
                <a:gd name="connsiteY387" fmla="*/ 103822 h 493395"/>
                <a:gd name="connsiteX388" fmla="*/ 177165 w 693419"/>
                <a:gd name="connsiteY388" fmla="*/ 92392 h 493395"/>
                <a:gd name="connsiteX389" fmla="*/ 183833 w 693419"/>
                <a:gd name="connsiteY389" fmla="*/ 74295 h 493395"/>
                <a:gd name="connsiteX390" fmla="*/ 207645 w 693419"/>
                <a:gd name="connsiteY390" fmla="*/ 57150 h 493395"/>
                <a:gd name="connsiteX391" fmla="*/ 214313 w 693419"/>
                <a:gd name="connsiteY391" fmla="*/ 64770 h 493395"/>
                <a:gd name="connsiteX392" fmla="*/ 182880 w 693419"/>
                <a:gd name="connsiteY392" fmla="*/ 110490 h 493395"/>
                <a:gd name="connsiteX393" fmla="*/ 230505 w 693419"/>
                <a:gd name="connsiteY393" fmla="*/ 58103 h 493395"/>
                <a:gd name="connsiteX394" fmla="*/ 218123 w 693419"/>
                <a:gd name="connsiteY394" fmla="*/ 41910 h 493395"/>
                <a:gd name="connsiteX395" fmla="*/ 188595 w 693419"/>
                <a:gd name="connsiteY395" fmla="*/ 66675 h 493395"/>
                <a:gd name="connsiteX396" fmla="*/ 213360 w 693419"/>
                <a:gd name="connsiteY396" fmla="*/ 1905 h 493395"/>
                <a:gd name="connsiteX397" fmla="*/ 212408 w 693419"/>
                <a:gd name="connsiteY397" fmla="*/ 0 h 493395"/>
                <a:gd name="connsiteX398" fmla="*/ 186690 w 693419"/>
                <a:gd name="connsiteY398" fmla="*/ 2858 h 493395"/>
                <a:gd name="connsiteX399" fmla="*/ 186690 w 693419"/>
                <a:gd name="connsiteY399" fmla="*/ 5715 h 493395"/>
                <a:gd name="connsiteX400" fmla="*/ 191453 w 693419"/>
                <a:gd name="connsiteY400" fmla="*/ 9525 h 493395"/>
                <a:gd name="connsiteX401" fmla="*/ 190500 w 693419"/>
                <a:gd name="connsiteY401" fmla="*/ 27622 h 493395"/>
                <a:gd name="connsiteX402" fmla="*/ 163830 w 693419"/>
                <a:gd name="connsiteY402" fmla="*/ 96203 h 493395"/>
                <a:gd name="connsiteX403" fmla="*/ 159068 w 693419"/>
                <a:gd name="connsiteY403" fmla="*/ 108585 h 493395"/>
                <a:gd name="connsiteX404" fmla="*/ 177165 w 693419"/>
                <a:gd name="connsiteY404" fmla="*/ 121920 h 493395"/>
                <a:gd name="connsiteX405" fmla="*/ 230505 w 693419"/>
                <a:gd name="connsiteY405" fmla="*/ 58103 h 493395"/>
                <a:gd name="connsiteX406" fmla="*/ 149543 w 693419"/>
                <a:gd name="connsiteY406" fmla="*/ 49530 h 493395"/>
                <a:gd name="connsiteX407" fmla="*/ 144780 w 693419"/>
                <a:gd name="connsiteY407" fmla="*/ 40958 h 493395"/>
                <a:gd name="connsiteX408" fmla="*/ 113348 w 693419"/>
                <a:gd name="connsiteY408" fmla="*/ 66675 h 493395"/>
                <a:gd name="connsiteX409" fmla="*/ 117157 w 693419"/>
                <a:gd name="connsiteY409" fmla="*/ 66675 h 493395"/>
                <a:gd name="connsiteX410" fmla="*/ 133350 w 693419"/>
                <a:gd name="connsiteY410" fmla="*/ 54292 h 493395"/>
                <a:gd name="connsiteX411" fmla="*/ 110490 w 693419"/>
                <a:gd name="connsiteY411" fmla="*/ 113347 h 493395"/>
                <a:gd name="connsiteX412" fmla="*/ 115253 w 693419"/>
                <a:gd name="connsiteY412" fmla="*/ 121920 h 493395"/>
                <a:gd name="connsiteX413" fmla="*/ 145733 w 693419"/>
                <a:gd name="connsiteY413" fmla="*/ 96203 h 493395"/>
                <a:gd name="connsiteX414" fmla="*/ 141923 w 693419"/>
                <a:gd name="connsiteY414" fmla="*/ 96203 h 493395"/>
                <a:gd name="connsiteX415" fmla="*/ 125730 w 693419"/>
                <a:gd name="connsiteY415" fmla="*/ 108585 h 493395"/>
                <a:gd name="connsiteX416" fmla="*/ 149543 w 693419"/>
                <a:gd name="connsiteY416" fmla="*/ 49530 h 493395"/>
                <a:gd name="connsiteX417" fmla="*/ 153353 w 693419"/>
                <a:gd name="connsiteY417" fmla="*/ 20003 h 493395"/>
                <a:gd name="connsiteX418" fmla="*/ 162878 w 693419"/>
                <a:gd name="connsiteY418" fmla="*/ 10478 h 493395"/>
                <a:gd name="connsiteX419" fmla="*/ 153353 w 693419"/>
                <a:gd name="connsiteY419" fmla="*/ 953 h 493395"/>
                <a:gd name="connsiteX420" fmla="*/ 143828 w 693419"/>
                <a:gd name="connsiteY420" fmla="*/ 10478 h 493395"/>
                <a:gd name="connsiteX421" fmla="*/ 153353 w 693419"/>
                <a:gd name="connsiteY421" fmla="*/ 20003 h 493395"/>
                <a:gd name="connsiteX422" fmla="*/ 93345 w 693419"/>
                <a:gd name="connsiteY422" fmla="*/ 10478 h 493395"/>
                <a:gd name="connsiteX423" fmla="*/ 39053 w 693419"/>
                <a:gd name="connsiteY423" fmla="*/ 10478 h 493395"/>
                <a:gd name="connsiteX424" fmla="*/ 37148 w 693419"/>
                <a:gd name="connsiteY424" fmla="*/ 15240 h 493395"/>
                <a:gd name="connsiteX425" fmla="*/ 46673 w 693419"/>
                <a:gd name="connsiteY425" fmla="*/ 40005 h 493395"/>
                <a:gd name="connsiteX426" fmla="*/ 29528 w 693419"/>
                <a:gd name="connsiteY426" fmla="*/ 88583 h 493395"/>
                <a:gd name="connsiteX427" fmla="*/ 953 w 693419"/>
                <a:gd name="connsiteY427" fmla="*/ 113347 h 493395"/>
                <a:gd name="connsiteX428" fmla="*/ 0 w 693419"/>
                <a:gd name="connsiteY428" fmla="*/ 118110 h 493395"/>
                <a:gd name="connsiteX429" fmla="*/ 82868 w 693419"/>
                <a:gd name="connsiteY429" fmla="*/ 118110 h 493395"/>
                <a:gd name="connsiteX430" fmla="*/ 100965 w 693419"/>
                <a:gd name="connsiteY430" fmla="*/ 86678 h 493395"/>
                <a:gd name="connsiteX431" fmla="*/ 94298 w 693419"/>
                <a:gd name="connsiteY431" fmla="*/ 86678 h 493395"/>
                <a:gd name="connsiteX432" fmla="*/ 54293 w 693419"/>
                <a:gd name="connsiteY432" fmla="*/ 111442 h 493395"/>
                <a:gd name="connsiteX433" fmla="*/ 46673 w 693419"/>
                <a:gd name="connsiteY433" fmla="*/ 88583 h 493395"/>
                <a:gd name="connsiteX434" fmla="*/ 63818 w 693419"/>
                <a:gd name="connsiteY434" fmla="*/ 40005 h 493395"/>
                <a:gd name="connsiteX435" fmla="*/ 92393 w 693419"/>
                <a:gd name="connsiteY435" fmla="*/ 15240 h 493395"/>
                <a:gd name="connsiteX436" fmla="*/ 93345 w 693419"/>
                <a:gd name="connsiteY436" fmla="*/ 10478 h 49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</a:cxnLst>
              <a:rect l="l" t="t" r="r" b="b"/>
              <a:pathLst>
                <a:path w="693419" h="493395">
                  <a:moveTo>
                    <a:pt x="659130" y="422910"/>
                  </a:moveTo>
                  <a:cubicBezTo>
                    <a:pt x="664845" y="422910"/>
                    <a:pt x="669608" y="426720"/>
                    <a:pt x="666750" y="437197"/>
                  </a:cubicBezTo>
                  <a:lnTo>
                    <a:pt x="641033" y="442913"/>
                  </a:lnTo>
                  <a:cubicBezTo>
                    <a:pt x="645795" y="432435"/>
                    <a:pt x="653415" y="422910"/>
                    <a:pt x="659130" y="422910"/>
                  </a:cubicBezTo>
                  <a:moveTo>
                    <a:pt x="673418" y="464820"/>
                  </a:moveTo>
                  <a:lnTo>
                    <a:pt x="668655" y="464820"/>
                  </a:lnTo>
                  <a:cubicBezTo>
                    <a:pt x="661988" y="472440"/>
                    <a:pt x="655320" y="478155"/>
                    <a:pt x="648653" y="478155"/>
                  </a:cubicBezTo>
                  <a:cubicBezTo>
                    <a:pt x="641985" y="478155"/>
                    <a:pt x="638175" y="474345"/>
                    <a:pt x="638175" y="464820"/>
                  </a:cubicBezTo>
                  <a:cubicBezTo>
                    <a:pt x="638175" y="461010"/>
                    <a:pt x="638175" y="457200"/>
                    <a:pt x="639128" y="453390"/>
                  </a:cubicBezTo>
                  <a:lnTo>
                    <a:pt x="680085" y="440055"/>
                  </a:lnTo>
                  <a:cubicBezTo>
                    <a:pt x="687705" y="421005"/>
                    <a:pt x="678180" y="412433"/>
                    <a:pt x="666750" y="412433"/>
                  </a:cubicBezTo>
                  <a:cubicBezTo>
                    <a:pt x="647700" y="412433"/>
                    <a:pt x="624840" y="444817"/>
                    <a:pt x="624840" y="473392"/>
                  </a:cubicBezTo>
                  <a:cubicBezTo>
                    <a:pt x="624840" y="485775"/>
                    <a:pt x="630555" y="493395"/>
                    <a:pt x="640080" y="493395"/>
                  </a:cubicBezTo>
                  <a:cubicBezTo>
                    <a:pt x="652463" y="493395"/>
                    <a:pt x="663893" y="481965"/>
                    <a:pt x="673418" y="464820"/>
                  </a:cubicBezTo>
                  <a:moveTo>
                    <a:pt x="664845" y="404813"/>
                  </a:moveTo>
                  <a:lnTo>
                    <a:pt x="693420" y="378142"/>
                  </a:lnTo>
                  <a:lnTo>
                    <a:pt x="693420" y="375285"/>
                  </a:lnTo>
                  <a:lnTo>
                    <a:pt x="678180" y="375285"/>
                  </a:lnTo>
                  <a:lnTo>
                    <a:pt x="660083" y="405765"/>
                  </a:lnTo>
                  <a:lnTo>
                    <a:pt x="664845" y="405765"/>
                  </a:lnTo>
                  <a:close/>
                  <a:moveTo>
                    <a:pt x="576263" y="423863"/>
                  </a:moveTo>
                  <a:lnTo>
                    <a:pt x="589598" y="423863"/>
                  </a:lnTo>
                  <a:lnTo>
                    <a:pt x="567690" y="482917"/>
                  </a:lnTo>
                  <a:cubicBezTo>
                    <a:pt x="565785" y="487680"/>
                    <a:pt x="568643" y="493395"/>
                    <a:pt x="573405" y="493395"/>
                  </a:cubicBezTo>
                  <a:cubicBezTo>
                    <a:pt x="585788" y="493395"/>
                    <a:pt x="605790" y="481013"/>
                    <a:pt x="612458" y="464820"/>
                  </a:cubicBezTo>
                  <a:lnTo>
                    <a:pt x="608648" y="464820"/>
                  </a:lnTo>
                  <a:cubicBezTo>
                    <a:pt x="602933" y="470535"/>
                    <a:pt x="592455" y="478155"/>
                    <a:pt x="583883" y="480060"/>
                  </a:cubicBezTo>
                  <a:lnTo>
                    <a:pt x="603885" y="424815"/>
                  </a:lnTo>
                  <a:lnTo>
                    <a:pt x="623888" y="424815"/>
                  </a:lnTo>
                  <a:lnTo>
                    <a:pt x="626745" y="416242"/>
                  </a:lnTo>
                  <a:lnTo>
                    <a:pt x="606743" y="416242"/>
                  </a:lnTo>
                  <a:lnTo>
                    <a:pt x="614363" y="395288"/>
                  </a:lnTo>
                  <a:lnTo>
                    <a:pt x="606743" y="395288"/>
                  </a:lnTo>
                  <a:lnTo>
                    <a:pt x="592455" y="416242"/>
                  </a:lnTo>
                  <a:lnTo>
                    <a:pt x="575310" y="418147"/>
                  </a:lnTo>
                  <a:lnTo>
                    <a:pt x="575310" y="423863"/>
                  </a:lnTo>
                  <a:close/>
                  <a:moveTo>
                    <a:pt x="558165" y="421005"/>
                  </a:moveTo>
                  <a:cubicBezTo>
                    <a:pt x="560070" y="415290"/>
                    <a:pt x="556260" y="412433"/>
                    <a:pt x="553403" y="412433"/>
                  </a:cubicBezTo>
                  <a:cubicBezTo>
                    <a:pt x="541973" y="412433"/>
                    <a:pt x="527685" y="422910"/>
                    <a:pt x="521970" y="438150"/>
                  </a:cubicBezTo>
                  <a:lnTo>
                    <a:pt x="525780" y="438150"/>
                  </a:lnTo>
                  <a:cubicBezTo>
                    <a:pt x="529590" y="432435"/>
                    <a:pt x="536258" y="426720"/>
                    <a:pt x="541973" y="425767"/>
                  </a:cubicBezTo>
                  <a:lnTo>
                    <a:pt x="519113" y="484822"/>
                  </a:lnTo>
                  <a:cubicBezTo>
                    <a:pt x="517208" y="490538"/>
                    <a:pt x="521018" y="493395"/>
                    <a:pt x="523875" y="493395"/>
                  </a:cubicBezTo>
                  <a:cubicBezTo>
                    <a:pt x="535305" y="493395"/>
                    <a:pt x="548640" y="482917"/>
                    <a:pt x="554355" y="467678"/>
                  </a:cubicBezTo>
                  <a:lnTo>
                    <a:pt x="550545" y="467678"/>
                  </a:lnTo>
                  <a:cubicBezTo>
                    <a:pt x="546735" y="473392"/>
                    <a:pt x="540068" y="479108"/>
                    <a:pt x="534353" y="480060"/>
                  </a:cubicBezTo>
                  <a:lnTo>
                    <a:pt x="558165" y="421005"/>
                  </a:lnTo>
                  <a:close/>
                  <a:moveTo>
                    <a:pt x="561975" y="391478"/>
                  </a:moveTo>
                  <a:cubicBezTo>
                    <a:pt x="567690" y="391478"/>
                    <a:pt x="571500" y="386715"/>
                    <a:pt x="571500" y="381953"/>
                  </a:cubicBezTo>
                  <a:cubicBezTo>
                    <a:pt x="571500" y="376238"/>
                    <a:pt x="566738" y="372428"/>
                    <a:pt x="561975" y="372428"/>
                  </a:cubicBezTo>
                  <a:cubicBezTo>
                    <a:pt x="556260" y="372428"/>
                    <a:pt x="552450" y="377190"/>
                    <a:pt x="552450" y="381953"/>
                  </a:cubicBezTo>
                  <a:cubicBezTo>
                    <a:pt x="552450" y="386715"/>
                    <a:pt x="556260" y="391478"/>
                    <a:pt x="561975" y="391478"/>
                  </a:cubicBezTo>
                  <a:moveTo>
                    <a:pt x="431483" y="481965"/>
                  </a:moveTo>
                  <a:cubicBezTo>
                    <a:pt x="428625" y="488633"/>
                    <a:pt x="431483" y="493395"/>
                    <a:pt x="438150" y="493395"/>
                  </a:cubicBezTo>
                  <a:cubicBezTo>
                    <a:pt x="441960" y="493395"/>
                    <a:pt x="443865" y="492442"/>
                    <a:pt x="445770" y="487680"/>
                  </a:cubicBezTo>
                  <a:lnTo>
                    <a:pt x="461963" y="445770"/>
                  </a:lnTo>
                  <a:cubicBezTo>
                    <a:pt x="469583" y="437197"/>
                    <a:pt x="483870" y="427672"/>
                    <a:pt x="490538" y="427672"/>
                  </a:cubicBezTo>
                  <a:cubicBezTo>
                    <a:pt x="495300" y="427672"/>
                    <a:pt x="494347" y="431483"/>
                    <a:pt x="491490" y="436245"/>
                  </a:cubicBezTo>
                  <a:lnTo>
                    <a:pt x="467678" y="482917"/>
                  </a:lnTo>
                  <a:cubicBezTo>
                    <a:pt x="465772" y="487680"/>
                    <a:pt x="468630" y="493395"/>
                    <a:pt x="473393" y="493395"/>
                  </a:cubicBezTo>
                  <a:cubicBezTo>
                    <a:pt x="484822" y="493395"/>
                    <a:pt x="499110" y="482917"/>
                    <a:pt x="504825" y="467678"/>
                  </a:cubicBezTo>
                  <a:lnTo>
                    <a:pt x="501015" y="467678"/>
                  </a:lnTo>
                  <a:cubicBezTo>
                    <a:pt x="497205" y="473392"/>
                    <a:pt x="490538" y="479108"/>
                    <a:pt x="484822" y="480060"/>
                  </a:cubicBezTo>
                  <a:lnTo>
                    <a:pt x="505778" y="438150"/>
                  </a:lnTo>
                  <a:cubicBezTo>
                    <a:pt x="508635" y="432435"/>
                    <a:pt x="509588" y="427672"/>
                    <a:pt x="509588" y="423863"/>
                  </a:cubicBezTo>
                  <a:cubicBezTo>
                    <a:pt x="509588" y="417195"/>
                    <a:pt x="505778" y="412433"/>
                    <a:pt x="498158" y="412433"/>
                  </a:cubicBezTo>
                  <a:cubicBezTo>
                    <a:pt x="487680" y="412433"/>
                    <a:pt x="477203" y="423863"/>
                    <a:pt x="464820" y="438150"/>
                  </a:cubicBezTo>
                  <a:lnTo>
                    <a:pt x="464820" y="426720"/>
                  </a:lnTo>
                  <a:cubicBezTo>
                    <a:pt x="464820" y="419100"/>
                    <a:pt x="461963" y="411480"/>
                    <a:pt x="455295" y="411480"/>
                  </a:cubicBezTo>
                  <a:cubicBezTo>
                    <a:pt x="450533" y="411480"/>
                    <a:pt x="446722" y="415290"/>
                    <a:pt x="442913" y="421005"/>
                  </a:cubicBezTo>
                  <a:lnTo>
                    <a:pt x="442913" y="422910"/>
                  </a:lnTo>
                  <a:cubicBezTo>
                    <a:pt x="450533" y="422910"/>
                    <a:pt x="454343" y="434340"/>
                    <a:pt x="448628" y="445770"/>
                  </a:cubicBezTo>
                  <a:lnTo>
                    <a:pt x="431483" y="481965"/>
                  </a:lnTo>
                  <a:close/>
                  <a:moveTo>
                    <a:pt x="431483" y="430530"/>
                  </a:moveTo>
                  <a:cubicBezTo>
                    <a:pt x="434340" y="421005"/>
                    <a:pt x="432435" y="412433"/>
                    <a:pt x="425768" y="412433"/>
                  </a:cubicBezTo>
                  <a:cubicBezTo>
                    <a:pt x="417195" y="412433"/>
                    <a:pt x="414338" y="419100"/>
                    <a:pt x="405765" y="438150"/>
                  </a:cubicBezTo>
                  <a:lnTo>
                    <a:pt x="405765" y="426720"/>
                  </a:lnTo>
                  <a:cubicBezTo>
                    <a:pt x="405765" y="419100"/>
                    <a:pt x="402908" y="411480"/>
                    <a:pt x="396240" y="411480"/>
                  </a:cubicBezTo>
                  <a:cubicBezTo>
                    <a:pt x="387668" y="411480"/>
                    <a:pt x="380047" y="424815"/>
                    <a:pt x="374333" y="437197"/>
                  </a:cubicBezTo>
                  <a:lnTo>
                    <a:pt x="378143" y="437197"/>
                  </a:lnTo>
                  <a:cubicBezTo>
                    <a:pt x="381953" y="431483"/>
                    <a:pt x="385763" y="427672"/>
                    <a:pt x="388620" y="427672"/>
                  </a:cubicBezTo>
                  <a:cubicBezTo>
                    <a:pt x="392430" y="427672"/>
                    <a:pt x="394335" y="433388"/>
                    <a:pt x="388620" y="445770"/>
                  </a:cubicBezTo>
                  <a:lnTo>
                    <a:pt x="372428" y="481013"/>
                  </a:lnTo>
                  <a:cubicBezTo>
                    <a:pt x="369570" y="487680"/>
                    <a:pt x="372428" y="492442"/>
                    <a:pt x="379095" y="492442"/>
                  </a:cubicBezTo>
                  <a:cubicBezTo>
                    <a:pt x="382905" y="492442"/>
                    <a:pt x="384810" y="491490"/>
                    <a:pt x="386715" y="486728"/>
                  </a:cubicBezTo>
                  <a:lnTo>
                    <a:pt x="402908" y="444817"/>
                  </a:lnTo>
                  <a:cubicBezTo>
                    <a:pt x="407670" y="439103"/>
                    <a:pt x="411480" y="434340"/>
                    <a:pt x="416243" y="429578"/>
                  </a:cubicBezTo>
                  <a:lnTo>
                    <a:pt x="431483" y="429578"/>
                  </a:lnTo>
                  <a:close/>
                  <a:moveTo>
                    <a:pt x="340043" y="422910"/>
                  </a:moveTo>
                  <a:cubicBezTo>
                    <a:pt x="345758" y="422910"/>
                    <a:pt x="350520" y="426720"/>
                    <a:pt x="347663" y="437197"/>
                  </a:cubicBezTo>
                  <a:lnTo>
                    <a:pt x="321945" y="442913"/>
                  </a:lnTo>
                  <a:cubicBezTo>
                    <a:pt x="326708" y="432435"/>
                    <a:pt x="334328" y="422910"/>
                    <a:pt x="340043" y="422910"/>
                  </a:cubicBezTo>
                  <a:moveTo>
                    <a:pt x="354330" y="464820"/>
                  </a:moveTo>
                  <a:lnTo>
                    <a:pt x="349568" y="464820"/>
                  </a:lnTo>
                  <a:cubicBezTo>
                    <a:pt x="342900" y="472440"/>
                    <a:pt x="336233" y="478155"/>
                    <a:pt x="329565" y="478155"/>
                  </a:cubicBezTo>
                  <a:cubicBezTo>
                    <a:pt x="322898" y="478155"/>
                    <a:pt x="319088" y="474345"/>
                    <a:pt x="319088" y="464820"/>
                  </a:cubicBezTo>
                  <a:cubicBezTo>
                    <a:pt x="319088" y="461010"/>
                    <a:pt x="319088" y="457200"/>
                    <a:pt x="320040" y="453390"/>
                  </a:cubicBezTo>
                  <a:lnTo>
                    <a:pt x="360997" y="440055"/>
                  </a:lnTo>
                  <a:cubicBezTo>
                    <a:pt x="368618" y="421005"/>
                    <a:pt x="359093" y="412433"/>
                    <a:pt x="347663" y="412433"/>
                  </a:cubicBezTo>
                  <a:cubicBezTo>
                    <a:pt x="328613" y="412433"/>
                    <a:pt x="305753" y="444817"/>
                    <a:pt x="305753" y="473392"/>
                  </a:cubicBezTo>
                  <a:cubicBezTo>
                    <a:pt x="305753" y="485775"/>
                    <a:pt x="311468" y="493395"/>
                    <a:pt x="320993" y="493395"/>
                  </a:cubicBezTo>
                  <a:cubicBezTo>
                    <a:pt x="333375" y="493395"/>
                    <a:pt x="344805" y="481965"/>
                    <a:pt x="354330" y="464820"/>
                  </a:cubicBezTo>
                  <a:moveTo>
                    <a:pt x="257175" y="423863"/>
                  </a:moveTo>
                  <a:lnTo>
                    <a:pt x="270510" y="423863"/>
                  </a:lnTo>
                  <a:lnTo>
                    <a:pt x="248603" y="482917"/>
                  </a:lnTo>
                  <a:cubicBezTo>
                    <a:pt x="246698" y="487680"/>
                    <a:pt x="249555" y="493395"/>
                    <a:pt x="254318" y="493395"/>
                  </a:cubicBezTo>
                  <a:cubicBezTo>
                    <a:pt x="266700" y="493395"/>
                    <a:pt x="286703" y="481013"/>
                    <a:pt x="293370" y="464820"/>
                  </a:cubicBezTo>
                  <a:lnTo>
                    <a:pt x="289560" y="464820"/>
                  </a:lnTo>
                  <a:cubicBezTo>
                    <a:pt x="283845" y="470535"/>
                    <a:pt x="273368" y="478155"/>
                    <a:pt x="264795" y="480060"/>
                  </a:cubicBezTo>
                  <a:lnTo>
                    <a:pt x="284798" y="424815"/>
                  </a:lnTo>
                  <a:lnTo>
                    <a:pt x="304800" y="424815"/>
                  </a:lnTo>
                  <a:lnTo>
                    <a:pt x="307658" y="416242"/>
                  </a:lnTo>
                  <a:lnTo>
                    <a:pt x="287655" y="416242"/>
                  </a:lnTo>
                  <a:lnTo>
                    <a:pt x="295275" y="395288"/>
                  </a:lnTo>
                  <a:lnTo>
                    <a:pt x="287655" y="395288"/>
                  </a:lnTo>
                  <a:lnTo>
                    <a:pt x="273368" y="416242"/>
                  </a:lnTo>
                  <a:lnTo>
                    <a:pt x="256223" y="418147"/>
                  </a:lnTo>
                  <a:lnTo>
                    <a:pt x="256223" y="423863"/>
                  </a:lnTo>
                  <a:close/>
                  <a:moveTo>
                    <a:pt x="181928" y="469583"/>
                  </a:moveTo>
                  <a:cubicBezTo>
                    <a:pt x="181928" y="451485"/>
                    <a:pt x="201930" y="426720"/>
                    <a:pt x="213360" y="426720"/>
                  </a:cubicBezTo>
                  <a:cubicBezTo>
                    <a:pt x="216218" y="426720"/>
                    <a:pt x="218123" y="426720"/>
                    <a:pt x="220028" y="427672"/>
                  </a:cubicBezTo>
                  <a:lnTo>
                    <a:pt x="208598" y="459105"/>
                  </a:lnTo>
                  <a:cubicBezTo>
                    <a:pt x="201930" y="467678"/>
                    <a:pt x="191453" y="477203"/>
                    <a:pt x="186690" y="477203"/>
                  </a:cubicBezTo>
                  <a:cubicBezTo>
                    <a:pt x="183833" y="478155"/>
                    <a:pt x="181928" y="475297"/>
                    <a:pt x="181928" y="469583"/>
                  </a:cubicBezTo>
                  <a:moveTo>
                    <a:pt x="244793" y="408622"/>
                  </a:moveTo>
                  <a:lnTo>
                    <a:pt x="238125" y="408622"/>
                  </a:lnTo>
                  <a:lnTo>
                    <a:pt x="231458" y="415290"/>
                  </a:lnTo>
                  <a:lnTo>
                    <a:pt x="229553" y="415290"/>
                  </a:lnTo>
                  <a:cubicBezTo>
                    <a:pt x="195263" y="415290"/>
                    <a:pt x="166688" y="453390"/>
                    <a:pt x="166688" y="481013"/>
                  </a:cubicBezTo>
                  <a:cubicBezTo>
                    <a:pt x="166688" y="488633"/>
                    <a:pt x="171450" y="493395"/>
                    <a:pt x="179070" y="493395"/>
                  </a:cubicBezTo>
                  <a:cubicBezTo>
                    <a:pt x="187643" y="493395"/>
                    <a:pt x="196215" y="481013"/>
                    <a:pt x="205740" y="467678"/>
                  </a:cubicBezTo>
                  <a:lnTo>
                    <a:pt x="205740" y="472440"/>
                  </a:lnTo>
                  <a:cubicBezTo>
                    <a:pt x="204788" y="485775"/>
                    <a:pt x="208598" y="493395"/>
                    <a:pt x="216218" y="493395"/>
                  </a:cubicBezTo>
                  <a:cubicBezTo>
                    <a:pt x="224790" y="493395"/>
                    <a:pt x="232410" y="480060"/>
                    <a:pt x="238125" y="467678"/>
                  </a:cubicBezTo>
                  <a:lnTo>
                    <a:pt x="234315" y="467678"/>
                  </a:lnTo>
                  <a:cubicBezTo>
                    <a:pt x="230505" y="473392"/>
                    <a:pt x="226695" y="477203"/>
                    <a:pt x="223838" y="477203"/>
                  </a:cubicBezTo>
                  <a:cubicBezTo>
                    <a:pt x="220980" y="477203"/>
                    <a:pt x="218123" y="471488"/>
                    <a:pt x="223838" y="459105"/>
                  </a:cubicBezTo>
                  <a:lnTo>
                    <a:pt x="244793" y="408622"/>
                  </a:lnTo>
                  <a:close/>
                  <a:moveTo>
                    <a:pt x="172403" y="430530"/>
                  </a:moveTo>
                  <a:cubicBezTo>
                    <a:pt x="175260" y="421005"/>
                    <a:pt x="173355" y="412433"/>
                    <a:pt x="166688" y="412433"/>
                  </a:cubicBezTo>
                  <a:cubicBezTo>
                    <a:pt x="158115" y="412433"/>
                    <a:pt x="155258" y="419100"/>
                    <a:pt x="146685" y="438150"/>
                  </a:cubicBezTo>
                  <a:lnTo>
                    <a:pt x="146685" y="426720"/>
                  </a:lnTo>
                  <a:cubicBezTo>
                    <a:pt x="146685" y="419100"/>
                    <a:pt x="143828" y="411480"/>
                    <a:pt x="137160" y="411480"/>
                  </a:cubicBezTo>
                  <a:cubicBezTo>
                    <a:pt x="128588" y="411480"/>
                    <a:pt x="120968" y="424815"/>
                    <a:pt x="115253" y="437197"/>
                  </a:cubicBezTo>
                  <a:lnTo>
                    <a:pt x="119063" y="437197"/>
                  </a:lnTo>
                  <a:cubicBezTo>
                    <a:pt x="122873" y="431483"/>
                    <a:pt x="126682" y="427672"/>
                    <a:pt x="129540" y="427672"/>
                  </a:cubicBezTo>
                  <a:cubicBezTo>
                    <a:pt x="133350" y="427672"/>
                    <a:pt x="135255" y="433388"/>
                    <a:pt x="129540" y="445770"/>
                  </a:cubicBezTo>
                  <a:lnTo>
                    <a:pt x="113348" y="481013"/>
                  </a:lnTo>
                  <a:cubicBezTo>
                    <a:pt x="110490" y="487680"/>
                    <a:pt x="113348" y="492442"/>
                    <a:pt x="120015" y="492442"/>
                  </a:cubicBezTo>
                  <a:cubicBezTo>
                    <a:pt x="123825" y="492442"/>
                    <a:pt x="125730" y="491490"/>
                    <a:pt x="127635" y="486728"/>
                  </a:cubicBezTo>
                  <a:lnTo>
                    <a:pt x="143828" y="444817"/>
                  </a:lnTo>
                  <a:cubicBezTo>
                    <a:pt x="148590" y="439103"/>
                    <a:pt x="152400" y="434340"/>
                    <a:pt x="157163" y="429578"/>
                  </a:cubicBezTo>
                  <a:lnTo>
                    <a:pt x="172403" y="429578"/>
                  </a:lnTo>
                  <a:close/>
                  <a:moveTo>
                    <a:pt x="59055" y="489585"/>
                  </a:moveTo>
                  <a:lnTo>
                    <a:pt x="60960" y="484822"/>
                  </a:lnTo>
                  <a:cubicBezTo>
                    <a:pt x="40957" y="481013"/>
                    <a:pt x="39053" y="481013"/>
                    <a:pt x="46673" y="460058"/>
                  </a:cubicBezTo>
                  <a:lnTo>
                    <a:pt x="54293" y="438150"/>
                  </a:lnTo>
                  <a:lnTo>
                    <a:pt x="76200" y="438150"/>
                  </a:lnTo>
                  <a:cubicBezTo>
                    <a:pt x="85725" y="438150"/>
                    <a:pt x="85725" y="441960"/>
                    <a:pt x="84773" y="452438"/>
                  </a:cubicBezTo>
                  <a:lnTo>
                    <a:pt x="90488" y="452438"/>
                  </a:lnTo>
                  <a:lnTo>
                    <a:pt x="103823" y="416242"/>
                  </a:lnTo>
                  <a:lnTo>
                    <a:pt x="98107" y="416242"/>
                  </a:lnTo>
                  <a:cubicBezTo>
                    <a:pt x="93345" y="424815"/>
                    <a:pt x="89535" y="430530"/>
                    <a:pt x="79057" y="430530"/>
                  </a:cubicBezTo>
                  <a:lnTo>
                    <a:pt x="57150" y="430530"/>
                  </a:lnTo>
                  <a:lnTo>
                    <a:pt x="68580" y="399097"/>
                  </a:lnTo>
                  <a:cubicBezTo>
                    <a:pt x="72390" y="389572"/>
                    <a:pt x="74295" y="386715"/>
                    <a:pt x="87630" y="386715"/>
                  </a:cubicBezTo>
                  <a:lnTo>
                    <a:pt x="97155" y="386715"/>
                  </a:lnTo>
                  <a:cubicBezTo>
                    <a:pt x="110490" y="386715"/>
                    <a:pt x="112395" y="390525"/>
                    <a:pt x="112395" y="404813"/>
                  </a:cubicBezTo>
                  <a:lnTo>
                    <a:pt x="118110" y="404813"/>
                  </a:lnTo>
                  <a:lnTo>
                    <a:pt x="122873" y="380047"/>
                  </a:lnTo>
                  <a:lnTo>
                    <a:pt x="40957" y="380047"/>
                  </a:lnTo>
                  <a:lnTo>
                    <a:pt x="39053" y="384810"/>
                  </a:lnTo>
                  <a:cubicBezTo>
                    <a:pt x="55245" y="387667"/>
                    <a:pt x="56198" y="389572"/>
                    <a:pt x="48578" y="409575"/>
                  </a:cubicBezTo>
                  <a:lnTo>
                    <a:pt x="30480" y="458153"/>
                  </a:lnTo>
                  <a:cubicBezTo>
                    <a:pt x="22860" y="478155"/>
                    <a:pt x="20003" y="480060"/>
                    <a:pt x="1905" y="482917"/>
                  </a:cubicBezTo>
                  <a:lnTo>
                    <a:pt x="953" y="487680"/>
                  </a:lnTo>
                  <a:lnTo>
                    <a:pt x="59055" y="487680"/>
                  </a:lnTo>
                  <a:close/>
                  <a:moveTo>
                    <a:pt x="460058" y="238125"/>
                  </a:moveTo>
                  <a:cubicBezTo>
                    <a:pt x="465772" y="238125"/>
                    <a:pt x="470535" y="241935"/>
                    <a:pt x="467678" y="252413"/>
                  </a:cubicBezTo>
                  <a:lnTo>
                    <a:pt x="441960" y="258128"/>
                  </a:lnTo>
                  <a:cubicBezTo>
                    <a:pt x="446722" y="246697"/>
                    <a:pt x="454343" y="238125"/>
                    <a:pt x="460058" y="238125"/>
                  </a:cubicBezTo>
                  <a:moveTo>
                    <a:pt x="474345" y="279083"/>
                  </a:moveTo>
                  <a:lnTo>
                    <a:pt x="469583" y="279083"/>
                  </a:lnTo>
                  <a:cubicBezTo>
                    <a:pt x="462915" y="286703"/>
                    <a:pt x="456247" y="292417"/>
                    <a:pt x="449580" y="292417"/>
                  </a:cubicBezTo>
                  <a:cubicBezTo>
                    <a:pt x="442913" y="292417"/>
                    <a:pt x="439103" y="288608"/>
                    <a:pt x="439103" y="279083"/>
                  </a:cubicBezTo>
                  <a:cubicBezTo>
                    <a:pt x="439103" y="275272"/>
                    <a:pt x="439103" y="271463"/>
                    <a:pt x="440055" y="267653"/>
                  </a:cubicBezTo>
                  <a:lnTo>
                    <a:pt x="481013" y="254317"/>
                  </a:lnTo>
                  <a:cubicBezTo>
                    <a:pt x="488633" y="235267"/>
                    <a:pt x="479108" y="226695"/>
                    <a:pt x="467678" y="226695"/>
                  </a:cubicBezTo>
                  <a:cubicBezTo>
                    <a:pt x="448628" y="226695"/>
                    <a:pt x="425768" y="259080"/>
                    <a:pt x="425768" y="287655"/>
                  </a:cubicBezTo>
                  <a:cubicBezTo>
                    <a:pt x="425768" y="300038"/>
                    <a:pt x="431483" y="307658"/>
                    <a:pt x="441008" y="307658"/>
                  </a:cubicBezTo>
                  <a:cubicBezTo>
                    <a:pt x="453390" y="307658"/>
                    <a:pt x="464820" y="297180"/>
                    <a:pt x="474345" y="279083"/>
                  </a:cubicBezTo>
                  <a:moveTo>
                    <a:pt x="466725" y="219075"/>
                  </a:moveTo>
                  <a:lnTo>
                    <a:pt x="495300" y="192405"/>
                  </a:lnTo>
                  <a:lnTo>
                    <a:pt x="495300" y="189547"/>
                  </a:lnTo>
                  <a:lnTo>
                    <a:pt x="480060" y="189547"/>
                  </a:lnTo>
                  <a:lnTo>
                    <a:pt x="461963" y="220028"/>
                  </a:lnTo>
                  <a:lnTo>
                    <a:pt x="466725" y="220028"/>
                  </a:lnTo>
                  <a:close/>
                  <a:moveTo>
                    <a:pt x="378143" y="238125"/>
                  </a:moveTo>
                  <a:lnTo>
                    <a:pt x="391478" y="238125"/>
                  </a:lnTo>
                  <a:lnTo>
                    <a:pt x="369570" y="297180"/>
                  </a:lnTo>
                  <a:cubicBezTo>
                    <a:pt x="367665" y="301942"/>
                    <a:pt x="370522" y="307658"/>
                    <a:pt x="375285" y="307658"/>
                  </a:cubicBezTo>
                  <a:cubicBezTo>
                    <a:pt x="387668" y="307658"/>
                    <a:pt x="407670" y="295275"/>
                    <a:pt x="414338" y="279083"/>
                  </a:cubicBezTo>
                  <a:lnTo>
                    <a:pt x="410528" y="279083"/>
                  </a:lnTo>
                  <a:cubicBezTo>
                    <a:pt x="404813" y="284797"/>
                    <a:pt x="394335" y="292417"/>
                    <a:pt x="385763" y="294322"/>
                  </a:cubicBezTo>
                  <a:lnTo>
                    <a:pt x="405765" y="239078"/>
                  </a:lnTo>
                  <a:lnTo>
                    <a:pt x="425768" y="239078"/>
                  </a:lnTo>
                  <a:lnTo>
                    <a:pt x="428625" y="230505"/>
                  </a:lnTo>
                  <a:lnTo>
                    <a:pt x="408622" y="230505"/>
                  </a:lnTo>
                  <a:lnTo>
                    <a:pt x="416243" y="209550"/>
                  </a:lnTo>
                  <a:lnTo>
                    <a:pt x="408622" y="209550"/>
                  </a:lnTo>
                  <a:lnTo>
                    <a:pt x="394335" y="230505"/>
                  </a:lnTo>
                  <a:lnTo>
                    <a:pt x="377190" y="232410"/>
                  </a:lnTo>
                  <a:lnTo>
                    <a:pt x="377190" y="238125"/>
                  </a:lnTo>
                  <a:close/>
                  <a:moveTo>
                    <a:pt x="359093" y="235267"/>
                  </a:moveTo>
                  <a:cubicBezTo>
                    <a:pt x="360997" y="229553"/>
                    <a:pt x="357188" y="226695"/>
                    <a:pt x="354330" y="226695"/>
                  </a:cubicBezTo>
                  <a:cubicBezTo>
                    <a:pt x="342900" y="226695"/>
                    <a:pt x="328613" y="237172"/>
                    <a:pt x="322898" y="252413"/>
                  </a:cubicBezTo>
                  <a:lnTo>
                    <a:pt x="326708" y="252413"/>
                  </a:lnTo>
                  <a:cubicBezTo>
                    <a:pt x="330518" y="246697"/>
                    <a:pt x="337185" y="240983"/>
                    <a:pt x="342900" y="240030"/>
                  </a:cubicBezTo>
                  <a:lnTo>
                    <a:pt x="320040" y="299085"/>
                  </a:lnTo>
                  <a:cubicBezTo>
                    <a:pt x="318135" y="304800"/>
                    <a:pt x="321945" y="307658"/>
                    <a:pt x="324803" y="307658"/>
                  </a:cubicBezTo>
                  <a:cubicBezTo>
                    <a:pt x="336233" y="307658"/>
                    <a:pt x="349568" y="297180"/>
                    <a:pt x="355283" y="281940"/>
                  </a:cubicBezTo>
                  <a:lnTo>
                    <a:pt x="351472" y="281940"/>
                  </a:lnTo>
                  <a:cubicBezTo>
                    <a:pt x="347663" y="287655"/>
                    <a:pt x="340995" y="293370"/>
                    <a:pt x="335280" y="294322"/>
                  </a:cubicBezTo>
                  <a:lnTo>
                    <a:pt x="359093" y="235267"/>
                  </a:lnTo>
                  <a:close/>
                  <a:moveTo>
                    <a:pt x="363855" y="205740"/>
                  </a:moveTo>
                  <a:cubicBezTo>
                    <a:pt x="369570" y="205740"/>
                    <a:pt x="373380" y="200978"/>
                    <a:pt x="373380" y="196215"/>
                  </a:cubicBezTo>
                  <a:cubicBezTo>
                    <a:pt x="373380" y="190500"/>
                    <a:pt x="368618" y="186690"/>
                    <a:pt x="363855" y="186690"/>
                  </a:cubicBezTo>
                  <a:cubicBezTo>
                    <a:pt x="358140" y="186690"/>
                    <a:pt x="354330" y="191453"/>
                    <a:pt x="354330" y="196215"/>
                  </a:cubicBezTo>
                  <a:cubicBezTo>
                    <a:pt x="353378" y="201930"/>
                    <a:pt x="358140" y="205740"/>
                    <a:pt x="363855" y="205740"/>
                  </a:cubicBezTo>
                  <a:moveTo>
                    <a:pt x="284798" y="294322"/>
                  </a:moveTo>
                  <a:lnTo>
                    <a:pt x="325755" y="185738"/>
                  </a:lnTo>
                  <a:lnTo>
                    <a:pt x="324803" y="183833"/>
                  </a:lnTo>
                  <a:lnTo>
                    <a:pt x="299085" y="186690"/>
                  </a:lnTo>
                  <a:lnTo>
                    <a:pt x="299085" y="189547"/>
                  </a:lnTo>
                  <a:lnTo>
                    <a:pt x="303848" y="193358"/>
                  </a:lnTo>
                  <a:cubicBezTo>
                    <a:pt x="308610" y="197167"/>
                    <a:pt x="306705" y="200025"/>
                    <a:pt x="302895" y="211455"/>
                  </a:cubicBezTo>
                  <a:lnTo>
                    <a:pt x="270510" y="296228"/>
                  </a:lnTo>
                  <a:cubicBezTo>
                    <a:pt x="268605" y="300990"/>
                    <a:pt x="271463" y="306705"/>
                    <a:pt x="276225" y="306705"/>
                  </a:cubicBezTo>
                  <a:cubicBezTo>
                    <a:pt x="287655" y="306705"/>
                    <a:pt x="300990" y="296228"/>
                    <a:pt x="306705" y="280988"/>
                  </a:cubicBezTo>
                  <a:lnTo>
                    <a:pt x="302895" y="280988"/>
                  </a:lnTo>
                  <a:cubicBezTo>
                    <a:pt x="299085" y="287655"/>
                    <a:pt x="290513" y="293370"/>
                    <a:pt x="284798" y="294322"/>
                  </a:cubicBezTo>
                  <a:moveTo>
                    <a:pt x="205740" y="284797"/>
                  </a:moveTo>
                  <a:cubicBezTo>
                    <a:pt x="205740" y="266700"/>
                    <a:pt x="225743" y="241935"/>
                    <a:pt x="237173" y="241935"/>
                  </a:cubicBezTo>
                  <a:cubicBezTo>
                    <a:pt x="240030" y="241935"/>
                    <a:pt x="241935" y="241935"/>
                    <a:pt x="243840" y="242888"/>
                  </a:cubicBezTo>
                  <a:lnTo>
                    <a:pt x="232410" y="274320"/>
                  </a:lnTo>
                  <a:cubicBezTo>
                    <a:pt x="225743" y="282892"/>
                    <a:pt x="215265" y="292417"/>
                    <a:pt x="210503" y="292417"/>
                  </a:cubicBezTo>
                  <a:cubicBezTo>
                    <a:pt x="207645" y="292417"/>
                    <a:pt x="205740" y="289560"/>
                    <a:pt x="205740" y="284797"/>
                  </a:cubicBezTo>
                  <a:moveTo>
                    <a:pt x="268605" y="223838"/>
                  </a:moveTo>
                  <a:lnTo>
                    <a:pt x="261938" y="223838"/>
                  </a:lnTo>
                  <a:lnTo>
                    <a:pt x="255270" y="230505"/>
                  </a:lnTo>
                  <a:lnTo>
                    <a:pt x="253365" y="230505"/>
                  </a:lnTo>
                  <a:cubicBezTo>
                    <a:pt x="219075" y="230505"/>
                    <a:pt x="190500" y="268605"/>
                    <a:pt x="190500" y="296228"/>
                  </a:cubicBezTo>
                  <a:cubicBezTo>
                    <a:pt x="190500" y="303847"/>
                    <a:pt x="195263" y="308610"/>
                    <a:pt x="202883" y="308610"/>
                  </a:cubicBezTo>
                  <a:cubicBezTo>
                    <a:pt x="211455" y="308610"/>
                    <a:pt x="220028" y="296228"/>
                    <a:pt x="229553" y="282892"/>
                  </a:cubicBezTo>
                  <a:lnTo>
                    <a:pt x="229553" y="287655"/>
                  </a:lnTo>
                  <a:cubicBezTo>
                    <a:pt x="228600" y="300990"/>
                    <a:pt x="232410" y="308610"/>
                    <a:pt x="240030" y="308610"/>
                  </a:cubicBezTo>
                  <a:cubicBezTo>
                    <a:pt x="248603" y="308610"/>
                    <a:pt x="256223" y="295275"/>
                    <a:pt x="261938" y="282892"/>
                  </a:cubicBezTo>
                  <a:lnTo>
                    <a:pt x="258128" y="282892"/>
                  </a:lnTo>
                  <a:cubicBezTo>
                    <a:pt x="254318" y="288608"/>
                    <a:pt x="250508" y="292417"/>
                    <a:pt x="247650" y="292417"/>
                  </a:cubicBezTo>
                  <a:cubicBezTo>
                    <a:pt x="244793" y="292417"/>
                    <a:pt x="241935" y="286703"/>
                    <a:pt x="247650" y="274320"/>
                  </a:cubicBezTo>
                  <a:lnTo>
                    <a:pt x="268605" y="223838"/>
                  </a:lnTo>
                  <a:close/>
                  <a:moveTo>
                    <a:pt x="117157" y="321945"/>
                  </a:moveTo>
                  <a:cubicBezTo>
                    <a:pt x="117157" y="314325"/>
                    <a:pt x="124778" y="309563"/>
                    <a:pt x="135255" y="304800"/>
                  </a:cubicBezTo>
                  <a:cubicBezTo>
                    <a:pt x="139065" y="306705"/>
                    <a:pt x="143828" y="308610"/>
                    <a:pt x="151448" y="310515"/>
                  </a:cubicBezTo>
                  <a:cubicBezTo>
                    <a:pt x="162878" y="314325"/>
                    <a:pt x="166688" y="315278"/>
                    <a:pt x="166688" y="319088"/>
                  </a:cubicBezTo>
                  <a:cubicBezTo>
                    <a:pt x="166688" y="326708"/>
                    <a:pt x="154305" y="331470"/>
                    <a:pt x="137160" y="331470"/>
                  </a:cubicBezTo>
                  <a:cubicBezTo>
                    <a:pt x="123825" y="332422"/>
                    <a:pt x="117157" y="329565"/>
                    <a:pt x="117157" y="321945"/>
                  </a:cubicBezTo>
                  <a:moveTo>
                    <a:pt x="147638" y="274320"/>
                  </a:moveTo>
                  <a:cubicBezTo>
                    <a:pt x="142875" y="274320"/>
                    <a:pt x="140970" y="270510"/>
                    <a:pt x="140970" y="265747"/>
                  </a:cubicBezTo>
                  <a:cubicBezTo>
                    <a:pt x="140970" y="252413"/>
                    <a:pt x="147638" y="233363"/>
                    <a:pt x="159068" y="233363"/>
                  </a:cubicBezTo>
                  <a:cubicBezTo>
                    <a:pt x="163830" y="233363"/>
                    <a:pt x="165735" y="237172"/>
                    <a:pt x="165735" y="241935"/>
                  </a:cubicBezTo>
                  <a:cubicBezTo>
                    <a:pt x="166688" y="254317"/>
                    <a:pt x="159068" y="274320"/>
                    <a:pt x="147638" y="274320"/>
                  </a:cubicBezTo>
                  <a:moveTo>
                    <a:pt x="180023" y="314325"/>
                  </a:moveTo>
                  <a:cubicBezTo>
                    <a:pt x="180023" y="304800"/>
                    <a:pt x="171450" y="300990"/>
                    <a:pt x="158115" y="297180"/>
                  </a:cubicBezTo>
                  <a:cubicBezTo>
                    <a:pt x="146685" y="293370"/>
                    <a:pt x="140970" y="292417"/>
                    <a:pt x="140970" y="288608"/>
                  </a:cubicBezTo>
                  <a:cubicBezTo>
                    <a:pt x="140970" y="285750"/>
                    <a:pt x="143828" y="281940"/>
                    <a:pt x="148590" y="279083"/>
                  </a:cubicBezTo>
                  <a:cubicBezTo>
                    <a:pt x="167640" y="278130"/>
                    <a:pt x="180975" y="260985"/>
                    <a:pt x="180975" y="245745"/>
                  </a:cubicBezTo>
                  <a:cubicBezTo>
                    <a:pt x="180975" y="242888"/>
                    <a:pt x="180023" y="240030"/>
                    <a:pt x="179070" y="237172"/>
                  </a:cubicBezTo>
                  <a:lnTo>
                    <a:pt x="195263" y="237172"/>
                  </a:lnTo>
                  <a:lnTo>
                    <a:pt x="198120" y="228600"/>
                  </a:lnTo>
                  <a:lnTo>
                    <a:pt x="172403" y="228600"/>
                  </a:lnTo>
                  <a:cubicBezTo>
                    <a:pt x="169545" y="226695"/>
                    <a:pt x="165735" y="225742"/>
                    <a:pt x="161925" y="225742"/>
                  </a:cubicBezTo>
                  <a:cubicBezTo>
                    <a:pt x="140970" y="225742"/>
                    <a:pt x="127635" y="243840"/>
                    <a:pt x="127635" y="258128"/>
                  </a:cubicBezTo>
                  <a:cubicBezTo>
                    <a:pt x="127635" y="269558"/>
                    <a:pt x="134303" y="276225"/>
                    <a:pt x="143828" y="278130"/>
                  </a:cubicBezTo>
                  <a:cubicBezTo>
                    <a:pt x="134303" y="282892"/>
                    <a:pt x="128588" y="287655"/>
                    <a:pt x="128588" y="293370"/>
                  </a:cubicBezTo>
                  <a:cubicBezTo>
                    <a:pt x="128588" y="297180"/>
                    <a:pt x="129540" y="299085"/>
                    <a:pt x="132398" y="300990"/>
                  </a:cubicBezTo>
                  <a:cubicBezTo>
                    <a:pt x="110490" y="307658"/>
                    <a:pt x="100965" y="315278"/>
                    <a:pt x="100965" y="325755"/>
                  </a:cubicBezTo>
                  <a:cubicBezTo>
                    <a:pt x="100965" y="336233"/>
                    <a:pt x="114300" y="340042"/>
                    <a:pt x="130493" y="340042"/>
                  </a:cubicBezTo>
                  <a:cubicBezTo>
                    <a:pt x="157163" y="341947"/>
                    <a:pt x="180023" y="326708"/>
                    <a:pt x="180023" y="314325"/>
                  </a:cubicBezTo>
                  <a:moveTo>
                    <a:pt x="76200" y="251460"/>
                  </a:moveTo>
                  <a:cubicBezTo>
                    <a:pt x="85725" y="251460"/>
                    <a:pt x="85725" y="255270"/>
                    <a:pt x="84773" y="265747"/>
                  </a:cubicBezTo>
                  <a:lnTo>
                    <a:pt x="90488" y="265747"/>
                  </a:lnTo>
                  <a:lnTo>
                    <a:pt x="103823" y="229553"/>
                  </a:lnTo>
                  <a:lnTo>
                    <a:pt x="98107" y="229553"/>
                  </a:lnTo>
                  <a:cubicBezTo>
                    <a:pt x="93345" y="238125"/>
                    <a:pt x="89535" y="243840"/>
                    <a:pt x="79057" y="243840"/>
                  </a:cubicBezTo>
                  <a:lnTo>
                    <a:pt x="57150" y="243840"/>
                  </a:lnTo>
                  <a:lnTo>
                    <a:pt x="67628" y="214313"/>
                  </a:lnTo>
                  <a:cubicBezTo>
                    <a:pt x="71438" y="204788"/>
                    <a:pt x="73343" y="202883"/>
                    <a:pt x="86678" y="202883"/>
                  </a:cubicBezTo>
                  <a:lnTo>
                    <a:pt x="96203" y="202883"/>
                  </a:lnTo>
                  <a:cubicBezTo>
                    <a:pt x="109538" y="202883"/>
                    <a:pt x="111443" y="206692"/>
                    <a:pt x="111443" y="220028"/>
                  </a:cubicBezTo>
                  <a:lnTo>
                    <a:pt x="117157" y="220028"/>
                  </a:lnTo>
                  <a:lnTo>
                    <a:pt x="121920" y="195263"/>
                  </a:lnTo>
                  <a:lnTo>
                    <a:pt x="40005" y="195263"/>
                  </a:lnTo>
                  <a:lnTo>
                    <a:pt x="38100" y="200025"/>
                  </a:lnTo>
                  <a:cubicBezTo>
                    <a:pt x="54293" y="202883"/>
                    <a:pt x="55245" y="204788"/>
                    <a:pt x="47625" y="224790"/>
                  </a:cubicBezTo>
                  <a:lnTo>
                    <a:pt x="29528" y="273367"/>
                  </a:lnTo>
                  <a:cubicBezTo>
                    <a:pt x="21908" y="293370"/>
                    <a:pt x="19050" y="295275"/>
                    <a:pt x="953" y="298133"/>
                  </a:cubicBezTo>
                  <a:lnTo>
                    <a:pt x="0" y="302895"/>
                  </a:lnTo>
                  <a:lnTo>
                    <a:pt x="91440" y="302895"/>
                  </a:lnTo>
                  <a:lnTo>
                    <a:pt x="107632" y="277178"/>
                  </a:lnTo>
                  <a:lnTo>
                    <a:pt x="101918" y="277178"/>
                  </a:lnTo>
                  <a:cubicBezTo>
                    <a:pt x="91440" y="286703"/>
                    <a:pt x="78105" y="296228"/>
                    <a:pt x="60007" y="296228"/>
                  </a:cubicBezTo>
                  <a:cubicBezTo>
                    <a:pt x="36195" y="296228"/>
                    <a:pt x="38100" y="295275"/>
                    <a:pt x="45720" y="273367"/>
                  </a:cubicBezTo>
                  <a:lnTo>
                    <a:pt x="54293" y="249555"/>
                  </a:lnTo>
                  <a:lnTo>
                    <a:pt x="76200" y="249555"/>
                  </a:lnTo>
                  <a:close/>
                  <a:moveTo>
                    <a:pt x="88582" y="188595"/>
                  </a:moveTo>
                  <a:lnTo>
                    <a:pt x="117157" y="168592"/>
                  </a:lnTo>
                  <a:lnTo>
                    <a:pt x="117157" y="165735"/>
                  </a:lnTo>
                  <a:lnTo>
                    <a:pt x="100013" y="165735"/>
                  </a:lnTo>
                  <a:lnTo>
                    <a:pt x="83820" y="188595"/>
                  </a:lnTo>
                  <a:lnTo>
                    <a:pt x="88582" y="188595"/>
                  </a:lnTo>
                  <a:close/>
                  <a:moveTo>
                    <a:pt x="450533" y="52388"/>
                  </a:moveTo>
                  <a:cubicBezTo>
                    <a:pt x="456247" y="52388"/>
                    <a:pt x="461010" y="56197"/>
                    <a:pt x="458153" y="66675"/>
                  </a:cubicBezTo>
                  <a:lnTo>
                    <a:pt x="432435" y="72390"/>
                  </a:lnTo>
                  <a:cubicBezTo>
                    <a:pt x="437197" y="60960"/>
                    <a:pt x="444818" y="52388"/>
                    <a:pt x="450533" y="52388"/>
                  </a:cubicBezTo>
                  <a:moveTo>
                    <a:pt x="464820" y="93345"/>
                  </a:moveTo>
                  <a:lnTo>
                    <a:pt x="460058" y="93345"/>
                  </a:lnTo>
                  <a:cubicBezTo>
                    <a:pt x="453390" y="100965"/>
                    <a:pt x="446722" y="106680"/>
                    <a:pt x="440055" y="106680"/>
                  </a:cubicBezTo>
                  <a:cubicBezTo>
                    <a:pt x="433388" y="106680"/>
                    <a:pt x="429578" y="102870"/>
                    <a:pt x="429578" y="93345"/>
                  </a:cubicBezTo>
                  <a:cubicBezTo>
                    <a:pt x="429578" y="89535"/>
                    <a:pt x="429578" y="85725"/>
                    <a:pt x="430530" y="81915"/>
                  </a:cubicBezTo>
                  <a:lnTo>
                    <a:pt x="471488" y="68580"/>
                  </a:lnTo>
                  <a:cubicBezTo>
                    <a:pt x="479108" y="49530"/>
                    <a:pt x="469583" y="40958"/>
                    <a:pt x="458153" y="40958"/>
                  </a:cubicBezTo>
                  <a:cubicBezTo>
                    <a:pt x="439103" y="40958"/>
                    <a:pt x="416243" y="73342"/>
                    <a:pt x="416243" y="101917"/>
                  </a:cubicBezTo>
                  <a:cubicBezTo>
                    <a:pt x="416243" y="114300"/>
                    <a:pt x="421958" y="121920"/>
                    <a:pt x="431483" y="121920"/>
                  </a:cubicBezTo>
                  <a:cubicBezTo>
                    <a:pt x="443865" y="121920"/>
                    <a:pt x="455295" y="111442"/>
                    <a:pt x="464820" y="93345"/>
                  </a:cubicBezTo>
                  <a:moveTo>
                    <a:pt x="457200" y="33338"/>
                  </a:moveTo>
                  <a:lnTo>
                    <a:pt x="485775" y="6667"/>
                  </a:lnTo>
                  <a:lnTo>
                    <a:pt x="485775" y="3810"/>
                  </a:lnTo>
                  <a:lnTo>
                    <a:pt x="470535" y="3810"/>
                  </a:lnTo>
                  <a:lnTo>
                    <a:pt x="452438" y="34290"/>
                  </a:lnTo>
                  <a:lnTo>
                    <a:pt x="457200" y="34290"/>
                  </a:lnTo>
                  <a:close/>
                  <a:moveTo>
                    <a:pt x="371475" y="52388"/>
                  </a:moveTo>
                  <a:lnTo>
                    <a:pt x="381953" y="52388"/>
                  </a:lnTo>
                  <a:lnTo>
                    <a:pt x="360045" y="111442"/>
                  </a:lnTo>
                  <a:cubicBezTo>
                    <a:pt x="358140" y="116205"/>
                    <a:pt x="360997" y="121920"/>
                    <a:pt x="365760" y="121920"/>
                  </a:cubicBezTo>
                  <a:cubicBezTo>
                    <a:pt x="378143" y="121920"/>
                    <a:pt x="398145" y="109538"/>
                    <a:pt x="404813" y="93345"/>
                  </a:cubicBezTo>
                  <a:lnTo>
                    <a:pt x="401003" y="93345"/>
                  </a:lnTo>
                  <a:cubicBezTo>
                    <a:pt x="395288" y="99060"/>
                    <a:pt x="384810" y="106680"/>
                    <a:pt x="376238" y="108585"/>
                  </a:cubicBezTo>
                  <a:lnTo>
                    <a:pt x="396240" y="53340"/>
                  </a:lnTo>
                  <a:lnTo>
                    <a:pt x="416243" y="53340"/>
                  </a:lnTo>
                  <a:lnTo>
                    <a:pt x="419100" y="44767"/>
                  </a:lnTo>
                  <a:lnTo>
                    <a:pt x="399097" y="44767"/>
                  </a:lnTo>
                  <a:lnTo>
                    <a:pt x="406718" y="23813"/>
                  </a:lnTo>
                  <a:lnTo>
                    <a:pt x="399097" y="23813"/>
                  </a:lnTo>
                  <a:lnTo>
                    <a:pt x="384810" y="44767"/>
                  </a:lnTo>
                  <a:lnTo>
                    <a:pt x="370522" y="46672"/>
                  </a:lnTo>
                  <a:lnTo>
                    <a:pt x="370522" y="52388"/>
                  </a:lnTo>
                  <a:close/>
                  <a:moveTo>
                    <a:pt x="360997" y="59055"/>
                  </a:moveTo>
                  <a:cubicBezTo>
                    <a:pt x="363855" y="49530"/>
                    <a:pt x="361950" y="40958"/>
                    <a:pt x="355283" y="40958"/>
                  </a:cubicBezTo>
                  <a:cubicBezTo>
                    <a:pt x="346710" y="40958"/>
                    <a:pt x="343853" y="47625"/>
                    <a:pt x="335280" y="66675"/>
                  </a:cubicBezTo>
                  <a:lnTo>
                    <a:pt x="335280" y="55245"/>
                  </a:lnTo>
                  <a:cubicBezTo>
                    <a:pt x="335280" y="47625"/>
                    <a:pt x="332423" y="40005"/>
                    <a:pt x="325755" y="40005"/>
                  </a:cubicBezTo>
                  <a:cubicBezTo>
                    <a:pt x="317183" y="40005"/>
                    <a:pt x="309563" y="53340"/>
                    <a:pt x="303848" y="65722"/>
                  </a:cubicBezTo>
                  <a:lnTo>
                    <a:pt x="307658" y="65722"/>
                  </a:lnTo>
                  <a:cubicBezTo>
                    <a:pt x="311468" y="60008"/>
                    <a:pt x="315278" y="56197"/>
                    <a:pt x="318135" y="56197"/>
                  </a:cubicBezTo>
                  <a:cubicBezTo>
                    <a:pt x="321945" y="56197"/>
                    <a:pt x="323850" y="61913"/>
                    <a:pt x="318135" y="74295"/>
                  </a:cubicBezTo>
                  <a:lnTo>
                    <a:pt x="301943" y="109538"/>
                  </a:lnTo>
                  <a:cubicBezTo>
                    <a:pt x="299085" y="116205"/>
                    <a:pt x="301943" y="120967"/>
                    <a:pt x="308610" y="120967"/>
                  </a:cubicBezTo>
                  <a:cubicBezTo>
                    <a:pt x="312420" y="120967"/>
                    <a:pt x="314325" y="120015"/>
                    <a:pt x="316230" y="115253"/>
                  </a:cubicBezTo>
                  <a:lnTo>
                    <a:pt x="332423" y="73342"/>
                  </a:lnTo>
                  <a:cubicBezTo>
                    <a:pt x="337185" y="67628"/>
                    <a:pt x="340995" y="62865"/>
                    <a:pt x="345758" y="58103"/>
                  </a:cubicBezTo>
                  <a:lnTo>
                    <a:pt x="360997" y="58103"/>
                  </a:lnTo>
                  <a:close/>
                  <a:moveTo>
                    <a:pt x="269558" y="52388"/>
                  </a:moveTo>
                  <a:cubicBezTo>
                    <a:pt x="275273" y="52388"/>
                    <a:pt x="280035" y="56197"/>
                    <a:pt x="277178" y="66675"/>
                  </a:cubicBezTo>
                  <a:lnTo>
                    <a:pt x="251460" y="72390"/>
                  </a:lnTo>
                  <a:cubicBezTo>
                    <a:pt x="256223" y="60960"/>
                    <a:pt x="263843" y="52388"/>
                    <a:pt x="269558" y="52388"/>
                  </a:cubicBezTo>
                  <a:moveTo>
                    <a:pt x="283845" y="93345"/>
                  </a:moveTo>
                  <a:lnTo>
                    <a:pt x="279083" y="93345"/>
                  </a:lnTo>
                  <a:cubicBezTo>
                    <a:pt x="272415" y="100965"/>
                    <a:pt x="265748" y="106680"/>
                    <a:pt x="259080" y="106680"/>
                  </a:cubicBezTo>
                  <a:cubicBezTo>
                    <a:pt x="252413" y="106680"/>
                    <a:pt x="248603" y="102870"/>
                    <a:pt x="248603" y="93345"/>
                  </a:cubicBezTo>
                  <a:cubicBezTo>
                    <a:pt x="248603" y="89535"/>
                    <a:pt x="248603" y="85725"/>
                    <a:pt x="249555" y="81915"/>
                  </a:cubicBezTo>
                  <a:lnTo>
                    <a:pt x="290513" y="68580"/>
                  </a:lnTo>
                  <a:cubicBezTo>
                    <a:pt x="298133" y="49530"/>
                    <a:pt x="288608" y="40958"/>
                    <a:pt x="277178" y="40958"/>
                  </a:cubicBezTo>
                  <a:cubicBezTo>
                    <a:pt x="258128" y="40958"/>
                    <a:pt x="235268" y="73342"/>
                    <a:pt x="235268" y="101917"/>
                  </a:cubicBezTo>
                  <a:cubicBezTo>
                    <a:pt x="235268" y="114300"/>
                    <a:pt x="240983" y="121920"/>
                    <a:pt x="250508" y="121920"/>
                  </a:cubicBezTo>
                  <a:cubicBezTo>
                    <a:pt x="262890" y="121920"/>
                    <a:pt x="274320" y="111442"/>
                    <a:pt x="283845" y="93345"/>
                  </a:cubicBezTo>
                  <a:moveTo>
                    <a:pt x="182880" y="110490"/>
                  </a:moveTo>
                  <a:cubicBezTo>
                    <a:pt x="179070" y="110490"/>
                    <a:pt x="173355" y="106680"/>
                    <a:pt x="173355" y="103822"/>
                  </a:cubicBezTo>
                  <a:cubicBezTo>
                    <a:pt x="173355" y="102870"/>
                    <a:pt x="175260" y="98108"/>
                    <a:pt x="177165" y="92392"/>
                  </a:cubicBezTo>
                  <a:lnTo>
                    <a:pt x="183833" y="74295"/>
                  </a:lnTo>
                  <a:cubicBezTo>
                    <a:pt x="190500" y="65722"/>
                    <a:pt x="201930" y="57150"/>
                    <a:pt x="207645" y="57150"/>
                  </a:cubicBezTo>
                  <a:cubicBezTo>
                    <a:pt x="211455" y="57150"/>
                    <a:pt x="214313" y="59055"/>
                    <a:pt x="214313" y="64770"/>
                  </a:cubicBezTo>
                  <a:cubicBezTo>
                    <a:pt x="215265" y="80963"/>
                    <a:pt x="200025" y="110490"/>
                    <a:pt x="182880" y="110490"/>
                  </a:cubicBezTo>
                  <a:moveTo>
                    <a:pt x="230505" y="58103"/>
                  </a:moveTo>
                  <a:cubicBezTo>
                    <a:pt x="230505" y="45720"/>
                    <a:pt x="225743" y="41910"/>
                    <a:pt x="218123" y="41910"/>
                  </a:cubicBezTo>
                  <a:cubicBezTo>
                    <a:pt x="207645" y="41910"/>
                    <a:pt x="198120" y="53340"/>
                    <a:pt x="188595" y="66675"/>
                  </a:cubicBezTo>
                  <a:lnTo>
                    <a:pt x="213360" y="1905"/>
                  </a:lnTo>
                  <a:lnTo>
                    <a:pt x="212408" y="0"/>
                  </a:lnTo>
                  <a:lnTo>
                    <a:pt x="186690" y="2858"/>
                  </a:lnTo>
                  <a:lnTo>
                    <a:pt x="186690" y="5715"/>
                  </a:lnTo>
                  <a:lnTo>
                    <a:pt x="191453" y="9525"/>
                  </a:lnTo>
                  <a:cubicBezTo>
                    <a:pt x="196215" y="13335"/>
                    <a:pt x="194310" y="17145"/>
                    <a:pt x="190500" y="27622"/>
                  </a:cubicBezTo>
                  <a:lnTo>
                    <a:pt x="163830" y="96203"/>
                  </a:lnTo>
                  <a:cubicBezTo>
                    <a:pt x="161925" y="100965"/>
                    <a:pt x="159068" y="107633"/>
                    <a:pt x="159068" y="108585"/>
                  </a:cubicBezTo>
                  <a:cubicBezTo>
                    <a:pt x="159068" y="115253"/>
                    <a:pt x="168593" y="121920"/>
                    <a:pt x="177165" y="121920"/>
                  </a:cubicBezTo>
                  <a:cubicBezTo>
                    <a:pt x="196215" y="121920"/>
                    <a:pt x="230505" y="85725"/>
                    <a:pt x="230505" y="58103"/>
                  </a:cubicBezTo>
                  <a:moveTo>
                    <a:pt x="149543" y="49530"/>
                  </a:moveTo>
                  <a:cubicBezTo>
                    <a:pt x="151448" y="43815"/>
                    <a:pt x="147638" y="40958"/>
                    <a:pt x="144780" y="40958"/>
                  </a:cubicBezTo>
                  <a:cubicBezTo>
                    <a:pt x="133350" y="40958"/>
                    <a:pt x="119063" y="51435"/>
                    <a:pt x="113348" y="66675"/>
                  </a:cubicBezTo>
                  <a:lnTo>
                    <a:pt x="117157" y="66675"/>
                  </a:lnTo>
                  <a:cubicBezTo>
                    <a:pt x="120968" y="60960"/>
                    <a:pt x="127635" y="55245"/>
                    <a:pt x="133350" y="54292"/>
                  </a:cubicBezTo>
                  <a:lnTo>
                    <a:pt x="110490" y="113347"/>
                  </a:lnTo>
                  <a:cubicBezTo>
                    <a:pt x="108585" y="119063"/>
                    <a:pt x="112395" y="121920"/>
                    <a:pt x="115253" y="121920"/>
                  </a:cubicBezTo>
                  <a:cubicBezTo>
                    <a:pt x="126682" y="121920"/>
                    <a:pt x="140018" y="111442"/>
                    <a:pt x="145733" y="96203"/>
                  </a:cubicBezTo>
                  <a:lnTo>
                    <a:pt x="141923" y="96203"/>
                  </a:lnTo>
                  <a:cubicBezTo>
                    <a:pt x="138113" y="101917"/>
                    <a:pt x="131445" y="107633"/>
                    <a:pt x="125730" y="108585"/>
                  </a:cubicBezTo>
                  <a:lnTo>
                    <a:pt x="149543" y="49530"/>
                  </a:lnTo>
                  <a:close/>
                  <a:moveTo>
                    <a:pt x="153353" y="20003"/>
                  </a:moveTo>
                  <a:cubicBezTo>
                    <a:pt x="159068" y="20003"/>
                    <a:pt x="162878" y="15240"/>
                    <a:pt x="162878" y="10478"/>
                  </a:cubicBezTo>
                  <a:cubicBezTo>
                    <a:pt x="162878" y="4763"/>
                    <a:pt x="158115" y="953"/>
                    <a:pt x="153353" y="953"/>
                  </a:cubicBezTo>
                  <a:cubicBezTo>
                    <a:pt x="147638" y="953"/>
                    <a:pt x="143828" y="5715"/>
                    <a:pt x="143828" y="10478"/>
                  </a:cubicBezTo>
                  <a:cubicBezTo>
                    <a:pt x="143828" y="16192"/>
                    <a:pt x="147638" y="20003"/>
                    <a:pt x="153353" y="20003"/>
                  </a:cubicBezTo>
                  <a:moveTo>
                    <a:pt x="93345" y="10478"/>
                  </a:moveTo>
                  <a:lnTo>
                    <a:pt x="39053" y="10478"/>
                  </a:lnTo>
                  <a:lnTo>
                    <a:pt x="37148" y="15240"/>
                  </a:lnTo>
                  <a:cubicBezTo>
                    <a:pt x="53340" y="18097"/>
                    <a:pt x="54293" y="20003"/>
                    <a:pt x="46673" y="40005"/>
                  </a:cubicBezTo>
                  <a:lnTo>
                    <a:pt x="29528" y="88583"/>
                  </a:lnTo>
                  <a:cubicBezTo>
                    <a:pt x="21908" y="108585"/>
                    <a:pt x="19050" y="110490"/>
                    <a:pt x="953" y="113347"/>
                  </a:cubicBezTo>
                  <a:lnTo>
                    <a:pt x="0" y="118110"/>
                  </a:lnTo>
                  <a:lnTo>
                    <a:pt x="82868" y="118110"/>
                  </a:lnTo>
                  <a:lnTo>
                    <a:pt x="100965" y="86678"/>
                  </a:lnTo>
                  <a:lnTo>
                    <a:pt x="94298" y="86678"/>
                  </a:lnTo>
                  <a:cubicBezTo>
                    <a:pt x="83820" y="98108"/>
                    <a:pt x="72390" y="111442"/>
                    <a:pt x="54293" y="111442"/>
                  </a:cubicBezTo>
                  <a:cubicBezTo>
                    <a:pt x="40957" y="111442"/>
                    <a:pt x="39053" y="109538"/>
                    <a:pt x="46673" y="88583"/>
                  </a:cubicBezTo>
                  <a:lnTo>
                    <a:pt x="63818" y="40005"/>
                  </a:lnTo>
                  <a:cubicBezTo>
                    <a:pt x="71438" y="20003"/>
                    <a:pt x="74295" y="18097"/>
                    <a:pt x="92393" y="15240"/>
                  </a:cubicBezTo>
                  <a:lnTo>
                    <a:pt x="93345" y="1047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EF54B3B4-D50D-4165-967F-4732A1467D7A}"/>
                </a:ext>
              </a:extLst>
            </p:cNvPr>
            <p:cNvSpPr/>
            <p:nvPr/>
          </p:nvSpPr>
          <p:spPr>
            <a:xfrm>
              <a:off x="270509" y="675322"/>
              <a:ext cx="1310640" cy="498157"/>
            </a:xfrm>
            <a:custGeom>
              <a:avLst/>
              <a:gdLst>
                <a:gd name="connsiteX0" fmla="*/ 0 w 1310640"/>
                <a:gd name="connsiteY0" fmla="*/ 196215 h 498157"/>
                <a:gd name="connsiteX1" fmla="*/ 0 w 1310640"/>
                <a:gd name="connsiteY1" fmla="*/ 0 h 498157"/>
                <a:gd name="connsiteX2" fmla="*/ 64770 w 1310640"/>
                <a:gd name="connsiteY2" fmla="*/ 0 h 498157"/>
                <a:gd name="connsiteX3" fmla="*/ 116205 w 1310640"/>
                <a:gd name="connsiteY3" fmla="*/ 16192 h 498157"/>
                <a:gd name="connsiteX4" fmla="*/ 135255 w 1310640"/>
                <a:gd name="connsiteY4" fmla="*/ 59055 h 498157"/>
                <a:gd name="connsiteX5" fmla="*/ 116205 w 1310640"/>
                <a:gd name="connsiteY5" fmla="*/ 101917 h 498157"/>
                <a:gd name="connsiteX6" fmla="*/ 64770 w 1310640"/>
                <a:gd name="connsiteY6" fmla="*/ 118110 h 498157"/>
                <a:gd name="connsiteX7" fmla="*/ 40005 w 1310640"/>
                <a:gd name="connsiteY7" fmla="*/ 118110 h 498157"/>
                <a:gd name="connsiteX8" fmla="*/ 40005 w 1310640"/>
                <a:gd name="connsiteY8" fmla="*/ 197167 h 498157"/>
                <a:gd name="connsiteX9" fmla="*/ 0 w 1310640"/>
                <a:gd name="connsiteY9" fmla="*/ 197167 h 498157"/>
                <a:gd name="connsiteX10" fmla="*/ 65723 w 1310640"/>
                <a:gd name="connsiteY10" fmla="*/ 33338 h 498157"/>
                <a:gd name="connsiteX11" fmla="*/ 39053 w 1310640"/>
                <a:gd name="connsiteY11" fmla="*/ 33338 h 498157"/>
                <a:gd name="connsiteX12" fmla="*/ 39053 w 1310640"/>
                <a:gd name="connsiteY12" fmla="*/ 82867 h 498157"/>
                <a:gd name="connsiteX13" fmla="*/ 65723 w 1310640"/>
                <a:gd name="connsiteY13" fmla="*/ 82867 h 498157"/>
                <a:gd name="connsiteX14" fmla="*/ 85725 w 1310640"/>
                <a:gd name="connsiteY14" fmla="*/ 76200 h 498157"/>
                <a:gd name="connsiteX15" fmla="*/ 93345 w 1310640"/>
                <a:gd name="connsiteY15" fmla="*/ 58102 h 498157"/>
                <a:gd name="connsiteX16" fmla="*/ 85725 w 1310640"/>
                <a:gd name="connsiteY16" fmla="*/ 40005 h 498157"/>
                <a:gd name="connsiteX17" fmla="*/ 65723 w 1310640"/>
                <a:gd name="connsiteY17" fmla="*/ 33338 h 498157"/>
                <a:gd name="connsiteX18" fmla="*/ 166688 w 1310640"/>
                <a:gd name="connsiteY18" fmla="*/ 196215 h 498157"/>
                <a:gd name="connsiteX19" fmla="*/ 166688 w 1310640"/>
                <a:gd name="connsiteY19" fmla="*/ 0 h 498157"/>
                <a:gd name="connsiteX20" fmla="*/ 226695 w 1310640"/>
                <a:gd name="connsiteY20" fmla="*/ 0 h 498157"/>
                <a:gd name="connsiteX21" fmla="*/ 278130 w 1310640"/>
                <a:gd name="connsiteY21" fmla="*/ 16192 h 498157"/>
                <a:gd name="connsiteX22" fmla="*/ 297180 w 1310640"/>
                <a:gd name="connsiteY22" fmla="*/ 59055 h 498157"/>
                <a:gd name="connsiteX23" fmla="*/ 288608 w 1310640"/>
                <a:gd name="connsiteY23" fmla="*/ 89535 h 498157"/>
                <a:gd name="connsiteX24" fmla="*/ 265748 w 1310640"/>
                <a:gd name="connsiteY24" fmla="*/ 109538 h 498157"/>
                <a:gd name="connsiteX25" fmla="*/ 327660 w 1310640"/>
                <a:gd name="connsiteY25" fmla="*/ 196215 h 498157"/>
                <a:gd name="connsiteX26" fmla="*/ 280035 w 1310640"/>
                <a:gd name="connsiteY26" fmla="*/ 196215 h 498157"/>
                <a:gd name="connsiteX27" fmla="*/ 227648 w 1310640"/>
                <a:gd name="connsiteY27" fmla="*/ 117157 h 498157"/>
                <a:gd name="connsiteX28" fmla="*/ 206692 w 1310640"/>
                <a:gd name="connsiteY28" fmla="*/ 117157 h 498157"/>
                <a:gd name="connsiteX29" fmla="*/ 206692 w 1310640"/>
                <a:gd name="connsiteY29" fmla="*/ 196215 h 498157"/>
                <a:gd name="connsiteX30" fmla="*/ 166688 w 1310640"/>
                <a:gd name="connsiteY30" fmla="*/ 196215 h 498157"/>
                <a:gd name="connsiteX31" fmla="*/ 229553 w 1310640"/>
                <a:gd name="connsiteY31" fmla="*/ 33338 h 498157"/>
                <a:gd name="connsiteX32" fmla="*/ 206692 w 1310640"/>
                <a:gd name="connsiteY32" fmla="*/ 33338 h 498157"/>
                <a:gd name="connsiteX33" fmla="*/ 206692 w 1310640"/>
                <a:gd name="connsiteY33" fmla="*/ 82867 h 498157"/>
                <a:gd name="connsiteX34" fmla="*/ 229553 w 1310640"/>
                <a:gd name="connsiteY34" fmla="*/ 82867 h 498157"/>
                <a:gd name="connsiteX35" fmla="*/ 249555 w 1310640"/>
                <a:gd name="connsiteY35" fmla="*/ 76200 h 498157"/>
                <a:gd name="connsiteX36" fmla="*/ 256223 w 1310640"/>
                <a:gd name="connsiteY36" fmla="*/ 58102 h 498157"/>
                <a:gd name="connsiteX37" fmla="*/ 249555 w 1310640"/>
                <a:gd name="connsiteY37" fmla="*/ 40005 h 498157"/>
                <a:gd name="connsiteX38" fmla="*/ 229553 w 1310640"/>
                <a:gd name="connsiteY38" fmla="*/ 33338 h 498157"/>
                <a:gd name="connsiteX39" fmla="*/ 352425 w 1310640"/>
                <a:gd name="connsiteY39" fmla="*/ 196215 h 498157"/>
                <a:gd name="connsiteX40" fmla="*/ 352425 w 1310640"/>
                <a:gd name="connsiteY40" fmla="*/ 0 h 498157"/>
                <a:gd name="connsiteX41" fmla="*/ 466725 w 1310640"/>
                <a:gd name="connsiteY41" fmla="*/ 0 h 498157"/>
                <a:gd name="connsiteX42" fmla="*/ 466725 w 1310640"/>
                <a:gd name="connsiteY42" fmla="*/ 34290 h 498157"/>
                <a:gd name="connsiteX43" fmla="*/ 392430 w 1310640"/>
                <a:gd name="connsiteY43" fmla="*/ 34290 h 498157"/>
                <a:gd name="connsiteX44" fmla="*/ 392430 w 1310640"/>
                <a:gd name="connsiteY44" fmla="*/ 80010 h 498157"/>
                <a:gd name="connsiteX45" fmla="*/ 456248 w 1310640"/>
                <a:gd name="connsiteY45" fmla="*/ 80010 h 498157"/>
                <a:gd name="connsiteX46" fmla="*/ 456248 w 1310640"/>
                <a:gd name="connsiteY46" fmla="*/ 114300 h 498157"/>
                <a:gd name="connsiteX47" fmla="*/ 392430 w 1310640"/>
                <a:gd name="connsiteY47" fmla="*/ 114300 h 498157"/>
                <a:gd name="connsiteX48" fmla="*/ 392430 w 1310640"/>
                <a:gd name="connsiteY48" fmla="*/ 163830 h 498157"/>
                <a:gd name="connsiteX49" fmla="*/ 466725 w 1310640"/>
                <a:gd name="connsiteY49" fmla="*/ 163830 h 498157"/>
                <a:gd name="connsiteX50" fmla="*/ 466725 w 1310640"/>
                <a:gd name="connsiteY50" fmla="*/ 198120 h 498157"/>
                <a:gd name="connsiteX51" fmla="*/ 352425 w 1310640"/>
                <a:gd name="connsiteY51" fmla="*/ 198120 h 498157"/>
                <a:gd name="connsiteX52" fmla="*/ 513398 w 1310640"/>
                <a:gd name="connsiteY52" fmla="*/ 196215 h 498157"/>
                <a:gd name="connsiteX53" fmla="*/ 513398 w 1310640"/>
                <a:gd name="connsiteY53" fmla="*/ 0 h 498157"/>
                <a:gd name="connsiteX54" fmla="*/ 563880 w 1310640"/>
                <a:gd name="connsiteY54" fmla="*/ 0 h 498157"/>
                <a:gd name="connsiteX55" fmla="*/ 611505 w 1310640"/>
                <a:gd name="connsiteY55" fmla="*/ 80963 h 498157"/>
                <a:gd name="connsiteX56" fmla="*/ 659130 w 1310640"/>
                <a:gd name="connsiteY56" fmla="*/ 0 h 498157"/>
                <a:gd name="connsiteX57" fmla="*/ 709613 w 1310640"/>
                <a:gd name="connsiteY57" fmla="*/ 0 h 498157"/>
                <a:gd name="connsiteX58" fmla="*/ 709613 w 1310640"/>
                <a:gd name="connsiteY58" fmla="*/ 197167 h 498157"/>
                <a:gd name="connsiteX59" fmla="*/ 669608 w 1310640"/>
                <a:gd name="connsiteY59" fmla="*/ 197167 h 498157"/>
                <a:gd name="connsiteX60" fmla="*/ 669608 w 1310640"/>
                <a:gd name="connsiteY60" fmla="*/ 56198 h 498157"/>
                <a:gd name="connsiteX61" fmla="*/ 624840 w 1310640"/>
                <a:gd name="connsiteY61" fmla="*/ 128588 h 498157"/>
                <a:gd name="connsiteX62" fmla="*/ 596265 w 1310640"/>
                <a:gd name="connsiteY62" fmla="*/ 128588 h 498157"/>
                <a:gd name="connsiteX63" fmla="*/ 552450 w 1310640"/>
                <a:gd name="connsiteY63" fmla="*/ 56198 h 498157"/>
                <a:gd name="connsiteX64" fmla="*/ 552450 w 1310640"/>
                <a:gd name="connsiteY64" fmla="*/ 196215 h 498157"/>
                <a:gd name="connsiteX65" fmla="*/ 513398 w 1310640"/>
                <a:gd name="connsiteY65" fmla="*/ 196215 h 498157"/>
                <a:gd name="connsiteX66" fmla="*/ 763905 w 1310640"/>
                <a:gd name="connsiteY66" fmla="*/ 196215 h 498157"/>
                <a:gd name="connsiteX67" fmla="*/ 763905 w 1310640"/>
                <a:gd name="connsiteY67" fmla="*/ 0 h 498157"/>
                <a:gd name="connsiteX68" fmla="*/ 803910 w 1310640"/>
                <a:gd name="connsiteY68" fmla="*/ 0 h 498157"/>
                <a:gd name="connsiteX69" fmla="*/ 803910 w 1310640"/>
                <a:gd name="connsiteY69" fmla="*/ 197167 h 498157"/>
                <a:gd name="connsiteX70" fmla="*/ 763905 w 1310640"/>
                <a:gd name="connsiteY70" fmla="*/ 197167 h 498157"/>
                <a:gd name="connsiteX71" fmla="*/ 858203 w 1310640"/>
                <a:gd name="connsiteY71" fmla="*/ 196215 h 498157"/>
                <a:gd name="connsiteX72" fmla="*/ 858203 w 1310640"/>
                <a:gd name="connsiteY72" fmla="*/ 0 h 498157"/>
                <a:gd name="connsiteX73" fmla="*/ 972503 w 1310640"/>
                <a:gd name="connsiteY73" fmla="*/ 0 h 498157"/>
                <a:gd name="connsiteX74" fmla="*/ 972503 w 1310640"/>
                <a:gd name="connsiteY74" fmla="*/ 34290 h 498157"/>
                <a:gd name="connsiteX75" fmla="*/ 898208 w 1310640"/>
                <a:gd name="connsiteY75" fmla="*/ 34290 h 498157"/>
                <a:gd name="connsiteX76" fmla="*/ 898208 w 1310640"/>
                <a:gd name="connsiteY76" fmla="*/ 80010 h 498157"/>
                <a:gd name="connsiteX77" fmla="*/ 962025 w 1310640"/>
                <a:gd name="connsiteY77" fmla="*/ 80010 h 498157"/>
                <a:gd name="connsiteX78" fmla="*/ 962025 w 1310640"/>
                <a:gd name="connsiteY78" fmla="*/ 114300 h 498157"/>
                <a:gd name="connsiteX79" fmla="*/ 898208 w 1310640"/>
                <a:gd name="connsiteY79" fmla="*/ 114300 h 498157"/>
                <a:gd name="connsiteX80" fmla="*/ 898208 w 1310640"/>
                <a:gd name="connsiteY80" fmla="*/ 163830 h 498157"/>
                <a:gd name="connsiteX81" fmla="*/ 972503 w 1310640"/>
                <a:gd name="connsiteY81" fmla="*/ 163830 h 498157"/>
                <a:gd name="connsiteX82" fmla="*/ 972503 w 1310640"/>
                <a:gd name="connsiteY82" fmla="*/ 198120 h 498157"/>
                <a:gd name="connsiteX83" fmla="*/ 858203 w 1310640"/>
                <a:gd name="connsiteY83" fmla="*/ 198120 h 498157"/>
                <a:gd name="connsiteX84" fmla="*/ 1019175 w 1310640"/>
                <a:gd name="connsiteY84" fmla="*/ 196215 h 498157"/>
                <a:gd name="connsiteX85" fmla="*/ 1019175 w 1310640"/>
                <a:gd name="connsiteY85" fmla="*/ 0 h 498157"/>
                <a:gd name="connsiteX86" fmla="*/ 1079183 w 1310640"/>
                <a:gd name="connsiteY86" fmla="*/ 0 h 498157"/>
                <a:gd name="connsiteX87" fmla="*/ 1130618 w 1310640"/>
                <a:gd name="connsiteY87" fmla="*/ 16192 h 498157"/>
                <a:gd name="connsiteX88" fmla="*/ 1149668 w 1310640"/>
                <a:gd name="connsiteY88" fmla="*/ 59055 h 498157"/>
                <a:gd name="connsiteX89" fmla="*/ 1141095 w 1310640"/>
                <a:gd name="connsiteY89" fmla="*/ 89535 h 498157"/>
                <a:gd name="connsiteX90" fmla="*/ 1118235 w 1310640"/>
                <a:gd name="connsiteY90" fmla="*/ 109538 h 498157"/>
                <a:gd name="connsiteX91" fmla="*/ 1180148 w 1310640"/>
                <a:gd name="connsiteY91" fmla="*/ 196215 h 498157"/>
                <a:gd name="connsiteX92" fmla="*/ 1132523 w 1310640"/>
                <a:gd name="connsiteY92" fmla="*/ 196215 h 498157"/>
                <a:gd name="connsiteX93" fmla="*/ 1080135 w 1310640"/>
                <a:gd name="connsiteY93" fmla="*/ 117157 h 498157"/>
                <a:gd name="connsiteX94" fmla="*/ 1059180 w 1310640"/>
                <a:gd name="connsiteY94" fmla="*/ 117157 h 498157"/>
                <a:gd name="connsiteX95" fmla="*/ 1059180 w 1310640"/>
                <a:gd name="connsiteY95" fmla="*/ 196215 h 498157"/>
                <a:gd name="connsiteX96" fmla="*/ 1019175 w 1310640"/>
                <a:gd name="connsiteY96" fmla="*/ 196215 h 498157"/>
                <a:gd name="connsiteX97" fmla="*/ 1082040 w 1310640"/>
                <a:gd name="connsiteY97" fmla="*/ 33338 h 498157"/>
                <a:gd name="connsiteX98" fmla="*/ 1059180 w 1310640"/>
                <a:gd name="connsiteY98" fmla="*/ 33338 h 498157"/>
                <a:gd name="connsiteX99" fmla="*/ 1059180 w 1310640"/>
                <a:gd name="connsiteY99" fmla="*/ 82867 h 498157"/>
                <a:gd name="connsiteX100" fmla="*/ 1082040 w 1310640"/>
                <a:gd name="connsiteY100" fmla="*/ 82867 h 498157"/>
                <a:gd name="connsiteX101" fmla="*/ 1102043 w 1310640"/>
                <a:gd name="connsiteY101" fmla="*/ 76200 h 498157"/>
                <a:gd name="connsiteX102" fmla="*/ 1108710 w 1310640"/>
                <a:gd name="connsiteY102" fmla="*/ 58102 h 498157"/>
                <a:gd name="connsiteX103" fmla="*/ 1102043 w 1310640"/>
                <a:gd name="connsiteY103" fmla="*/ 40005 h 498157"/>
                <a:gd name="connsiteX104" fmla="*/ 1082040 w 1310640"/>
                <a:gd name="connsiteY104" fmla="*/ 33338 h 498157"/>
                <a:gd name="connsiteX105" fmla="*/ 0 w 1310640"/>
                <a:gd name="connsiteY105" fmla="*/ 493395 h 498157"/>
                <a:gd name="connsiteX106" fmla="*/ 0 w 1310640"/>
                <a:gd name="connsiteY106" fmla="*/ 296228 h 498157"/>
                <a:gd name="connsiteX107" fmla="*/ 50483 w 1310640"/>
                <a:gd name="connsiteY107" fmla="*/ 296228 h 498157"/>
                <a:gd name="connsiteX108" fmla="*/ 98108 w 1310640"/>
                <a:gd name="connsiteY108" fmla="*/ 377190 h 498157"/>
                <a:gd name="connsiteX109" fmla="*/ 145733 w 1310640"/>
                <a:gd name="connsiteY109" fmla="*/ 296228 h 498157"/>
                <a:gd name="connsiteX110" fmla="*/ 196215 w 1310640"/>
                <a:gd name="connsiteY110" fmla="*/ 296228 h 498157"/>
                <a:gd name="connsiteX111" fmla="*/ 196215 w 1310640"/>
                <a:gd name="connsiteY111" fmla="*/ 493395 h 498157"/>
                <a:gd name="connsiteX112" fmla="*/ 156210 w 1310640"/>
                <a:gd name="connsiteY112" fmla="*/ 493395 h 498157"/>
                <a:gd name="connsiteX113" fmla="*/ 156210 w 1310640"/>
                <a:gd name="connsiteY113" fmla="*/ 353378 h 498157"/>
                <a:gd name="connsiteX114" fmla="*/ 112395 w 1310640"/>
                <a:gd name="connsiteY114" fmla="*/ 425767 h 498157"/>
                <a:gd name="connsiteX115" fmla="*/ 84773 w 1310640"/>
                <a:gd name="connsiteY115" fmla="*/ 425767 h 498157"/>
                <a:gd name="connsiteX116" fmla="*/ 40958 w 1310640"/>
                <a:gd name="connsiteY116" fmla="*/ 353378 h 498157"/>
                <a:gd name="connsiteX117" fmla="*/ 40958 w 1310640"/>
                <a:gd name="connsiteY117" fmla="*/ 493395 h 498157"/>
                <a:gd name="connsiteX118" fmla="*/ 0 w 1310640"/>
                <a:gd name="connsiteY118" fmla="*/ 493395 h 498157"/>
                <a:gd name="connsiteX119" fmla="*/ 249555 w 1310640"/>
                <a:gd name="connsiteY119" fmla="*/ 493395 h 498157"/>
                <a:gd name="connsiteX120" fmla="*/ 249555 w 1310640"/>
                <a:gd name="connsiteY120" fmla="*/ 296228 h 498157"/>
                <a:gd name="connsiteX121" fmla="*/ 289560 w 1310640"/>
                <a:gd name="connsiteY121" fmla="*/ 296228 h 498157"/>
                <a:gd name="connsiteX122" fmla="*/ 289560 w 1310640"/>
                <a:gd name="connsiteY122" fmla="*/ 493395 h 498157"/>
                <a:gd name="connsiteX123" fmla="*/ 249555 w 1310640"/>
                <a:gd name="connsiteY123" fmla="*/ 493395 h 498157"/>
                <a:gd name="connsiteX124" fmla="*/ 344805 w 1310640"/>
                <a:gd name="connsiteY124" fmla="*/ 493395 h 498157"/>
                <a:gd name="connsiteX125" fmla="*/ 344805 w 1310640"/>
                <a:gd name="connsiteY125" fmla="*/ 296228 h 498157"/>
                <a:gd name="connsiteX126" fmla="*/ 396240 w 1310640"/>
                <a:gd name="connsiteY126" fmla="*/ 296228 h 498157"/>
                <a:gd name="connsiteX127" fmla="*/ 483870 w 1310640"/>
                <a:gd name="connsiteY127" fmla="*/ 437198 h 498157"/>
                <a:gd name="connsiteX128" fmla="*/ 483870 w 1310640"/>
                <a:gd name="connsiteY128" fmla="*/ 296228 h 498157"/>
                <a:gd name="connsiteX129" fmla="*/ 523875 w 1310640"/>
                <a:gd name="connsiteY129" fmla="*/ 296228 h 498157"/>
                <a:gd name="connsiteX130" fmla="*/ 523875 w 1310640"/>
                <a:gd name="connsiteY130" fmla="*/ 493395 h 498157"/>
                <a:gd name="connsiteX131" fmla="*/ 472440 w 1310640"/>
                <a:gd name="connsiteY131" fmla="*/ 493395 h 498157"/>
                <a:gd name="connsiteX132" fmla="*/ 384810 w 1310640"/>
                <a:gd name="connsiteY132" fmla="*/ 352425 h 498157"/>
                <a:gd name="connsiteX133" fmla="*/ 384810 w 1310640"/>
                <a:gd name="connsiteY133" fmla="*/ 493395 h 498157"/>
                <a:gd name="connsiteX134" fmla="*/ 344805 w 1310640"/>
                <a:gd name="connsiteY134" fmla="*/ 493395 h 498157"/>
                <a:gd name="connsiteX135" fmla="*/ 579120 w 1310640"/>
                <a:gd name="connsiteY135" fmla="*/ 493395 h 498157"/>
                <a:gd name="connsiteX136" fmla="*/ 579120 w 1310640"/>
                <a:gd name="connsiteY136" fmla="*/ 296228 h 498157"/>
                <a:gd name="connsiteX137" fmla="*/ 619125 w 1310640"/>
                <a:gd name="connsiteY137" fmla="*/ 296228 h 498157"/>
                <a:gd name="connsiteX138" fmla="*/ 619125 w 1310640"/>
                <a:gd name="connsiteY138" fmla="*/ 493395 h 498157"/>
                <a:gd name="connsiteX139" fmla="*/ 579120 w 1310640"/>
                <a:gd name="connsiteY139" fmla="*/ 493395 h 498157"/>
                <a:gd name="connsiteX140" fmla="*/ 656273 w 1310640"/>
                <a:gd name="connsiteY140" fmla="*/ 466725 h 498157"/>
                <a:gd name="connsiteX141" fmla="*/ 684848 w 1310640"/>
                <a:gd name="connsiteY141" fmla="*/ 440055 h 498157"/>
                <a:gd name="connsiteX142" fmla="*/ 704850 w 1310640"/>
                <a:gd name="connsiteY142" fmla="*/ 458153 h 498157"/>
                <a:gd name="connsiteX143" fmla="*/ 728663 w 1310640"/>
                <a:gd name="connsiteY143" fmla="*/ 464820 h 498157"/>
                <a:gd name="connsiteX144" fmla="*/ 746760 w 1310640"/>
                <a:gd name="connsiteY144" fmla="*/ 459105 h 498157"/>
                <a:gd name="connsiteX145" fmla="*/ 753428 w 1310640"/>
                <a:gd name="connsiteY145" fmla="*/ 441960 h 498157"/>
                <a:gd name="connsiteX146" fmla="*/ 739140 w 1310640"/>
                <a:gd name="connsiteY146" fmla="*/ 421957 h 498157"/>
                <a:gd name="connsiteX147" fmla="*/ 708660 w 1310640"/>
                <a:gd name="connsiteY147" fmla="*/ 406717 h 498157"/>
                <a:gd name="connsiteX148" fmla="*/ 678180 w 1310640"/>
                <a:gd name="connsiteY148" fmla="*/ 385763 h 498157"/>
                <a:gd name="connsiteX149" fmla="*/ 663893 w 1310640"/>
                <a:gd name="connsiteY149" fmla="*/ 348615 h 498157"/>
                <a:gd name="connsiteX150" fmla="*/ 668655 w 1310640"/>
                <a:gd name="connsiteY150" fmla="*/ 326707 h 498157"/>
                <a:gd name="connsiteX151" fmla="*/ 681990 w 1310640"/>
                <a:gd name="connsiteY151" fmla="*/ 308610 h 498157"/>
                <a:gd name="connsiteX152" fmla="*/ 701993 w 1310640"/>
                <a:gd name="connsiteY152" fmla="*/ 296228 h 498157"/>
                <a:gd name="connsiteX153" fmla="*/ 727710 w 1310640"/>
                <a:gd name="connsiteY153" fmla="*/ 291465 h 498157"/>
                <a:gd name="connsiteX154" fmla="*/ 766763 w 1310640"/>
                <a:gd name="connsiteY154" fmla="*/ 300990 h 498157"/>
                <a:gd name="connsiteX155" fmla="*/ 796290 w 1310640"/>
                <a:gd name="connsiteY155" fmla="*/ 324803 h 498157"/>
                <a:gd name="connsiteX156" fmla="*/ 766763 w 1310640"/>
                <a:gd name="connsiteY156" fmla="*/ 350520 h 498157"/>
                <a:gd name="connsiteX157" fmla="*/ 748665 w 1310640"/>
                <a:gd name="connsiteY157" fmla="*/ 332423 h 498157"/>
                <a:gd name="connsiteX158" fmla="*/ 727710 w 1310640"/>
                <a:gd name="connsiteY158" fmla="*/ 325755 h 498157"/>
                <a:gd name="connsiteX159" fmla="*/ 711518 w 1310640"/>
                <a:gd name="connsiteY159" fmla="*/ 331470 h 498157"/>
                <a:gd name="connsiteX160" fmla="*/ 705803 w 1310640"/>
                <a:gd name="connsiteY160" fmla="*/ 345757 h 498157"/>
                <a:gd name="connsiteX161" fmla="*/ 720090 w 1310640"/>
                <a:gd name="connsiteY161" fmla="*/ 365760 h 498157"/>
                <a:gd name="connsiteX162" fmla="*/ 750570 w 1310640"/>
                <a:gd name="connsiteY162" fmla="*/ 381000 h 498157"/>
                <a:gd name="connsiteX163" fmla="*/ 781050 w 1310640"/>
                <a:gd name="connsiteY163" fmla="*/ 401955 h 498157"/>
                <a:gd name="connsiteX164" fmla="*/ 795338 w 1310640"/>
                <a:gd name="connsiteY164" fmla="*/ 440055 h 498157"/>
                <a:gd name="connsiteX165" fmla="*/ 789623 w 1310640"/>
                <a:gd name="connsiteY165" fmla="*/ 464820 h 498157"/>
                <a:gd name="connsiteX166" fmla="*/ 775335 w 1310640"/>
                <a:gd name="connsiteY166" fmla="*/ 482917 h 498157"/>
                <a:gd name="connsiteX167" fmla="*/ 754380 w 1310640"/>
                <a:gd name="connsiteY167" fmla="*/ 494348 h 498157"/>
                <a:gd name="connsiteX168" fmla="*/ 728663 w 1310640"/>
                <a:gd name="connsiteY168" fmla="*/ 498157 h 498157"/>
                <a:gd name="connsiteX169" fmla="*/ 685800 w 1310640"/>
                <a:gd name="connsiteY169" fmla="*/ 489585 h 498157"/>
                <a:gd name="connsiteX170" fmla="*/ 656273 w 1310640"/>
                <a:gd name="connsiteY170" fmla="*/ 466725 h 498157"/>
                <a:gd name="connsiteX171" fmla="*/ 814388 w 1310640"/>
                <a:gd name="connsiteY171" fmla="*/ 333375 h 498157"/>
                <a:gd name="connsiteX172" fmla="*/ 814388 w 1310640"/>
                <a:gd name="connsiteY172" fmla="*/ 297180 h 498157"/>
                <a:gd name="connsiteX173" fmla="*/ 975360 w 1310640"/>
                <a:gd name="connsiteY173" fmla="*/ 297180 h 498157"/>
                <a:gd name="connsiteX174" fmla="*/ 975360 w 1310640"/>
                <a:gd name="connsiteY174" fmla="*/ 333375 h 498157"/>
                <a:gd name="connsiteX175" fmla="*/ 914400 w 1310640"/>
                <a:gd name="connsiteY175" fmla="*/ 333375 h 498157"/>
                <a:gd name="connsiteX176" fmla="*/ 914400 w 1310640"/>
                <a:gd name="connsiteY176" fmla="*/ 493395 h 498157"/>
                <a:gd name="connsiteX177" fmla="*/ 874395 w 1310640"/>
                <a:gd name="connsiteY177" fmla="*/ 493395 h 498157"/>
                <a:gd name="connsiteX178" fmla="*/ 874395 w 1310640"/>
                <a:gd name="connsiteY178" fmla="*/ 333375 h 498157"/>
                <a:gd name="connsiteX179" fmla="*/ 814388 w 1310640"/>
                <a:gd name="connsiteY179" fmla="*/ 333375 h 498157"/>
                <a:gd name="connsiteX180" fmla="*/ 1011555 w 1310640"/>
                <a:gd name="connsiteY180" fmla="*/ 493395 h 498157"/>
                <a:gd name="connsiteX181" fmla="*/ 1011555 w 1310640"/>
                <a:gd name="connsiteY181" fmla="*/ 296228 h 498157"/>
                <a:gd name="connsiteX182" fmla="*/ 1071563 w 1310640"/>
                <a:gd name="connsiteY182" fmla="*/ 296228 h 498157"/>
                <a:gd name="connsiteX183" fmla="*/ 1122998 w 1310640"/>
                <a:gd name="connsiteY183" fmla="*/ 312420 h 498157"/>
                <a:gd name="connsiteX184" fmla="*/ 1142048 w 1310640"/>
                <a:gd name="connsiteY184" fmla="*/ 355282 h 498157"/>
                <a:gd name="connsiteX185" fmla="*/ 1133475 w 1310640"/>
                <a:gd name="connsiteY185" fmla="*/ 385763 h 498157"/>
                <a:gd name="connsiteX186" fmla="*/ 1110615 w 1310640"/>
                <a:gd name="connsiteY186" fmla="*/ 405765 h 498157"/>
                <a:gd name="connsiteX187" fmla="*/ 1172528 w 1310640"/>
                <a:gd name="connsiteY187" fmla="*/ 492442 h 498157"/>
                <a:gd name="connsiteX188" fmla="*/ 1124903 w 1310640"/>
                <a:gd name="connsiteY188" fmla="*/ 492442 h 498157"/>
                <a:gd name="connsiteX189" fmla="*/ 1072515 w 1310640"/>
                <a:gd name="connsiteY189" fmla="*/ 413385 h 498157"/>
                <a:gd name="connsiteX190" fmla="*/ 1051560 w 1310640"/>
                <a:gd name="connsiteY190" fmla="*/ 413385 h 498157"/>
                <a:gd name="connsiteX191" fmla="*/ 1051560 w 1310640"/>
                <a:gd name="connsiteY191" fmla="*/ 492442 h 498157"/>
                <a:gd name="connsiteX192" fmla="*/ 1011555 w 1310640"/>
                <a:gd name="connsiteY192" fmla="*/ 492442 h 498157"/>
                <a:gd name="connsiteX193" fmla="*/ 1073468 w 1310640"/>
                <a:gd name="connsiteY193" fmla="*/ 330517 h 498157"/>
                <a:gd name="connsiteX194" fmla="*/ 1050608 w 1310640"/>
                <a:gd name="connsiteY194" fmla="*/ 330517 h 498157"/>
                <a:gd name="connsiteX195" fmla="*/ 1050608 w 1310640"/>
                <a:gd name="connsiteY195" fmla="*/ 380048 h 498157"/>
                <a:gd name="connsiteX196" fmla="*/ 1073468 w 1310640"/>
                <a:gd name="connsiteY196" fmla="*/ 380048 h 498157"/>
                <a:gd name="connsiteX197" fmla="*/ 1093470 w 1310640"/>
                <a:gd name="connsiteY197" fmla="*/ 373380 h 498157"/>
                <a:gd name="connsiteX198" fmla="*/ 1100138 w 1310640"/>
                <a:gd name="connsiteY198" fmla="*/ 355282 h 498157"/>
                <a:gd name="connsiteX199" fmla="*/ 1093470 w 1310640"/>
                <a:gd name="connsiteY199" fmla="*/ 337185 h 498157"/>
                <a:gd name="connsiteX200" fmla="*/ 1073468 w 1310640"/>
                <a:gd name="connsiteY200" fmla="*/ 330517 h 498157"/>
                <a:gd name="connsiteX201" fmla="*/ 1196340 w 1310640"/>
                <a:gd name="connsiteY201" fmla="*/ 493395 h 498157"/>
                <a:gd name="connsiteX202" fmla="*/ 1196340 w 1310640"/>
                <a:gd name="connsiteY202" fmla="*/ 296228 h 498157"/>
                <a:gd name="connsiteX203" fmla="*/ 1310640 w 1310640"/>
                <a:gd name="connsiteY203" fmla="*/ 296228 h 498157"/>
                <a:gd name="connsiteX204" fmla="*/ 1310640 w 1310640"/>
                <a:gd name="connsiteY204" fmla="*/ 330517 h 498157"/>
                <a:gd name="connsiteX205" fmla="*/ 1236345 w 1310640"/>
                <a:gd name="connsiteY205" fmla="*/ 330517 h 498157"/>
                <a:gd name="connsiteX206" fmla="*/ 1236345 w 1310640"/>
                <a:gd name="connsiteY206" fmla="*/ 376238 h 498157"/>
                <a:gd name="connsiteX207" fmla="*/ 1300163 w 1310640"/>
                <a:gd name="connsiteY207" fmla="*/ 376238 h 498157"/>
                <a:gd name="connsiteX208" fmla="*/ 1300163 w 1310640"/>
                <a:gd name="connsiteY208" fmla="*/ 410528 h 498157"/>
                <a:gd name="connsiteX209" fmla="*/ 1236345 w 1310640"/>
                <a:gd name="connsiteY209" fmla="*/ 410528 h 498157"/>
                <a:gd name="connsiteX210" fmla="*/ 1236345 w 1310640"/>
                <a:gd name="connsiteY210" fmla="*/ 460057 h 498157"/>
                <a:gd name="connsiteX211" fmla="*/ 1310640 w 1310640"/>
                <a:gd name="connsiteY211" fmla="*/ 460057 h 498157"/>
                <a:gd name="connsiteX212" fmla="*/ 1310640 w 1310640"/>
                <a:gd name="connsiteY212" fmla="*/ 494348 h 498157"/>
                <a:gd name="connsiteX213" fmla="*/ 1196340 w 1310640"/>
                <a:gd name="connsiteY213" fmla="*/ 494348 h 49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</a:cxnLst>
              <a:rect l="l" t="t" r="r" b="b"/>
              <a:pathLst>
                <a:path w="1310640" h="498157">
                  <a:moveTo>
                    <a:pt x="0" y="196215"/>
                  </a:moveTo>
                  <a:lnTo>
                    <a:pt x="0" y="0"/>
                  </a:lnTo>
                  <a:lnTo>
                    <a:pt x="64770" y="0"/>
                  </a:lnTo>
                  <a:cubicBezTo>
                    <a:pt x="86678" y="0"/>
                    <a:pt x="102870" y="5715"/>
                    <a:pt x="116205" y="16192"/>
                  </a:cubicBezTo>
                  <a:cubicBezTo>
                    <a:pt x="128588" y="26670"/>
                    <a:pt x="135255" y="40957"/>
                    <a:pt x="135255" y="59055"/>
                  </a:cubicBezTo>
                  <a:cubicBezTo>
                    <a:pt x="135255" y="77152"/>
                    <a:pt x="128588" y="91440"/>
                    <a:pt x="116205" y="101917"/>
                  </a:cubicBezTo>
                  <a:cubicBezTo>
                    <a:pt x="103823" y="112395"/>
                    <a:pt x="86678" y="118110"/>
                    <a:pt x="64770" y="118110"/>
                  </a:cubicBezTo>
                  <a:lnTo>
                    <a:pt x="40005" y="118110"/>
                  </a:lnTo>
                  <a:lnTo>
                    <a:pt x="40005" y="197167"/>
                  </a:lnTo>
                  <a:lnTo>
                    <a:pt x="0" y="197167"/>
                  </a:lnTo>
                  <a:close/>
                  <a:moveTo>
                    <a:pt x="65723" y="33338"/>
                  </a:moveTo>
                  <a:lnTo>
                    <a:pt x="39053" y="33338"/>
                  </a:lnTo>
                  <a:lnTo>
                    <a:pt x="39053" y="82867"/>
                  </a:lnTo>
                  <a:lnTo>
                    <a:pt x="65723" y="82867"/>
                  </a:lnTo>
                  <a:cubicBezTo>
                    <a:pt x="74295" y="82867"/>
                    <a:pt x="80963" y="80963"/>
                    <a:pt x="85725" y="76200"/>
                  </a:cubicBezTo>
                  <a:cubicBezTo>
                    <a:pt x="90488" y="71438"/>
                    <a:pt x="93345" y="65723"/>
                    <a:pt x="93345" y="58102"/>
                  </a:cubicBezTo>
                  <a:cubicBezTo>
                    <a:pt x="93345" y="50482"/>
                    <a:pt x="90488" y="44767"/>
                    <a:pt x="85725" y="40005"/>
                  </a:cubicBezTo>
                  <a:cubicBezTo>
                    <a:pt x="80963" y="36195"/>
                    <a:pt x="74295" y="33338"/>
                    <a:pt x="65723" y="33338"/>
                  </a:cubicBezTo>
                  <a:close/>
                  <a:moveTo>
                    <a:pt x="166688" y="196215"/>
                  </a:moveTo>
                  <a:lnTo>
                    <a:pt x="166688" y="0"/>
                  </a:lnTo>
                  <a:lnTo>
                    <a:pt x="226695" y="0"/>
                  </a:lnTo>
                  <a:cubicBezTo>
                    <a:pt x="248603" y="0"/>
                    <a:pt x="265748" y="5715"/>
                    <a:pt x="278130" y="16192"/>
                  </a:cubicBezTo>
                  <a:cubicBezTo>
                    <a:pt x="290513" y="26670"/>
                    <a:pt x="297180" y="40957"/>
                    <a:pt x="297180" y="59055"/>
                  </a:cubicBezTo>
                  <a:cubicBezTo>
                    <a:pt x="297180" y="70485"/>
                    <a:pt x="294323" y="80963"/>
                    <a:pt x="288608" y="89535"/>
                  </a:cubicBezTo>
                  <a:cubicBezTo>
                    <a:pt x="282893" y="98107"/>
                    <a:pt x="275273" y="104775"/>
                    <a:pt x="265748" y="109538"/>
                  </a:cubicBezTo>
                  <a:lnTo>
                    <a:pt x="327660" y="196215"/>
                  </a:lnTo>
                  <a:lnTo>
                    <a:pt x="280035" y="196215"/>
                  </a:lnTo>
                  <a:lnTo>
                    <a:pt x="227648" y="117157"/>
                  </a:lnTo>
                  <a:lnTo>
                    <a:pt x="206692" y="117157"/>
                  </a:lnTo>
                  <a:lnTo>
                    <a:pt x="206692" y="196215"/>
                  </a:lnTo>
                  <a:lnTo>
                    <a:pt x="166688" y="196215"/>
                  </a:lnTo>
                  <a:close/>
                  <a:moveTo>
                    <a:pt x="229553" y="33338"/>
                  </a:moveTo>
                  <a:lnTo>
                    <a:pt x="206692" y="33338"/>
                  </a:lnTo>
                  <a:lnTo>
                    <a:pt x="206692" y="82867"/>
                  </a:lnTo>
                  <a:lnTo>
                    <a:pt x="229553" y="82867"/>
                  </a:lnTo>
                  <a:cubicBezTo>
                    <a:pt x="238125" y="82867"/>
                    <a:pt x="244792" y="80963"/>
                    <a:pt x="249555" y="76200"/>
                  </a:cubicBezTo>
                  <a:cubicBezTo>
                    <a:pt x="254317" y="71438"/>
                    <a:pt x="256223" y="65723"/>
                    <a:pt x="256223" y="58102"/>
                  </a:cubicBezTo>
                  <a:cubicBezTo>
                    <a:pt x="256223" y="50482"/>
                    <a:pt x="254317" y="44767"/>
                    <a:pt x="249555" y="40005"/>
                  </a:cubicBezTo>
                  <a:cubicBezTo>
                    <a:pt x="244792" y="36195"/>
                    <a:pt x="238125" y="33338"/>
                    <a:pt x="229553" y="33338"/>
                  </a:cubicBezTo>
                  <a:close/>
                  <a:moveTo>
                    <a:pt x="352425" y="196215"/>
                  </a:moveTo>
                  <a:lnTo>
                    <a:pt x="352425" y="0"/>
                  </a:lnTo>
                  <a:lnTo>
                    <a:pt x="466725" y="0"/>
                  </a:lnTo>
                  <a:lnTo>
                    <a:pt x="466725" y="34290"/>
                  </a:lnTo>
                  <a:lnTo>
                    <a:pt x="392430" y="34290"/>
                  </a:lnTo>
                  <a:lnTo>
                    <a:pt x="392430" y="80010"/>
                  </a:lnTo>
                  <a:lnTo>
                    <a:pt x="456248" y="80010"/>
                  </a:lnTo>
                  <a:lnTo>
                    <a:pt x="456248" y="114300"/>
                  </a:lnTo>
                  <a:lnTo>
                    <a:pt x="392430" y="114300"/>
                  </a:lnTo>
                  <a:lnTo>
                    <a:pt x="392430" y="163830"/>
                  </a:lnTo>
                  <a:lnTo>
                    <a:pt x="466725" y="163830"/>
                  </a:lnTo>
                  <a:lnTo>
                    <a:pt x="466725" y="198120"/>
                  </a:lnTo>
                  <a:lnTo>
                    <a:pt x="352425" y="198120"/>
                  </a:lnTo>
                  <a:close/>
                  <a:moveTo>
                    <a:pt x="513398" y="196215"/>
                  </a:moveTo>
                  <a:lnTo>
                    <a:pt x="513398" y="0"/>
                  </a:lnTo>
                  <a:lnTo>
                    <a:pt x="563880" y="0"/>
                  </a:lnTo>
                  <a:lnTo>
                    <a:pt x="611505" y="80963"/>
                  </a:lnTo>
                  <a:lnTo>
                    <a:pt x="659130" y="0"/>
                  </a:lnTo>
                  <a:lnTo>
                    <a:pt x="709613" y="0"/>
                  </a:lnTo>
                  <a:lnTo>
                    <a:pt x="709613" y="197167"/>
                  </a:lnTo>
                  <a:lnTo>
                    <a:pt x="669608" y="197167"/>
                  </a:lnTo>
                  <a:lnTo>
                    <a:pt x="669608" y="56198"/>
                  </a:lnTo>
                  <a:lnTo>
                    <a:pt x="624840" y="128588"/>
                  </a:lnTo>
                  <a:lnTo>
                    <a:pt x="596265" y="128588"/>
                  </a:lnTo>
                  <a:lnTo>
                    <a:pt x="552450" y="56198"/>
                  </a:lnTo>
                  <a:lnTo>
                    <a:pt x="552450" y="196215"/>
                  </a:lnTo>
                  <a:lnTo>
                    <a:pt x="513398" y="196215"/>
                  </a:lnTo>
                  <a:close/>
                  <a:moveTo>
                    <a:pt x="763905" y="196215"/>
                  </a:moveTo>
                  <a:lnTo>
                    <a:pt x="763905" y="0"/>
                  </a:lnTo>
                  <a:lnTo>
                    <a:pt x="803910" y="0"/>
                  </a:lnTo>
                  <a:lnTo>
                    <a:pt x="803910" y="197167"/>
                  </a:lnTo>
                  <a:lnTo>
                    <a:pt x="763905" y="197167"/>
                  </a:lnTo>
                  <a:close/>
                  <a:moveTo>
                    <a:pt x="858203" y="196215"/>
                  </a:moveTo>
                  <a:lnTo>
                    <a:pt x="858203" y="0"/>
                  </a:lnTo>
                  <a:lnTo>
                    <a:pt x="972503" y="0"/>
                  </a:lnTo>
                  <a:lnTo>
                    <a:pt x="972503" y="34290"/>
                  </a:lnTo>
                  <a:lnTo>
                    <a:pt x="898208" y="34290"/>
                  </a:lnTo>
                  <a:lnTo>
                    <a:pt x="898208" y="80010"/>
                  </a:lnTo>
                  <a:lnTo>
                    <a:pt x="962025" y="80010"/>
                  </a:lnTo>
                  <a:lnTo>
                    <a:pt x="962025" y="114300"/>
                  </a:lnTo>
                  <a:lnTo>
                    <a:pt x="898208" y="114300"/>
                  </a:lnTo>
                  <a:lnTo>
                    <a:pt x="898208" y="163830"/>
                  </a:lnTo>
                  <a:lnTo>
                    <a:pt x="972503" y="163830"/>
                  </a:lnTo>
                  <a:lnTo>
                    <a:pt x="972503" y="198120"/>
                  </a:lnTo>
                  <a:lnTo>
                    <a:pt x="858203" y="198120"/>
                  </a:lnTo>
                  <a:close/>
                  <a:moveTo>
                    <a:pt x="1019175" y="196215"/>
                  </a:moveTo>
                  <a:lnTo>
                    <a:pt x="1019175" y="0"/>
                  </a:lnTo>
                  <a:lnTo>
                    <a:pt x="1079183" y="0"/>
                  </a:lnTo>
                  <a:cubicBezTo>
                    <a:pt x="1101090" y="0"/>
                    <a:pt x="1118235" y="5715"/>
                    <a:pt x="1130618" y="16192"/>
                  </a:cubicBezTo>
                  <a:cubicBezTo>
                    <a:pt x="1143000" y="26670"/>
                    <a:pt x="1149668" y="40957"/>
                    <a:pt x="1149668" y="59055"/>
                  </a:cubicBezTo>
                  <a:cubicBezTo>
                    <a:pt x="1149668" y="70485"/>
                    <a:pt x="1146810" y="80963"/>
                    <a:pt x="1141095" y="89535"/>
                  </a:cubicBezTo>
                  <a:cubicBezTo>
                    <a:pt x="1135380" y="98107"/>
                    <a:pt x="1127760" y="104775"/>
                    <a:pt x="1118235" y="109538"/>
                  </a:cubicBezTo>
                  <a:lnTo>
                    <a:pt x="1180148" y="196215"/>
                  </a:lnTo>
                  <a:lnTo>
                    <a:pt x="1132523" y="196215"/>
                  </a:lnTo>
                  <a:lnTo>
                    <a:pt x="1080135" y="117157"/>
                  </a:lnTo>
                  <a:lnTo>
                    <a:pt x="1059180" y="117157"/>
                  </a:lnTo>
                  <a:lnTo>
                    <a:pt x="1059180" y="196215"/>
                  </a:lnTo>
                  <a:lnTo>
                    <a:pt x="1019175" y="196215"/>
                  </a:lnTo>
                  <a:close/>
                  <a:moveTo>
                    <a:pt x="1082040" y="33338"/>
                  </a:moveTo>
                  <a:lnTo>
                    <a:pt x="1059180" y="33338"/>
                  </a:lnTo>
                  <a:lnTo>
                    <a:pt x="1059180" y="82867"/>
                  </a:lnTo>
                  <a:lnTo>
                    <a:pt x="1082040" y="82867"/>
                  </a:lnTo>
                  <a:cubicBezTo>
                    <a:pt x="1090613" y="82867"/>
                    <a:pt x="1097280" y="80963"/>
                    <a:pt x="1102043" y="76200"/>
                  </a:cubicBezTo>
                  <a:cubicBezTo>
                    <a:pt x="1106805" y="71438"/>
                    <a:pt x="1108710" y="65723"/>
                    <a:pt x="1108710" y="58102"/>
                  </a:cubicBezTo>
                  <a:cubicBezTo>
                    <a:pt x="1108710" y="50482"/>
                    <a:pt x="1106805" y="44767"/>
                    <a:pt x="1102043" y="40005"/>
                  </a:cubicBezTo>
                  <a:cubicBezTo>
                    <a:pt x="1097280" y="36195"/>
                    <a:pt x="1090613" y="33338"/>
                    <a:pt x="1082040" y="33338"/>
                  </a:cubicBezTo>
                  <a:close/>
                  <a:moveTo>
                    <a:pt x="0" y="493395"/>
                  </a:moveTo>
                  <a:lnTo>
                    <a:pt x="0" y="296228"/>
                  </a:lnTo>
                  <a:lnTo>
                    <a:pt x="50483" y="296228"/>
                  </a:lnTo>
                  <a:lnTo>
                    <a:pt x="98108" y="377190"/>
                  </a:lnTo>
                  <a:lnTo>
                    <a:pt x="145733" y="296228"/>
                  </a:lnTo>
                  <a:lnTo>
                    <a:pt x="196215" y="296228"/>
                  </a:lnTo>
                  <a:lnTo>
                    <a:pt x="196215" y="493395"/>
                  </a:lnTo>
                  <a:lnTo>
                    <a:pt x="156210" y="493395"/>
                  </a:lnTo>
                  <a:lnTo>
                    <a:pt x="156210" y="353378"/>
                  </a:lnTo>
                  <a:lnTo>
                    <a:pt x="112395" y="425767"/>
                  </a:lnTo>
                  <a:lnTo>
                    <a:pt x="84773" y="425767"/>
                  </a:lnTo>
                  <a:lnTo>
                    <a:pt x="40958" y="353378"/>
                  </a:lnTo>
                  <a:lnTo>
                    <a:pt x="40958" y="493395"/>
                  </a:lnTo>
                  <a:lnTo>
                    <a:pt x="0" y="493395"/>
                  </a:lnTo>
                  <a:close/>
                  <a:moveTo>
                    <a:pt x="249555" y="493395"/>
                  </a:moveTo>
                  <a:lnTo>
                    <a:pt x="249555" y="296228"/>
                  </a:lnTo>
                  <a:lnTo>
                    <a:pt x="289560" y="296228"/>
                  </a:lnTo>
                  <a:lnTo>
                    <a:pt x="289560" y="493395"/>
                  </a:lnTo>
                  <a:lnTo>
                    <a:pt x="249555" y="493395"/>
                  </a:lnTo>
                  <a:close/>
                  <a:moveTo>
                    <a:pt x="344805" y="493395"/>
                  </a:moveTo>
                  <a:lnTo>
                    <a:pt x="344805" y="296228"/>
                  </a:lnTo>
                  <a:lnTo>
                    <a:pt x="396240" y="296228"/>
                  </a:lnTo>
                  <a:lnTo>
                    <a:pt x="483870" y="437198"/>
                  </a:lnTo>
                  <a:lnTo>
                    <a:pt x="483870" y="296228"/>
                  </a:lnTo>
                  <a:lnTo>
                    <a:pt x="523875" y="296228"/>
                  </a:lnTo>
                  <a:lnTo>
                    <a:pt x="523875" y="493395"/>
                  </a:lnTo>
                  <a:lnTo>
                    <a:pt x="472440" y="493395"/>
                  </a:lnTo>
                  <a:lnTo>
                    <a:pt x="384810" y="352425"/>
                  </a:lnTo>
                  <a:lnTo>
                    <a:pt x="384810" y="493395"/>
                  </a:lnTo>
                  <a:lnTo>
                    <a:pt x="344805" y="493395"/>
                  </a:lnTo>
                  <a:close/>
                  <a:moveTo>
                    <a:pt x="579120" y="493395"/>
                  </a:moveTo>
                  <a:lnTo>
                    <a:pt x="579120" y="296228"/>
                  </a:lnTo>
                  <a:lnTo>
                    <a:pt x="619125" y="296228"/>
                  </a:lnTo>
                  <a:lnTo>
                    <a:pt x="619125" y="493395"/>
                  </a:lnTo>
                  <a:lnTo>
                    <a:pt x="579120" y="493395"/>
                  </a:lnTo>
                  <a:close/>
                  <a:moveTo>
                    <a:pt x="656273" y="466725"/>
                  </a:moveTo>
                  <a:lnTo>
                    <a:pt x="684848" y="440055"/>
                  </a:lnTo>
                  <a:cubicBezTo>
                    <a:pt x="690563" y="447675"/>
                    <a:pt x="697230" y="453390"/>
                    <a:pt x="704850" y="458153"/>
                  </a:cubicBezTo>
                  <a:cubicBezTo>
                    <a:pt x="712470" y="462915"/>
                    <a:pt x="720090" y="464820"/>
                    <a:pt x="728663" y="464820"/>
                  </a:cubicBezTo>
                  <a:cubicBezTo>
                    <a:pt x="736283" y="464820"/>
                    <a:pt x="742950" y="462915"/>
                    <a:pt x="746760" y="459105"/>
                  </a:cubicBezTo>
                  <a:cubicBezTo>
                    <a:pt x="751523" y="455295"/>
                    <a:pt x="753428" y="449580"/>
                    <a:pt x="753428" y="441960"/>
                  </a:cubicBezTo>
                  <a:cubicBezTo>
                    <a:pt x="753428" y="433388"/>
                    <a:pt x="748665" y="426720"/>
                    <a:pt x="739140" y="421957"/>
                  </a:cubicBezTo>
                  <a:cubicBezTo>
                    <a:pt x="729615" y="417195"/>
                    <a:pt x="719138" y="412432"/>
                    <a:pt x="708660" y="406717"/>
                  </a:cubicBezTo>
                  <a:cubicBezTo>
                    <a:pt x="697230" y="401003"/>
                    <a:pt x="686753" y="394335"/>
                    <a:pt x="678180" y="385763"/>
                  </a:cubicBezTo>
                  <a:cubicBezTo>
                    <a:pt x="669608" y="377190"/>
                    <a:pt x="663893" y="364807"/>
                    <a:pt x="663893" y="348615"/>
                  </a:cubicBezTo>
                  <a:cubicBezTo>
                    <a:pt x="663893" y="340995"/>
                    <a:pt x="665798" y="333375"/>
                    <a:pt x="668655" y="326707"/>
                  </a:cubicBezTo>
                  <a:cubicBezTo>
                    <a:pt x="671513" y="320040"/>
                    <a:pt x="676275" y="313373"/>
                    <a:pt x="681990" y="308610"/>
                  </a:cubicBezTo>
                  <a:cubicBezTo>
                    <a:pt x="687705" y="303848"/>
                    <a:pt x="694373" y="299085"/>
                    <a:pt x="701993" y="296228"/>
                  </a:cubicBezTo>
                  <a:cubicBezTo>
                    <a:pt x="709613" y="293370"/>
                    <a:pt x="718185" y="291465"/>
                    <a:pt x="727710" y="291465"/>
                  </a:cubicBezTo>
                  <a:cubicBezTo>
                    <a:pt x="741998" y="291465"/>
                    <a:pt x="755333" y="294323"/>
                    <a:pt x="766763" y="300990"/>
                  </a:cubicBezTo>
                  <a:cubicBezTo>
                    <a:pt x="778193" y="306705"/>
                    <a:pt x="787718" y="315278"/>
                    <a:pt x="796290" y="324803"/>
                  </a:cubicBezTo>
                  <a:lnTo>
                    <a:pt x="766763" y="350520"/>
                  </a:lnTo>
                  <a:cubicBezTo>
                    <a:pt x="761048" y="342900"/>
                    <a:pt x="754380" y="337185"/>
                    <a:pt x="748665" y="332423"/>
                  </a:cubicBezTo>
                  <a:cubicBezTo>
                    <a:pt x="741998" y="327660"/>
                    <a:pt x="735330" y="325755"/>
                    <a:pt x="727710" y="325755"/>
                  </a:cubicBezTo>
                  <a:cubicBezTo>
                    <a:pt x="721043" y="325755"/>
                    <a:pt x="715328" y="327660"/>
                    <a:pt x="711518" y="331470"/>
                  </a:cubicBezTo>
                  <a:cubicBezTo>
                    <a:pt x="707708" y="335280"/>
                    <a:pt x="705803" y="340042"/>
                    <a:pt x="705803" y="345757"/>
                  </a:cubicBezTo>
                  <a:cubicBezTo>
                    <a:pt x="705803" y="354330"/>
                    <a:pt x="710565" y="360998"/>
                    <a:pt x="720090" y="365760"/>
                  </a:cubicBezTo>
                  <a:cubicBezTo>
                    <a:pt x="729615" y="370523"/>
                    <a:pt x="740093" y="375285"/>
                    <a:pt x="750570" y="381000"/>
                  </a:cubicBezTo>
                  <a:cubicBezTo>
                    <a:pt x="762000" y="386715"/>
                    <a:pt x="772478" y="393382"/>
                    <a:pt x="781050" y="401955"/>
                  </a:cubicBezTo>
                  <a:cubicBezTo>
                    <a:pt x="790575" y="410528"/>
                    <a:pt x="795338" y="422910"/>
                    <a:pt x="795338" y="440055"/>
                  </a:cubicBezTo>
                  <a:cubicBezTo>
                    <a:pt x="795338" y="449580"/>
                    <a:pt x="793433" y="457200"/>
                    <a:pt x="789623" y="464820"/>
                  </a:cubicBezTo>
                  <a:cubicBezTo>
                    <a:pt x="785813" y="472440"/>
                    <a:pt x="781050" y="478155"/>
                    <a:pt x="775335" y="482917"/>
                  </a:cubicBezTo>
                  <a:cubicBezTo>
                    <a:pt x="769620" y="487680"/>
                    <a:pt x="762953" y="491490"/>
                    <a:pt x="754380" y="494348"/>
                  </a:cubicBezTo>
                  <a:cubicBezTo>
                    <a:pt x="746760" y="497205"/>
                    <a:pt x="738188" y="498157"/>
                    <a:pt x="728663" y="498157"/>
                  </a:cubicBezTo>
                  <a:cubicBezTo>
                    <a:pt x="712470" y="498157"/>
                    <a:pt x="698183" y="495300"/>
                    <a:pt x="685800" y="489585"/>
                  </a:cubicBezTo>
                  <a:cubicBezTo>
                    <a:pt x="675323" y="484823"/>
                    <a:pt x="664845" y="476250"/>
                    <a:pt x="656273" y="466725"/>
                  </a:cubicBezTo>
                  <a:close/>
                  <a:moveTo>
                    <a:pt x="814388" y="333375"/>
                  </a:moveTo>
                  <a:lnTo>
                    <a:pt x="814388" y="297180"/>
                  </a:lnTo>
                  <a:lnTo>
                    <a:pt x="975360" y="297180"/>
                  </a:lnTo>
                  <a:lnTo>
                    <a:pt x="975360" y="333375"/>
                  </a:lnTo>
                  <a:lnTo>
                    <a:pt x="914400" y="333375"/>
                  </a:lnTo>
                  <a:lnTo>
                    <a:pt x="914400" y="493395"/>
                  </a:lnTo>
                  <a:lnTo>
                    <a:pt x="874395" y="493395"/>
                  </a:lnTo>
                  <a:lnTo>
                    <a:pt x="874395" y="333375"/>
                  </a:lnTo>
                  <a:lnTo>
                    <a:pt x="814388" y="333375"/>
                  </a:lnTo>
                  <a:close/>
                  <a:moveTo>
                    <a:pt x="1011555" y="493395"/>
                  </a:moveTo>
                  <a:lnTo>
                    <a:pt x="1011555" y="296228"/>
                  </a:lnTo>
                  <a:lnTo>
                    <a:pt x="1071563" y="296228"/>
                  </a:lnTo>
                  <a:cubicBezTo>
                    <a:pt x="1093470" y="296228"/>
                    <a:pt x="1110615" y="301942"/>
                    <a:pt x="1122998" y="312420"/>
                  </a:cubicBezTo>
                  <a:cubicBezTo>
                    <a:pt x="1135380" y="322898"/>
                    <a:pt x="1142048" y="337185"/>
                    <a:pt x="1142048" y="355282"/>
                  </a:cubicBezTo>
                  <a:cubicBezTo>
                    <a:pt x="1142048" y="366713"/>
                    <a:pt x="1139190" y="377190"/>
                    <a:pt x="1133475" y="385763"/>
                  </a:cubicBezTo>
                  <a:cubicBezTo>
                    <a:pt x="1127760" y="394335"/>
                    <a:pt x="1120140" y="401003"/>
                    <a:pt x="1110615" y="405765"/>
                  </a:cubicBezTo>
                  <a:lnTo>
                    <a:pt x="1172528" y="492442"/>
                  </a:lnTo>
                  <a:lnTo>
                    <a:pt x="1124903" y="492442"/>
                  </a:lnTo>
                  <a:lnTo>
                    <a:pt x="1072515" y="413385"/>
                  </a:lnTo>
                  <a:lnTo>
                    <a:pt x="1051560" y="413385"/>
                  </a:lnTo>
                  <a:lnTo>
                    <a:pt x="1051560" y="492442"/>
                  </a:lnTo>
                  <a:lnTo>
                    <a:pt x="1011555" y="492442"/>
                  </a:lnTo>
                  <a:close/>
                  <a:moveTo>
                    <a:pt x="1073468" y="330517"/>
                  </a:moveTo>
                  <a:lnTo>
                    <a:pt x="1050608" y="330517"/>
                  </a:lnTo>
                  <a:lnTo>
                    <a:pt x="1050608" y="380048"/>
                  </a:lnTo>
                  <a:lnTo>
                    <a:pt x="1073468" y="380048"/>
                  </a:lnTo>
                  <a:cubicBezTo>
                    <a:pt x="1082040" y="380048"/>
                    <a:pt x="1088708" y="378142"/>
                    <a:pt x="1093470" y="373380"/>
                  </a:cubicBezTo>
                  <a:cubicBezTo>
                    <a:pt x="1098233" y="368617"/>
                    <a:pt x="1100138" y="362903"/>
                    <a:pt x="1100138" y="355282"/>
                  </a:cubicBezTo>
                  <a:cubicBezTo>
                    <a:pt x="1100138" y="347663"/>
                    <a:pt x="1098233" y="341948"/>
                    <a:pt x="1093470" y="337185"/>
                  </a:cubicBezTo>
                  <a:cubicBezTo>
                    <a:pt x="1088708" y="333375"/>
                    <a:pt x="1082040" y="330517"/>
                    <a:pt x="1073468" y="330517"/>
                  </a:cubicBezTo>
                  <a:close/>
                  <a:moveTo>
                    <a:pt x="1196340" y="493395"/>
                  </a:moveTo>
                  <a:lnTo>
                    <a:pt x="1196340" y="296228"/>
                  </a:lnTo>
                  <a:lnTo>
                    <a:pt x="1310640" y="296228"/>
                  </a:lnTo>
                  <a:lnTo>
                    <a:pt x="1310640" y="330517"/>
                  </a:lnTo>
                  <a:lnTo>
                    <a:pt x="1236345" y="330517"/>
                  </a:lnTo>
                  <a:lnTo>
                    <a:pt x="1236345" y="376238"/>
                  </a:lnTo>
                  <a:lnTo>
                    <a:pt x="1300163" y="376238"/>
                  </a:lnTo>
                  <a:lnTo>
                    <a:pt x="1300163" y="410528"/>
                  </a:lnTo>
                  <a:lnTo>
                    <a:pt x="1236345" y="410528"/>
                  </a:lnTo>
                  <a:lnTo>
                    <a:pt x="1236345" y="460057"/>
                  </a:lnTo>
                  <a:lnTo>
                    <a:pt x="1310640" y="460057"/>
                  </a:lnTo>
                  <a:lnTo>
                    <a:pt x="1310640" y="494348"/>
                  </a:lnTo>
                  <a:lnTo>
                    <a:pt x="1196340" y="49434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grpSp>
          <p:nvGrpSpPr>
            <p:cNvPr id="14" name="Graphique 2">
              <a:extLst>
                <a:ext uri="{FF2B5EF4-FFF2-40B4-BE49-F238E27FC236}">
                  <a16:creationId xmlns:a16="http://schemas.microsoft.com/office/drawing/2014/main" id="{4D4D293E-56FA-4F1F-9288-840887C23D75}"/>
                </a:ext>
              </a:extLst>
            </p:cNvPr>
            <p:cNvGrpSpPr/>
            <p:nvPr/>
          </p:nvGrpSpPr>
          <p:grpSpPr>
            <a:xfrm>
              <a:off x="270509" y="269557"/>
              <a:ext cx="744854" cy="270510"/>
              <a:chOff x="270509" y="269557"/>
              <a:chExt cx="744854" cy="270510"/>
            </a:xfrm>
          </p:grpSpPr>
          <p:sp>
            <p:nvSpPr>
              <p:cNvPr id="15" name="Forme libre : forme 14">
                <a:extLst>
                  <a:ext uri="{FF2B5EF4-FFF2-40B4-BE49-F238E27FC236}">
                    <a16:creationId xmlns:a16="http://schemas.microsoft.com/office/drawing/2014/main" id="{483E0F0C-A8F0-4FF9-9961-5AADCDD869C5}"/>
                  </a:ext>
                </a:extLst>
              </p:cNvPr>
              <p:cNvSpPr/>
              <p:nvPr/>
            </p:nvSpPr>
            <p:spPr>
              <a:xfrm>
                <a:off x="419100" y="270509"/>
                <a:ext cx="359871" cy="268604"/>
              </a:xfrm>
              <a:custGeom>
                <a:avLst/>
                <a:gdLst>
                  <a:gd name="connsiteX0" fmla="*/ 158115 w 359871"/>
                  <a:gd name="connsiteY0" fmla="*/ 237173 h 268604"/>
                  <a:gd name="connsiteX1" fmla="*/ 166688 w 359871"/>
                  <a:gd name="connsiteY1" fmla="*/ 227648 h 268604"/>
                  <a:gd name="connsiteX2" fmla="*/ 166688 w 359871"/>
                  <a:gd name="connsiteY2" fmla="*/ 227648 h 268604"/>
                  <a:gd name="connsiteX3" fmla="*/ 183833 w 359871"/>
                  <a:gd name="connsiteY3" fmla="*/ 210503 h 268604"/>
                  <a:gd name="connsiteX4" fmla="*/ 189548 w 359871"/>
                  <a:gd name="connsiteY4" fmla="*/ 205740 h 268604"/>
                  <a:gd name="connsiteX5" fmla="*/ 190500 w 359871"/>
                  <a:gd name="connsiteY5" fmla="*/ 203835 h 268604"/>
                  <a:gd name="connsiteX6" fmla="*/ 183833 w 359871"/>
                  <a:gd name="connsiteY6" fmla="*/ 207645 h 268604"/>
                  <a:gd name="connsiteX7" fmla="*/ 182880 w 359871"/>
                  <a:gd name="connsiteY7" fmla="*/ 206692 h 268604"/>
                  <a:gd name="connsiteX8" fmla="*/ 188595 w 359871"/>
                  <a:gd name="connsiteY8" fmla="*/ 202883 h 268604"/>
                  <a:gd name="connsiteX9" fmla="*/ 188595 w 359871"/>
                  <a:gd name="connsiteY9" fmla="*/ 202883 h 268604"/>
                  <a:gd name="connsiteX10" fmla="*/ 187643 w 359871"/>
                  <a:gd name="connsiteY10" fmla="*/ 201930 h 268604"/>
                  <a:gd name="connsiteX11" fmla="*/ 171450 w 359871"/>
                  <a:gd name="connsiteY11" fmla="*/ 210503 h 268604"/>
                  <a:gd name="connsiteX12" fmla="*/ 168593 w 359871"/>
                  <a:gd name="connsiteY12" fmla="*/ 209550 h 268604"/>
                  <a:gd name="connsiteX13" fmla="*/ 147638 w 359871"/>
                  <a:gd name="connsiteY13" fmla="*/ 221933 h 268604"/>
                  <a:gd name="connsiteX14" fmla="*/ 147638 w 359871"/>
                  <a:gd name="connsiteY14" fmla="*/ 220980 h 268604"/>
                  <a:gd name="connsiteX15" fmla="*/ 138113 w 359871"/>
                  <a:gd name="connsiteY15" fmla="*/ 224790 h 268604"/>
                  <a:gd name="connsiteX16" fmla="*/ 125730 w 359871"/>
                  <a:gd name="connsiteY16" fmla="*/ 225742 h 268604"/>
                  <a:gd name="connsiteX17" fmla="*/ 107632 w 359871"/>
                  <a:gd name="connsiteY17" fmla="*/ 228600 h 268604"/>
                  <a:gd name="connsiteX18" fmla="*/ 106680 w 359871"/>
                  <a:gd name="connsiteY18" fmla="*/ 228600 h 268604"/>
                  <a:gd name="connsiteX19" fmla="*/ 97155 w 359871"/>
                  <a:gd name="connsiteY19" fmla="*/ 232410 h 268604"/>
                  <a:gd name="connsiteX20" fmla="*/ 97155 w 359871"/>
                  <a:gd name="connsiteY20" fmla="*/ 232410 h 268604"/>
                  <a:gd name="connsiteX21" fmla="*/ 96202 w 359871"/>
                  <a:gd name="connsiteY21" fmla="*/ 233363 h 268604"/>
                  <a:gd name="connsiteX22" fmla="*/ 92393 w 359871"/>
                  <a:gd name="connsiteY22" fmla="*/ 236220 h 268604"/>
                  <a:gd name="connsiteX23" fmla="*/ 83820 w 359871"/>
                  <a:gd name="connsiteY23" fmla="*/ 242888 h 268604"/>
                  <a:gd name="connsiteX24" fmla="*/ 82868 w 359871"/>
                  <a:gd name="connsiteY24" fmla="*/ 242888 h 268604"/>
                  <a:gd name="connsiteX25" fmla="*/ 74295 w 359871"/>
                  <a:gd name="connsiteY25" fmla="*/ 250508 h 268604"/>
                  <a:gd name="connsiteX26" fmla="*/ 72390 w 359871"/>
                  <a:gd name="connsiteY26" fmla="*/ 250508 h 268604"/>
                  <a:gd name="connsiteX27" fmla="*/ 72390 w 359871"/>
                  <a:gd name="connsiteY27" fmla="*/ 250508 h 268604"/>
                  <a:gd name="connsiteX28" fmla="*/ 72390 w 359871"/>
                  <a:gd name="connsiteY28" fmla="*/ 249555 h 268604"/>
                  <a:gd name="connsiteX29" fmla="*/ 73343 w 359871"/>
                  <a:gd name="connsiteY29" fmla="*/ 247650 h 268604"/>
                  <a:gd name="connsiteX30" fmla="*/ 75248 w 359871"/>
                  <a:gd name="connsiteY30" fmla="*/ 245745 h 268604"/>
                  <a:gd name="connsiteX31" fmla="*/ 77152 w 359871"/>
                  <a:gd name="connsiteY31" fmla="*/ 242888 h 268604"/>
                  <a:gd name="connsiteX32" fmla="*/ 77152 w 359871"/>
                  <a:gd name="connsiteY32" fmla="*/ 241935 h 268604"/>
                  <a:gd name="connsiteX33" fmla="*/ 76200 w 359871"/>
                  <a:gd name="connsiteY33" fmla="*/ 241935 h 268604"/>
                  <a:gd name="connsiteX34" fmla="*/ 84773 w 359871"/>
                  <a:gd name="connsiteY34" fmla="*/ 235267 h 268604"/>
                  <a:gd name="connsiteX35" fmla="*/ 84773 w 359871"/>
                  <a:gd name="connsiteY35" fmla="*/ 235267 h 268604"/>
                  <a:gd name="connsiteX36" fmla="*/ 83820 w 359871"/>
                  <a:gd name="connsiteY36" fmla="*/ 234315 h 268604"/>
                  <a:gd name="connsiteX37" fmla="*/ 84773 w 359871"/>
                  <a:gd name="connsiteY37" fmla="*/ 233363 h 268604"/>
                  <a:gd name="connsiteX38" fmla="*/ 84773 w 359871"/>
                  <a:gd name="connsiteY38" fmla="*/ 233363 h 268604"/>
                  <a:gd name="connsiteX39" fmla="*/ 84773 w 359871"/>
                  <a:gd name="connsiteY39" fmla="*/ 233363 h 268604"/>
                  <a:gd name="connsiteX40" fmla="*/ 84773 w 359871"/>
                  <a:gd name="connsiteY40" fmla="*/ 234315 h 268604"/>
                  <a:gd name="connsiteX41" fmla="*/ 80963 w 359871"/>
                  <a:gd name="connsiteY41" fmla="*/ 237173 h 268604"/>
                  <a:gd name="connsiteX42" fmla="*/ 80010 w 359871"/>
                  <a:gd name="connsiteY42" fmla="*/ 237173 h 268604"/>
                  <a:gd name="connsiteX43" fmla="*/ 79057 w 359871"/>
                  <a:gd name="connsiteY43" fmla="*/ 237173 h 268604"/>
                  <a:gd name="connsiteX44" fmla="*/ 79057 w 359871"/>
                  <a:gd name="connsiteY44" fmla="*/ 237173 h 268604"/>
                  <a:gd name="connsiteX45" fmla="*/ 79057 w 359871"/>
                  <a:gd name="connsiteY45" fmla="*/ 237173 h 268604"/>
                  <a:gd name="connsiteX46" fmla="*/ 79057 w 359871"/>
                  <a:gd name="connsiteY46" fmla="*/ 237173 h 268604"/>
                  <a:gd name="connsiteX47" fmla="*/ 79057 w 359871"/>
                  <a:gd name="connsiteY47" fmla="*/ 237173 h 268604"/>
                  <a:gd name="connsiteX48" fmla="*/ 79057 w 359871"/>
                  <a:gd name="connsiteY48" fmla="*/ 237173 h 268604"/>
                  <a:gd name="connsiteX49" fmla="*/ 79057 w 359871"/>
                  <a:gd name="connsiteY49" fmla="*/ 237173 h 268604"/>
                  <a:gd name="connsiteX50" fmla="*/ 79057 w 359871"/>
                  <a:gd name="connsiteY50" fmla="*/ 236220 h 268604"/>
                  <a:gd name="connsiteX51" fmla="*/ 79057 w 359871"/>
                  <a:gd name="connsiteY51" fmla="*/ 236220 h 268604"/>
                  <a:gd name="connsiteX52" fmla="*/ 80010 w 359871"/>
                  <a:gd name="connsiteY52" fmla="*/ 235267 h 268604"/>
                  <a:gd name="connsiteX53" fmla="*/ 80010 w 359871"/>
                  <a:gd name="connsiteY53" fmla="*/ 234315 h 268604"/>
                  <a:gd name="connsiteX54" fmla="*/ 80963 w 359871"/>
                  <a:gd name="connsiteY54" fmla="*/ 233363 h 268604"/>
                  <a:gd name="connsiteX55" fmla="*/ 80963 w 359871"/>
                  <a:gd name="connsiteY55" fmla="*/ 232410 h 268604"/>
                  <a:gd name="connsiteX56" fmla="*/ 84773 w 359871"/>
                  <a:gd name="connsiteY56" fmla="*/ 229553 h 268604"/>
                  <a:gd name="connsiteX57" fmla="*/ 84773 w 359871"/>
                  <a:gd name="connsiteY57" fmla="*/ 229553 h 268604"/>
                  <a:gd name="connsiteX58" fmla="*/ 90488 w 359871"/>
                  <a:gd name="connsiteY58" fmla="*/ 226695 h 268604"/>
                  <a:gd name="connsiteX59" fmla="*/ 91440 w 359871"/>
                  <a:gd name="connsiteY59" fmla="*/ 225742 h 268604"/>
                  <a:gd name="connsiteX60" fmla="*/ 82868 w 359871"/>
                  <a:gd name="connsiteY60" fmla="*/ 229553 h 268604"/>
                  <a:gd name="connsiteX61" fmla="*/ 81915 w 359871"/>
                  <a:gd name="connsiteY61" fmla="*/ 229553 h 268604"/>
                  <a:gd name="connsiteX62" fmla="*/ 80963 w 359871"/>
                  <a:gd name="connsiteY62" fmla="*/ 229553 h 268604"/>
                  <a:gd name="connsiteX63" fmla="*/ 80963 w 359871"/>
                  <a:gd name="connsiteY63" fmla="*/ 229553 h 268604"/>
                  <a:gd name="connsiteX64" fmla="*/ 83820 w 359871"/>
                  <a:gd name="connsiteY64" fmla="*/ 226695 h 268604"/>
                  <a:gd name="connsiteX65" fmla="*/ 84773 w 359871"/>
                  <a:gd name="connsiteY65" fmla="*/ 227648 h 268604"/>
                  <a:gd name="connsiteX66" fmla="*/ 142875 w 359871"/>
                  <a:gd name="connsiteY66" fmla="*/ 211455 h 268604"/>
                  <a:gd name="connsiteX67" fmla="*/ 147638 w 359871"/>
                  <a:gd name="connsiteY67" fmla="*/ 208598 h 268604"/>
                  <a:gd name="connsiteX68" fmla="*/ 155258 w 359871"/>
                  <a:gd name="connsiteY68" fmla="*/ 203835 h 268604"/>
                  <a:gd name="connsiteX69" fmla="*/ 163830 w 359871"/>
                  <a:gd name="connsiteY69" fmla="*/ 192405 h 268604"/>
                  <a:gd name="connsiteX70" fmla="*/ 162877 w 359871"/>
                  <a:gd name="connsiteY70" fmla="*/ 191453 h 268604"/>
                  <a:gd name="connsiteX71" fmla="*/ 140018 w 359871"/>
                  <a:gd name="connsiteY71" fmla="*/ 208598 h 268604"/>
                  <a:gd name="connsiteX72" fmla="*/ 106680 w 359871"/>
                  <a:gd name="connsiteY72" fmla="*/ 214313 h 268604"/>
                  <a:gd name="connsiteX73" fmla="*/ 109538 w 359871"/>
                  <a:gd name="connsiteY73" fmla="*/ 213360 h 268604"/>
                  <a:gd name="connsiteX74" fmla="*/ 111443 w 359871"/>
                  <a:gd name="connsiteY74" fmla="*/ 210503 h 268604"/>
                  <a:gd name="connsiteX75" fmla="*/ 113348 w 359871"/>
                  <a:gd name="connsiteY75" fmla="*/ 210503 h 268604"/>
                  <a:gd name="connsiteX76" fmla="*/ 114300 w 359871"/>
                  <a:gd name="connsiteY76" fmla="*/ 209550 h 268604"/>
                  <a:gd name="connsiteX77" fmla="*/ 116205 w 359871"/>
                  <a:gd name="connsiteY77" fmla="*/ 208598 h 268604"/>
                  <a:gd name="connsiteX78" fmla="*/ 108585 w 359871"/>
                  <a:gd name="connsiteY78" fmla="*/ 208598 h 268604"/>
                  <a:gd name="connsiteX79" fmla="*/ 110490 w 359871"/>
                  <a:gd name="connsiteY79" fmla="*/ 205740 h 268604"/>
                  <a:gd name="connsiteX80" fmla="*/ 112395 w 359871"/>
                  <a:gd name="connsiteY80" fmla="*/ 205740 h 268604"/>
                  <a:gd name="connsiteX81" fmla="*/ 113348 w 359871"/>
                  <a:gd name="connsiteY81" fmla="*/ 203835 h 268604"/>
                  <a:gd name="connsiteX82" fmla="*/ 135255 w 359871"/>
                  <a:gd name="connsiteY82" fmla="*/ 191453 h 268604"/>
                  <a:gd name="connsiteX83" fmla="*/ 131445 w 359871"/>
                  <a:gd name="connsiteY83" fmla="*/ 192405 h 268604"/>
                  <a:gd name="connsiteX84" fmla="*/ 132398 w 359871"/>
                  <a:gd name="connsiteY84" fmla="*/ 190500 h 268604"/>
                  <a:gd name="connsiteX85" fmla="*/ 148590 w 359871"/>
                  <a:gd name="connsiteY85" fmla="*/ 183833 h 268604"/>
                  <a:gd name="connsiteX86" fmla="*/ 142875 w 359871"/>
                  <a:gd name="connsiteY86" fmla="*/ 183833 h 268604"/>
                  <a:gd name="connsiteX87" fmla="*/ 145733 w 359871"/>
                  <a:gd name="connsiteY87" fmla="*/ 181928 h 268604"/>
                  <a:gd name="connsiteX88" fmla="*/ 145733 w 359871"/>
                  <a:gd name="connsiteY88" fmla="*/ 180023 h 268604"/>
                  <a:gd name="connsiteX89" fmla="*/ 146685 w 359871"/>
                  <a:gd name="connsiteY89" fmla="*/ 179070 h 268604"/>
                  <a:gd name="connsiteX90" fmla="*/ 145733 w 359871"/>
                  <a:gd name="connsiteY90" fmla="*/ 178117 h 268604"/>
                  <a:gd name="connsiteX91" fmla="*/ 148590 w 359871"/>
                  <a:gd name="connsiteY91" fmla="*/ 176213 h 268604"/>
                  <a:gd name="connsiteX92" fmla="*/ 146685 w 359871"/>
                  <a:gd name="connsiteY92" fmla="*/ 175260 h 268604"/>
                  <a:gd name="connsiteX93" fmla="*/ 153352 w 359871"/>
                  <a:gd name="connsiteY93" fmla="*/ 172403 h 268604"/>
                  <a:gd name="connsiteX94" fmla="*/ 151448 w 359871"/>
                  <a:gd name="connsiteY94" fmla="*/ 171450 h 268604"/>
                  <a:gd name="connsiteX95" fmla="*/ 152400 w 359871"/>
                  <a:gd name="connsiteY95" fmla="*/ 170498 h 268604"/>
                  <a:gd name="connsiteX96" fmla="*/ 152400 w 359871"/>
                  <a:gd name="connsiteY96" fmla="*/ 170498 h 268604"/>
                  <a:gd name="connsiteX97" fmla="*/ 151448 w 359871"/>
                  <a:gd name="connsiteY97" fmla="*/ 168592 h 268604"/>
                  <a:gd name="connsiteX98" fmla="*/ 156210 w 359871"/>
                  <a:gd name="connsiteY98" fmla="*/ 156210 h 268604"/>
                  <a:gd name="connsiteX99" fmla="*/ 155258 w 359871"/>
                  <a:gd name="connsiteY99" fmla="*/ 155258 h 268604"/>
                  <a:gd name="connsiteX100" fmla="*/ 134302 w 359871"/>
                  <a:gd name="connsiteY100" fmla="*/ 164783 h 268604"/>
                  <a:gd name="connsiteX101" fmla="*/ 131445 w 359871"/>
                  <a:gd name="connsiteY101" fmla="*/ 164783 h 268604"/>
                  <a:gd name="connsiteX102" fmla="*/ 122873 w 359871"/>
                  <a:gd name="connsiteY102" fmla="*/ 163830 h 268604"/>
                  <a:gd name="connsiteX103" fmla="*/ 118110 w 359871"/>
                  <a:gd name="connsiteY103" fmla="*/ 160020 h 268604"/>
                  <a:gd name="connsiteX104" fmla="*/ 105727 w 359871"/>
                  <a:gd name="connsiteY104" fmla="*/ 154305 h 268604"/>
                  <a:gd name="connsiteX105" fmla="*/ 66675 w 359871"/>
                  <a:gd name="connsiteY105" fmla="*/ 148590 h 268604"/>
                  <a:gd name="connsiteX106" fmla="*/ 84773 w 359871"/>
                  <a:gd name="connsiteY106" fmla="*/ 143828 h 268604"/>
                  <a:gd name="connsiteX107" fmla="*/ 110490 w 359871"/>
                  <a:gd name="connsiteY107" fmla="*/ 139065 h 268604"/>
                  <a:gd name="connsiteX108" fmla="*/ 105727 w 359871"/>
                  <a:gd name="connsiteY108" fmla="*/ 139065 h 268604"/>
                  <a:gd name="connsiteX109" fmla="*/ 83820 w 359871"/>
                  <a:gd name="connsiteY109" fmla="*/ 141923 h 268604"/>
                  <a:gd name="connsiteX110" fmla="*/ 68580 w 359871"/>
                  <a:gd name="connsiteY110" fmla="*/ 145733 h 268604"/>
                  <a:gd name="connsiteX111" fmla="*/ 60007 w 359871"/>
                  <a:gd name="connsiteY111" fmla="*/ 149542 h 268604"/>
                  <a:gd name="connsiteX112" fmla="*/ 60007 w 359871"/>
                  <a:gd name="connsiteY112" fmla="*/ 147638 h 268604"/>
                  <a:gd name="connsiteX113" fmla="*/ 79057 w 359871"/>
                  <a:gd name="connsiteY113" fmla="*/ 135255 h 268604"/>
                  <a:gd name="connsiteX114" fmla="*/ 105727 w 359871"/>
                  <a:gd name="connsiteY114" fmla="*/ 136208 h 268604"/>
                  <a:gd name="connsiteX115" fmla="*/ 124777 w 359871"/>
                  <a:gd name="connsiteY115" fmla="*/ 140017 h 268604"/>
                  <a:gd name="connsiteX116" fmla="*/ 129540 w 359871"/>
                  <a:gd name="connsiteY116" fmla="*/ 144780 h 268604"/>
                  <a:gd name="connsiteX117" fmla="*/ 139065 w 359871"/>
                  <a:gd name="connsiteY117" fmla="*/ 146685 h 268604"/>
                  <a:gd name="connsiteX118" fmla="*/ 139065 w 359871"/>
                  <a:gd name="connsiteY118" fmla="*/ 143828 h 268604"/>
                  <a:gd name="connsiteX119" fmla="*/ 145733 w 359871"/>
                  <a:gd name="connsiteY119" fmla="*/ 142875 h 268604"/>
                  <a:gd name="connsiteX120" fmla="*/ 140018 w 359871"/>
                  <a:gd name="connsiteY120" fmla="*/ 132398 h 268604"/>
                  <a:gd name="connsiteX121" fmla="*/ 140970 w 359871"/>
                  <a:gd name="connsiteY121" fmla="*/ 131445 h 268604"/>
                  <a:gd name="connsiteX122" fmla="*/ 153352 w 359871"/>
                  <a:gd name="connsiteY122" fmla="*/ 141923 h 268604"/>
                  <a:gd name="connsiteX123" fmla="*/ 160973 w 359871"/>
                  <a:gd name="connsiteY123" fmla="*/ 140970 h 268604"/>
                  <a:gd name="connsiteX124" fmla="*/ 149543 w 359871"/>
                  <a:gd name="connsiteY124" fmla="*/ 125730 h 268604"/>
                  <a:gd name="connsiteX125" fmla="*/ 149543 w 359871"/>
                  <a:gd name="connsiteY125" fmla="*/ 123825 h 268604"/>
                  <a:gd name="connsiteX126" fmla="*/ 147638 w 359871"/>
                  <a:gd name="connsiteY126" fmla="*/ 122873 h 268604"/>
                  <a:gd name="connsiteX127" fmla="*/ 147638 w 359871"/>
                  <a:gd name="connsiteY127" fmla="*/ 120015 h 268604"/>
                  <a:gd name="connsiteX128" fmla="*/ 144780 w 359871"/>
                  <a:gd name="connsiteY128" fmla="*/ 115253 h 268604"/>
                  <a:gd name="connsiteX129" fmla="*/ 142875 w 359871"/>
                  <a:gd name="connsiteY129" fmla="*/ 105728 h 268604"/>
                  <a:gd name="connsiteX130" fmla="*/ 141923 w 359871"/>
                  <a:gd name="connsiteY130" fmla="*/ 98108 h 268604"/>
                  <a:gd name="connsiteX131" fmla="*/ 137160 w 359871"/>
                  <a:gd name="connsiteY131" fmla="*/ 73342 h 268604"/>
                  <a:gd name="connsiteX132" fmla="*/ 147638 w 359871"/>
                  <a:gd name="connsiteY132" fmla="*/ 47625 h 268604"/>
                  <a:gd name="connsiteX133" fmla="*/ 161925 w 359871"/>
                  <a:gd name="connsiteY133" fmla="*/ 31433 h 268604"/>
                  <a:gd name="connsiteX134" fmla="*/ 171450 w 359871"/>
                  <a:gd name="connsiteY134" fmla="*/ 15240 h 268604"/>
                  <a:gd name="connsiteX135" fmla="*/ 187643 w 359871"/>
                  <a:gd name="connsiteY135" fmla="*/ 4763 h 268604"/>
                  <a:gd name="connsiteX136" fmla="*/ 200977 w 359871"/>
                  <a:gd name="connsiteY136" fmla="*/ 0 h 268604"/>
                  <a:gd name="connsiteX137" fmla="*/ 302895 w 359871"/>
                  <a:gd name="connsiteY137" fmla="*/ 0 h 268604"/>
                  <a:gd name="connsiteX138" fmla="*/ 305753 w 359871"/>
                  <a:gd name="connsiteY138" fmla="*/ 953 h 268604"/>
                  <a:gd name="connsiteX139" fmla="*/ 313373 w 359871"/>
                  <a:gd name="connsiteY139" fmla="*/ 4763 h 268604"/>
                  <a:gd name="connsiteX140" fmla="*/ 322898 w 359871"/>
                  <a:gd name="connsiteY140" fmla="*/ 13335 h 268604"/>
                  <a:gd name="connsiteX141" fmla="*/ 324803 w 359871"/>
                  <a:gd name="connsiteY141" fmla="*/ 20003 h 268604"/>
                  <a:gd name="connsiteX142" fmla="*/ 320992 w 359871"/>
                  <a:gd name="connsiteY142" fmla="*/ 27622 h 268604"/>
                  <a:gd name="connsiteX143" fmla="*/ 310515 w 359871"/>
                  <a:gd name="connsiteY143" fmla="*/ 28575 h 268604"/>
                  <a:gd name="connsiteX144" fmla="*/ 304800 w 359871"/>
                  <a:gd name="connsiteY144" fmla="*/ 27622 h 268604"/>
                  <a:gd name="connsiteX145" fmla="*/ 324803 w 359871"/>
                  <a:gd name="connsiteY145" fmla="*/ 40958 h 268604"/>
                  <a:gd name="connsiteX146" fmla="*/ 329565 w 359871"/>
                  <a:gd name="connsiteY146" fmla="*/ 42863 h 268604"/>
                  <a:gd name="connsiteX147" fmla="*/ 330517 w 359871"/>
                  <a:gd name="connsiteY147" fmla="*/ 44767 h 268604"/>
                  <a:gd name="connsiteX148" fmla="*/ 328613 w 359871"/>
                  <a:gd name="connsiteY148" fmla="*/ 47625 h 268604"/>
                  <a:gd name="connsiteX149" fmla="*/ 330517 w 359871"/>
                  <a:gd name="connsiteY149" fmla="*/ 47625 h 268604"/>
                  <a:gd name="connsiteX150" fmla="*/ 336233 w 359871"/>
                  <a:gd name="connsiteY150" fmla="*/ 42863 h 268604"/>
                  <a:gd name="connsiteX151" fmla="*/ 338138 w 359871"/>
                  <a:gd name="connsiteY151" fmla="*/ 50483 h 268604"/>
                  <a:gd name="connsiteX152" fmla="*/ 332423 w 359871"/>
                  <a:gd name="connsiteY152" fmla="*/ 55245 h 268604"/>
                  <a:gd name="connsiteX153" fmla="*/ 332423 w 359871"/>
                  <a:gd name="connsiteY153" fmla="*/ 59055 h 268604"/>
                  <a:gd name="connsiteX154" fmla="*/ 335280 w 359871"/>
                  <a:gd name="connsiteY154" fmla="*/ 64770 h 268604"/>
                  <a:gd name="connsiteX155" fmla="*/ 339090 w 359871"/>
                  <a:gd name="connsiteY155" fmla="*/ 76200 h 268604"/>
                  <a:gd name="connsiteX156" fmla="*/ 342900 w 359871"/>
                  <a:gd name="connsiteY156" fmla="*/ 99060 h 268604"/>
                  <a:gd name="connsiteX157" fmla="*/ 341948 w 359871"/>
                  <a:gd name="connsiteY157" fmla="*/ 110490 h 268604"/>
                  <a:gd name="connsiteX158" fmla="*/ 347663 w 359871"/>
                  <a:gd name="connsiteY158" fmla="*/ 120967 h 268604"/>
                  <a:gd name="connsiteX159" fmla="*/ 353378 w 359871"/>
                  <a:gd name="connsiteY159" fmla="*/ 129540 h 268604"/>
                  <a:gd name="connsiteX160" fmla="*/ 359092 w 359871"/>
                  <a:gd name="connsiteY160" fmla="*/ 145733 h 268604"/>
                  <a:gd name="connsiteX161" fmla="*/ 348615 w 359871"/>
                  <a:gd name="connsiteY161" fmla="*/ 150495 h 268604"/>
                  <a:gd name="connsiteX162" fmla="*/ 349567 w 359871"/>
                  <a:gd name="connsiteY162" fmla="*/ 160020 h 268604"/>
                  <a:gd name="connsiteX163" fmla="*/ 342900 w 359871"/>
                  <a:gd name="connsiteY163" fmla="*/ 169545 h 268604"/>
                  <a:gd name="connsiteX164" fmla="*/ 346710 w 359871"/>
                  <a:gd name="connsiteY164" fmla="*/ 171450 h 268604"/>
                  <a:gd name="connsiteX165" fmla="*/ 348615 w 359871"/>
                  <a:gd name="connsiteY165" fmla="*/ 178117 h 268604"/>
                  <a:gd name="connsiteX166" fmla="*/ 343853 w 359871"/>
                  <a:gd name="connsiteY166" fmla="*/ 187642 h 268604"/>
                  <a:gd name="connsiteX167" fmla="*/ 342900 w 359871"/>
                  <a:gd name="connsiteY167" fmla="*/ 199073 h 268604"/>
                  <a:gd name="connsiteX168" fmla="*/ 333375 w 359871"/>
                  <a:gd name="connsiteY168" fmla="*/ 206692 h 268604"/>
                  <a:gd name="connsiteX169" fmla="*/ 323850 w 359871"/>
                  <a:gd name="connsiteY169" fmla="*/ 207645 h 268604"/>
                  <a:gd name="connsiteX170" fmla="*/ 318135 w 359871"/>
                  <a:gd name="connsiteY170" fmla="*/ 205740 h 268604"/>
                  <a:gd name="connsiteX171" fmla="*/ 292417 w 359871"/>
                  <a:gd name="connsiteY171" fmla="*/ 201930 h 268604"/>
                  <a:gd name="connsiteX172" fmla="*/ 285750 w 359871"/>
                  <a:gd name="connsiteY172" fmla="*/ 203835 h 268604"/>
                  <a:gd name="connsiteX173" fmla="*/ 280035 w 359871"/>
                  <a:gd name="connsiteY173" fmla="*/ 209550 h 268604"/>
                  <a:gd name="connsiteX174" fmla="*/ 280035 w 359871"/>
                  <a:gd name="connsiteY174" fmla="*/ 209550 h 268604"/>
                  <a:gd name="connsiteX175" fmla="*/ 279083 w 359871"/>
                  <a:gd name="connsiteY175" fmla="*/ 210503 h 268604"/>
                  <a:gd name="connsiteX176" fmla="*/ 278130 w 359871"/>
                  <a:gd name="connsiteY176" fmla="*/ 211455 h 268604"/>
                  <a:gd name="connsiteX177" fmla="*/ 278130 w 359871"/>
                  <a:gd name="connsiteY177" fmla="*/ 212408 h 268604"/>
                  <a:gd name="connsiteX178" fmla="*/ 274320 w 359871"/>
                  <a:gd name="connsiteY178" fmla="*/ 218123 h 268604"/>
                  <a:gd name="connsiteX179" fmla="*/ 274320 w 359871"/>
                  <a:gd name="connsiteY179" fmla="*/ 218123 h 268604"/>
                  <a:gd name="connsiteX180" fmla="*/ 274320 w 359871"/>
                  <a:gd name="connsiteY180" fmla="*/ 219075 h 268604"/>
                  <a:gd name="connsiteX181" fmla="*/ 270510 w 359871"/>
                  <a:gd name="connsiteY181" fmla="*/ 228600 h 268604"/>
                  <a:gd name="connsiteX182" fmla="*/ 271463 w 359871"/>
                  <a:gd name="connsiteY182" fmla="*/ 252413 h 268604"/>
                  <a:gd name="connsiteX183" fmla="*/ 299085 w 359871"/>
                  <a:gd name="connsiteY183" fmla="*/ 262890 h 268604"/>
                  <a:gd name="connsiteX184" fmla="*/ 311467 w 359871"/>
                  <a:gd name="connsiteY184" fmla="*/ 268605 h 268604"/>
                  <a:gd name="connsiteX185" fmla="*/ 101918 w 359871"/>
                  <a:gd name="connsiteY185" fmla="*/ 268605 h 268604"/>
                  <a:gd name="connsiteX186" fmla="*/ 135255 w 359871"/>
                  <a:gd name="connsiteY186" fmla="*/ 251460 h 268604"/>
                  <a:gd name="connsiteX187" fmla="*/ 158115 w 359871"/>
                  <a:gd name="connsiteY187" fmla="*/ 237173 h 268604"/>
                  <a:gd name="connsiteX188" fmla="*/ 79057 w 359871"/>
                  <a:gd name="connsiteY188" fmla="*/ 200978 h 268604"/>
                  <a:gd name="connsiteX189" fmla="*/ 76200 w 359871"/>
                  <a:gd name="connsiteY189" fmla="*/ 200025 h 268604"/>
                  <a:gd name="connsiteX190" fmla="*/ 81915 w 359871"/>
                  <a:gd name="connsiteY190" fmla="*/ 196215 h 268604"/>
                  <a:gd name="connsiteX191" fmla="*/ 85725 w 359871"/>
                  <a:gd name="connsiteY191" fmla="*/ 195263 h 268604"/>
                  <a:gd name="connsiteX192" fmla="*/ 89535 w 359871"/>
                  <a:gd name="connsiteY192" fmla="*/ 197167 h 268604"/>
                  <a:gd name="connsiteX193" fmla="*/ 79057 w 359871"/>
                  <a:gd name="connsiteY193" fmla="*/ 200978 h 268604"/>
                  <a:gd name="connsiteX194" fmla="*/ 952 w 359871"/>
                  <a:gd name="connsiteY194" fmla="*/ 189548 h 268604"/>
                  <a:gd name="connsiteX195" fmla="*/ 0 w 359871"/>
                  <a:gd name="connsiteY195" fmla="*/ 188595 h 268604"/>
                  <a:gd name="connsiteX196" fmla="*/ 16193 w 359871"/>
                  <a:gd name="connsiteY196" fmla="*/ 162878 h 268604"/>
                  <a:gd name="connsiteX197" fmla="*/ 33338 w 359871"/>
                  <a:gd name="connsiteY197" fmla="*/ 148590 h 268604"/>
                  <a:gd name="connsiteX198" fmla="*/ 61913 w 359871"/>
                  <a:gd name="connsiteY198" fmla="*/ 125730 h 268604"/>
                  <a:gd name="connsiteX199" fmla="*/ 75248 w 359871"/>
                  <a:gd name="connsiteY199" fmla="*/ 126683 h 268604"/>
                  <a:gd name="connsiteX200" fmla="*/ 69532 w 359871"/>
                  <a:gd name="connsiteY200" fmla="*/ 129540 h 268604"/>
                  <a:gd name="connsiteX201" fmla="*/ 67627 w 359871"/>
                  <a:gd name="connsiteY201" fmla="*/ 128588 h 268604"/>
                  <a:gd name="connsiteX202" fmla="*/ 68580 w 359871"/>
                  <a:gd name="connsiteY202" fmla="*/ 126683 h 268604"/>
                  <a:gd name="connsiteX203" fmla="*/ 52388 w 359871"/>
                  <a:gd name="connsiteY203" fmla="*/ 141923 h 268604"/>
                  <a:gd name="connsiteX204" fmla="*/ 40957 w 359871"/>
                  <a:gd name="connsiteY204" fmla="*/ 155258 h 268604"/>
                  <a:gd name="connsiteX205" fmla="*/ 40005 w 359871"/>
                  <a:gd name="connsiteY205" fmla="*/ 154305 h 268604"/>
                  <a:gd name="connsiteX206" fmla="*/ 952 w 359871"/>
                  <a:gd name="connsiteY206" fmla="*/ 189548 h 268604"/>
                  <a:gd name="connsiteX207" fmla="*/ 43815 w 359871"/>
                  <a:gd name="connsiteY207" fmla="*/ 156210 h 268604"/>
                  <a:gd name="connsiteX208" fmla="*/ 41910 w 359871"/>
                  <a:gd name="connsiteY208" fmla="*/ 158115 h 268604"/>
                  <a:gd name="connsiteX209" fmla="*/ 40005 w 359871"/>
                  <a:gd name="connsiteY209" fmla="*/ 160020 h 268604"/>
                  <a:gd name="connsiteX210" fmla="*/ 39052 w 359871"/>
                  <a:gd name="connsiteY210" fmla="*/ 159067 h 268604"/>
                  <a:gd name="connsiteX211" fmla="*/ 42863 w 359871"/>
                  <a:gd name="connsiteY211" fmla="*/ 154305 h 268604"/>
                  <a:gd name="connsiteX212" fmla="*/ 43815 w 359871"/>
                  <a:gd name="connsiteY212" fmla="*/ 156210 h 268604"/>
                  <a:gd name="connsiteX213" fmla="*/ 67627 w 359871"/>
                  <a:gd name="connsiteY213" fmla="*/ 232410 h 268604"/>
                  <a:gd name="connsiteX214" fmla="*/ 66675 w 359871"/>
                  <a:gd name="connsiteY214" fmla="*/ 234315 h 268604"/>
                  <a:gd name="connsiteX215" fmla="*/ 67627 w 359871"/>
                  <a:gd name="connsiteY215" fmla="*/ 235267 h 268604"/>
                  <a:gd name="connsiteX216" fmla="*/ 63818 w 359871"/>
                  <a:gd name="connsiteY216" fmla="*/ 238125 h 268604"/>
                  <a:gd name="connsiteX217" fmla="*/ 62865 w 359871"/>
                  <a:gd name="connsiteY217" fmla="*/ 238125 h 268604"/>
                  <a:gd name="connsiteX218" fmla="*/ 60960 w 359871"/>
                  <a:gd name="connsiteY218" fmla="*/ 240030 h 268604"/>
                  <a:gd name="connsiteX219" fmla="*/ 58102 w 359871"/>
                  <a:gd name="connsiteY219" fmla="*/ 239078 h 268604"/>
                  <a:gd name="connsiteX220" fmla="*/ 61913 w 359871"/>
                  <a:gd name="connsiteY220" fmla="*/ 235267 h 268604"/>
                  <a:gd name="connsiteX221" fmla="*/ 63818 w 359871"/>
                  <a:gd name="connsiteY221" fmla="*/ 233363 h 268604"/>
                  <a:gd name="connsiteX222" fmla="*/ 64770 w 359871"/>
                  <a:gd name="connsiteY222" fmla="*/ 232410 h 268604"/>
                  <a:gd name="connsiteX223" fmla="*/ 67627 w 359871"/>
                  <a:gd name="connsiteY223" fmla="*/ 232410 h 268604"/>
                  <a:gd name="connsiteX224" fmla="*/ 58102 w 359871"/>
                  <a:gd name="connsiteY224" fmla="*/ 228600 h 268604"/>
                  <a:gd name="connsiteX225" fmla="*/ 58102 w 359871"/>
                  <a:gd name="connsiteY225" fmla="*/ 228600 h 268604"/>
                  <a:gd name="connsiteX226" fmla="*/ 52388 w 359871"/>
                  <a:gd name="connsiteY226" fmla="*/ 232410 h 268604"/>
                  <a:gd name="connsiteX227" fmla="*/ 45720 w 359871"/>
                  <a:gd name="connsiteY227" fmla="*/ 235267 h 268604"/>
                  <a:gd name="connsiteX228" fmla="*/ 45720 w 359871"/>
                  <a:gd name="connsiteY228" fmla="*/ 235267 h 268604"/>
                  <a:gd name="connsiteX229" fmla="*/ 44768 w 359871"/>
                  <a:gd name="connsiteY229" fmla="*/ 235267 h 268604"/>
                  <a:gd name="connsiteX230" fmla="*/ 40005 w 359871"/>
                  <a:gd name="connsiteY230" fmla="*/ 239078 h 268604"/>
                  <a:gd name="connsiteX231" fmla="*/ 39052 w 359871"/>
                  <a:gd name="connsiteY231" fmla="*/ 240030 h 268604"/>
                  <a:gd name="connsiteX232" fmla="*/ 39052 w 359871"/>
                  <a:gd name="connsiteY232" fmla="*/ 240030 h 268604"/>
                  <a:gd name="connsiteX233" fmla="*/ 39052 w 359871"/>
                  <a:gd name="connsiteY233" fmla="*/ 240030 h 268604"/>
                  <a:gd name="connsiteX234" fmla="*/ 38100 w 359871"/>
                  <a:gd name="connsiteY234" fmla="*/ 240983 h 268604"/>
                  <a:gd name="connsiteX235" fmla="*/ 38100 w 359871"/>
                  <a:gd name="connsiteY235" fmla="*/ 240983 h 268604"/>
                  <a:gd name="connsiteX236" fmla="*/ 38100 w 359871"/>
                  <a:gd name="connsiteY236" fmla="*/ 240983 h 268604"/>
                  <a:gd name="connsiteX237" fmla="*/ 37148 w 359871"/>
                  <a:gd name="connsiteY237" fmla="*/ 241935 h 268604"/>
                  <a:gd name="connsiteX238" fmla="*/ 36195 w 359871"/>
                  <a:gd name="connsiteY238" fmla="*/ 242888 h 268604"/>
                  <a:gd name="connsiteX239" fmla="*/ 35243 w 359871"/>
                  <a:gd name="connsiteY239" fmla="*/ 242888 h 268604"/>
                  <a:gd name="connsiteX240" fmla="*/ 35243 w 359871"/>
                  <a:gd name="connsiteY240" fmla="*/ 242888 h 268604"/>
                  <a:gd name="connsiteX241" fmla="*/ 34290 w 359871"/>
                  <a:gd name="connsiteY241" fmla="*/ 242888 h 268604"/>
                  <a:gd name="connsiteX242" fmla="*/ 33338 w 359871"/>
                  <a:gd name="connsiteY242" fmla="*/ 242888 h 268604"/>
                  <a:gd name="connsiteX243" fmla="*/ 33338 w 359871"/>
                  <a:gd name="connsiteY243" fmla="*/ 242888 h 268604"/>
                  <a:gd name="connsiteX244" fmla="*/ 33338 w 359871"/>
                  <a:gd name="connsiteY244" fmla="*/ 242888 h 268604"/>
                  <a:gd name="connsiteX245" fmla="*/ 31432 w 359871"/>
                  <a:gd name="connsiteY245" fmla="*/ 244792 h 268604"/>
                  <a:gd name="connsiteX246" fmla="*/ 28575 w 359871"/>
                  <a:gd name="connsiteY246" fmla="*/ 247650 h 268604"/>
                  <a:gd name="connsiteX247" fmla="*/ 28575 w 359871"/>
                  <a:gd name="connsiteY247" fmla="*/ 247650 h 268604"/>
                  <a:gd name="connsiteX248" fmla="*/ 28575 w 359871"/>
                  <a:gd name="connsiteY248" fmla="*/ 247650 h 268604"/>
                  <a:gd name="connsiteX249" fmla="*/ 28575 w 359871"/>
                  <a:gd name="connsiteY249" fmla="*/ 247650 h 268604"/>
                  <a:gd name="connsiteX250" fmla="*/ 28575 w 359871"/>
                  <a:gd name="connsiteY250" fmla="*/ 247650 h 268604"/>
                  <a:gd name="connsiteX251" fmla="*/ 28575 w 359871"/>
                  <a:gd name="connsiteY251" fmla="*/ 247650 h 268604"/>
                  <a:gd name="connsiteX252" fmla="*/ 28575 w 359871"/>
                  <a:gd name="connsiteY252" fmla="*/ 248603 h 268604"/>
                  <a:gd name="connsiteX253" fmla="*/ 28575 w 359871"/>
                  <a:gd name="connsiteY253" fmla="*/ 248603 h 268604"/>
                  <a:gd name="connsiteX254" fmla="*/ 28575 w 359871"/>
                  <a:gd name="connsiteY254" fmla="*/ 248603 h 268604"/>
                  <a:gd name="connsiteX255" fmla="*/ 28575 w 359871"/>
                  <a:gd name="connsiteY255" fmla="*/ 248603 h 268604"/>
                  <a:gd name="connsiteX256" fmla="*/ 28575 w 359871"/>
                  <a:gd name="connsiteY256" fmla="*/ 248603 h 268604"/>
                  <a:gd name="connsiteX257" fmla="*/ 28575 w 359871"/>
                  <a:gd name="connsiteY257" fmla="*/ 247650 h 268604"/>
                  <a:gd name="connsiteX258" fmla="*/ 28575 w 359871"/>
                  <a:gd name="connsiteY258" fmla="*/ 247650 h 268604"/>
                  <a:gd name="connsiteX259" fmla="*/ 28575 w 359871"/>
                  <a:gd name="connsiteY259" fmla="*/ 247650 h 268604"/>
                  <a:gd name="connsiteX260" fmla="*/ 30480 w 359871"/>
                  <a:gd name="connsiteY260" fmla="*/ 245745 h 268604"/>
                  <a:gd name="connsiteX261" fmla="*/ 30480 w 359871"/>
                  <a:gd name="connsiteY261" fmla="*/ 245745 h 268604"/>
                  <a:gd name="connsiteX262" fmla="*/ 31432 w 359871"/>
                  <a:gd name="connsiteY262" fmla="*/ 244792 h 268604"/>
                  <a:gd name="connsiteX263" fmla="*/ 32385 w 359871"/>
                  <a:gd name="connsiteY263" fmla="*/ 243840 h 268604"/>
                  <a:gd name="connsiteX264" fmla="*/ 32385 w 359871"/>
                  <a:gd name="connsiteY264" fmla="*/ 243840 h 268604"/>
                  <a:gd name="connsiteX265" fmla="*/ 34290 w 359871"/>
                  <a:gd name="connsiteY265" fmla="*/ 241935 h 268604"/>
                  <a:gd name="connsiteX266" fmla="*/ 34290 w 359871"/>
                  <a:gd name="connsiteY266" fmla="*/ 241935 h 268604"/>
                  <a:gd name="connsiteX267" fmla="*/ 34290 w 359871"/>
                  <a:gd name="connsiteY267" fmla="*/ 241935 h 268604"/>
                  <a:gd name="connsiteX268" fmla="*/ 35243 w 359871"/>
                  <a:gd name="connsiteY268" fmla="*/ 240983 h 268604"/>
                  <a:gd name="connsiteX269" fmla="*/ 36195 w 359871"/>
                  <a:gd name="connsiteY269" fmla="*/ 240030 h 268604"/>
                  <a:gd name="connsiteX270" fmla="*/ 36195 w 359871"/>
                  <a:gd name="connsiteY270" fmla="*/ 240030 h 268604"/>
                  <a:gd name="connsiteX271" fmla="*/ 36195 w 359871"/>
                  <a:gd name="connsiteY271" fmla="*/ 240030 h 268604"/>
                  <a:gd name="connsiteX272" fmla="*/ 36195 w 359871"/>
                  <a:gd name="connsiteY272" fmla="*/ 240030 h 268604"/>
                  <a:gd name="connsiteX273" fmla="*/ 37148 w 359871"/>
                  <a:gd name="connsiteY273" fmla="*/ 239078 h 268604"/>
                  <a:gd name="connsiteX274" fmla="*/ 37148 w 359871"/>
                  <a:gd name="connsiteY274" fmla="*/ 239078 h 268604"/>
                  <a:gd name="connsiteX275" fmla="*/ 37148 w 359871"/>
                  <a:gd name="connsiteY275" fmla="*/ 239078 h 268604"/>
                  <a:gd name="connsiteX276" fmla="*/ 37148 w 359871"/>
                  <a:gd name="connsiteY276" fmla="*/ 238125 h 268604"/>
                  <a:gd name="connsiteX277" fmla="*/ 37148 w 359871"/>
                  <a:gd name="connsiteY277" fmla="*/ 238125 h 268604"/>
                  <a:gd name="connsiteX278" fmla="*/ 37148 w 359871"/>
                  <a:gd name="connsiteY278" fmla="*/ 237173 h 268604"/>
                  <a:gd name="connsiteX279" fmla="*/ 37148 w 359871"/>
                  <a:gd name="connsiteY279" fmla="*/ 237173 h 268604"/>
                  <a:gd name="connsiteX280" fmla="*/ 39052 w 359871"/>
                  <a:gd name="connsiteY280" fmla="*/ 234315 h 268604"/>
                  <a:gd name="connsiteX281" fmla="*/ 39052 w 359871"/>
                  <a:gd name="connsiteY281" fmla="*/ 234315 h 268604"/>
                  <a:gd name="connsiteX282" fmla="*/ 37148 w 359871"/>
                  <a:gd name="connsiteY282" fmla="*/ 236220 h 268604"/>
                  <a:gd name="connsiteX283" fmla="*/ 36195 w 359871"/>
                  <a:gd name="connsiteY283" fmla="*/ 235267 h 268604"/>
                  <a:gd name="connsiteX284" fmla="*/ 37148 w 359871"/>
                  <a:gd name="connsiteY284" fmla="*/ 234315 h 268604"/>
                  <a:gd name="connsiteX285" fmla="*/ 37148 w 359871"/>
                  <a:gd name="connsiteY285" fmla="*/ 234315 h 268604"/>
                  <a:gd name="connsiteX286" fmla="*/ 40005 w 359871"/>
                  <a:gd name="connsiteY286" fmla="*/ 231458 h 268604"/>
                  <a:gd name="connsiteX287" fmla="*/ 41910 w 359871"/>
                  <a:gd name="connsiteY287" fmla="*/ 230505 h 268604"/>
                  <a:gd name="connsiteX288" fmla="*/ 41910 w 359871"/>
                  <a:gd name="connsiteY288" fmla="*/ 230505 h 268604"/>
                  <a:gd name="connsiteX289" fmla="*/ 42863 w 359871"/>
                  <a:gd name="connsiteY289" fmla="*/ 229553 h 268604"/>
                  <a:gd name="connsiteX290" fmla="*/ 42863 w 359871"/>
                  <a:gd name="connsiteY290" fmla="*/ 229553 h 268604"/>
                  <a:gd name="connsiteX291" fmla="*/ 62865 w 359871"/>
                  <a:gd name="connsiteY291" fmla="*/ 221933 h 268604"/>
                  <a:gd name="connsiteX292" fmla="*/ 71438 w 359871"/>
                  <a:gd name="connsiteY292" fmla="*/ 221933 h 268604"/>
                  <a:gd name="connsiteX293" fmla="*/ 76200 w 359871"/>
                  <a:gd name="connsiteY293" fmla="*/ 222885 h 268604"/>
                  <a:gd name="connsiteX294" fmla="*/ 58102 w 359871"/>
                  <a:gd name="connsiteY294" fmla="*/ 228600 h 268604"/>
                  <a:gd name="connsiteX295" fmla="*/ 68580 w 359871"/>
                  <a:gd name="connsiteY295" fmla="*/ 193358 h 268604"/>
                  <a:gd name="connsiteX296" fmla="*/ 70485 w 359871"/>
                  <a:gd name="connsiteY296" fmla="*/ 192405 h 268604"/>
                  <a:gd name="connsiteX297" fmla="*/ 66675 w 359871"/>
                  <a:gd name="connsiteY297" fmla="*/ 192405 h 268604"/>
                  <a:gd name="connsiteX298" fmla="*/ 65723 w 359871"/>
                  <a:gd name="connsiteY298" fmla="*/ 191453 h 268604"/>
                  <a:gd name="connsiteX299" fmla="*/ 57150 w 359871"/>
                  <a:gd name="connsiteY299" fmla="*/ 193358 h 268604"/>
                  <a:gd name="connsiteX300" fmla="*/ 46673 w 359871"/>
                  <a:gd name="connsiteY300" fmla="*/ 198120 h 268604"/>
                  <a:gd name="connsiteX301" fmla="*/ 30480 w 359871"/>
                  <a:gd name="connsiteY301" fmla="*/ 206692 h 268604"/>
                  <a:gd name="connsiteX302" fmla="*/ 29527 w 359871"/>
                  <a:gd name="connsiteY302" fmla="*/ 205740 h 268604"/>
                  <a:gd name="connsiteX303" fmla="*/ 33338 w 359871"/>
                  <a:gd name="connsiteY303" fmla="*/ 201930 h 268604"/>
                  <a:gd name="connsiteX304" fmla="*/ 32385 w 359871"/>
                  <a:gd name="connsiteY304" fmla="*/ 200978 h 268604"/>
                  <a:gd name="connsiteX305" fmla="*/ 47625 w 359871"/>
                  <a:gd name="connsiteY305" fmla="*/ 187642 h 268604"/>
                  <a:gd name="connsiteX306" fmla="*/ 47625 w 359871"/>
                  <a:gd name="connsiteY306" fmla="*/ 185738 h 268604"/>
                  <a:gd name="connsiteX307" fmla="*/ 52388 w 359871"/>
                  <a:gd name="connsiteY307" fmla="*/ 180023 h 268604"/>
                  <a:gd name="connsiteX308" fmla="*/ 57150 w 359871"/>
                  <a:gd name="connsiteY308" fmla="*/ 175260 h 268604"/>
                  <a:gd name="connsiteX309" fmla="*/ 55245 w 359871"/>
                  <a:gd name="connsiteY309" fmla="*/ 173355 h 268604"/>
                  <a:gd name="connsiteX310" fmla="*/ 49530 w 359871"/>
                  <a:gd name="connsiteY310" fmla="*/ 172403 h 268604"/>
                  <a:gd name="connsiteX311" fmla="*/ 52388 w 359871"/>
                  <a:gd name="connsiteY311" fmla="*/ 170498 h 268604"/>
                  <a:gd name="connsiteX312" fmla="*/ 51435 w 359871"/>
                  <a:gd name="connsiteY312" fmla="*/ 169545 h 268604"/>
                  <a:gd name="connsiteX313" fmla="*/ 54293 w 359871"/>
                  <a:gd name="connsiteY313" fmla="*/ 166688 h 268604"/>
                  <a:gd name="connsiteX314" fmla="*/ 60007 w 359871"/>
                  <a:gd name="connsiteY314" fmla="*/ 164783 h 268604"/>
                  <a:gd name="connsiteX315" fmla="*/ 48577 w 359871"/>
                  <a:gd name="connsiteY315" fmla="*/ 163830 h 268604"/>
                  <a:gd name="connsiteX316" fmla="*/ 60960 w 359871"/>
                  <a:gd name="connsiteY316" fmla="*/ 148590 h 268604"/>
                  <a:gd name="connsiteX317" fmla="*/ 62865 w 359871"/>
                  <a:gd name="connsiteY317" fmla="*/ 149542 h 268604"/>
                  <a:gd name="connsiteX318" fmla="*/ 59055 w 359871"/>
                  <a:gd name="connsiteY318" fmla="*/ 154305 h 268604"/>
                  <a:gd name="connsiteX319" fmla="*/ 71438 w 359871"/>
                  <a:gd name="connsiteY319" fmla="*/ 157163 h 268604"/>
                  <a:gd name="connsiteX320" fmla="*/ 69532 w 359871"/>
                  <a:gd name="connsiteY320" fmla="*/ 158115 h 268604"/>
                  <a:gd name="connsiteX321" fmla="*/ 78105 w 359871"/>
                  <a:gd name="connsiteY321" fmla="*/ 160973 h 268604"/>
                  <a:gd name="connsiteX322" fmla="*/ 73343 w 359871"/>
                  <a:gd name="connsiteY322" fmla="*/ 160973 h 268604"/>
                  <a:gd name="connsiteX323" fmla="*/ 119063 w 359871"/>
                  <a:gd name="connsiteY323" fmla="*/ 179070 h 268604"/>
                  <a:gd name="connsiteX324" fmla="*/ 83820 w 359871"/>
                  <a:gd name="connsiteY324" fmla="*/ 189548 h 268604"/>
                  <a:gd name="connsiteX325" fmla="*/ 80010 w 359871"/>
                  <a:gd name="connsiteY325" fmla="*/ 188595 h 268604"/>
                  <a:gd name="connsiteX326" fmla="*/ 79057 w 359871"/>
                  <a:gd name="connsiteY326" fmla="*/ 190500 h 268604"/>
                  <a:gd name="connsiteX327" fmla="*/ 74295 w 359871"/>
                  <a:gd name="connsiteY327" fmla="*/ 191453 h 268604"/>
                  <a:gd name="connsiteX328" fmla="*/ 68580 w 359871"/>
                  <a:gd name="connsiteY328" fmla="*/ 193358 h 26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359871" h="268604">
                    <a:moveTo>
                      <a:pt x="158115" y="237173"/>
                    </a:moveTo>
                    <a:cubicBezTo>
                      <a:pt x="160973" y="234315"/>
                      <a:pt x="163830" y="231458"/>
                      <a:pt x="166688" y="227648"/>
                    </a:cubicBezTo>
                    <a:lnTo>
                      <a:pt x="166688" y="227648"/>
                    </a:lnTo>
                    <a:cubicBezTo>
                      <a:pt x="172402" y="221933"/>
                      <a:pt x="177165" y="215265"/>
                      <a:pt x="183833" y="210503"/>
                    </a:cubicBezTo>
                    <a:cubicBezTo>
                      <a:pt x="185738" y="208598"/>
                      <a:pt x="187643" y="207645"/>
                      <a:pt x="189548" y="205740"/>
                    </a:cubicBezTo>
                    <a:cubicBezTo>
                      <a:pt x="190500" y="204788"/>
                      <a:pt x="190500" y="203835"/>
                      <a:pt x="190500" y="203835"/>
                    </a:cubicBezTo>
                    <a:cubicBezTo>
                      <a:pt x="187643" y="204788"/>
                      <a:pt x="186690" y="206692"/>
                      <a:pt x="183833" y="207645"/>
                    </a:cubicBezTo>
                    <a:cubicBezTo>
                      <a:pt x="182880" y="207645"/>
                      <a:pt x="182880" y="206692"/>
                      <a:pt x="182880" y="206692"/>
                    </a:cubicBezTo>
                    <a:cubicBezTo>
                      <a:pt x="184785" y="205740"/>
                      <a:pt x="186690" y="203835"/>
                      <a:pt x="188595" y="202883"/>
                    </a:cubicBezTo>
                    <a:cubicBezTo>
                      <a:pt x="188595" y="202883"/>
                      <a:pt x="188595" y="202883"/>
                      <a:pt x="188595" y="202883"/>
                    </a:cubicBezTo>
                    <a:cubicBezTo>
                      <a:pt x="187643" y="202883"/>
                      <a:pt x="187643" y="201930"/>
                      <a:pt x="187643" y="201930"/>
                    </a:cubicBezTo>
                    <a:cubicBezTo>
                      <a:pt x="180975" y="201930"/>
                      <a:pt x="176213" y="205740"/>
                      <a:pt x="171450" y="210503"/>
                    </a:cubicBezTo>
                    <a:cubicBezTo>
                      <a:pt x="170498" y="211455"/>
                      <a:pt x="169545" y="209550"/>
                      <a:pt x="168593" y="209550"/>
                    </a:cubicBezTo>
                    <a:cubicBezTo>
                      <a:pt x="160973" y="212408"/>
                      <a:pt x="155258" y="219075"/>
                      <a:pt x="147638" y="221933"/>
                    </a:cubicBezTo>
                    <a:lnTo>
                      <a:pt x="147638" y="220980"/>
                    </a:lnTo>
                    <a:cubicBezTo>
                      <a:pt x="144780" y="221933"/>
                      <a:pt x="141923" y="223838"/>
                      <a:pt x="138113" y="224790"/>
                    </a:cubicBezTo>
                    <a:cubicBezTo>
                      <a:pt x="133350" y="225742"/>
                      <a:pt x="129540" y="225742"/>
                      <a:pt x="125730" y="225742"/>
                    </a:cubicBezTo>
                    <a:cubicBezTo>
                      <a:pt x="120015" y="226695"/>
                      <a:pt x="113348" y="227648"/>
                      <a:pt x="107632" y="228600"/>
                    </a:cubicBezTo>
                    <a:cubicBezTo>
                      <a:pt x="107632" y="228600"/>
                      <a:pt x="107632" y="228600"/>
                      <a:pt x="106680" y="228600"/>
                    </a:cubicBezTo>
                    <a:cubicBezTo>
                      <a:pt x="103823" y="229553"/>
                      <a:pt x="100013" y="230505"/>
                      <a:pt x="97155" y="232410"/>
                    </a:cubicBezTo>
                    <a:cubicBezTo>
                      <a:pt x="97155" y="232410"/>
                      <a:pt x="97155" y="232410"/>
                      <a:pt x="97155" y="232410"/>
                    </a:cubicBezTo>
                    <a:cubicBezTo>
                      <a:pt x="97155" y="232410"/>
                      <a:pt x="96202" y="233363"/>
                      <a:pt x="96202" y="233363"/>
                    </a:cubicBezTo>
                    <a:cubicBezTo>
                      <a:pt x="95250" y="234315"/>
                      <a:pt x="94298" y="235267"/>
                      <a:pt x="92393" y="236220"/>
                    </a:cubicBezTo>
                    <a:cubicBezTo>
                      <a:pt x="89535" y="238125"/>
                      <a:pt x="86677" y="240983"/>
                      <a:pt x="83820" y="242888"/>
                    </a:cubicBezTo>
                    <a:cubicBezTo>
                      <a:pt x="83820" y="242888"/>
                      <a:pt x="82868" y="242888"/>
                      <a:pt x="82868" y="242888"/>
                    </a:cubicBezTo>
                    <a:cubicBezTo>
                      <a:pt x="80010" y="245745"/>
                      <a:pt x="77152" y="248603"/>
                      <a:pt x="74295" y="250508"/>
                    </a:cubicBezTo>
                    <a:cubicBezTo>
                      <a:pt x="74295" y="250508"/>
                      <a:pt x="73343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49555"/>
                    </a:cubicBezTo>
                    <a:cubicBezTo>
                      <a:pt x="72390" y="248603"/>
                      <a:pt x="73343" y="247650"/>
                      <a:pt x="73343" y="247650"/>
                    </a:cubicBezTo>
                    <a:cubicBezTo>
                      <a:pt x="74295" y="246698"/>
                      <a:pt x="74295" y="245745"/>
                      <a:pt x="75248" y="245745"/>
                    </a:cubicBezTo>
                    <a:cubicBezTo>
                      <a:pt x="76200" y="244792"/>
                      <a:pt x="76200" y="243840"/>
                      <a:pt x="77152" y="242888"/>
                    </a:cubicBezTo>
                    <a:cubicBezTo>
                      <a:pt x="77152" y="242888"/>
                      <a:pt x="77152" y="241935"/>
                      <a:pt x="77152" y="241935"/>
                    </a:cubicBezTo>
                    <a:cubicBezTo>
                      <a:pt x="77152" y="241935"/>
                      <a:pt x="77152" y="241935"/>
                      <a:pt x="76200" y="241935"/>
                    </a:cubicBezTo>
                    <a:cubicBezTo>
                      <a:pt x="79057" y="239078"/>
                      <a:pt x="81915" y="237173"/>
                      <a:pt x="84773" y="235267"/>
                    </a:cubicBezTo>
                    <a:lnTo>
                      <a:pt x="84773" y="235267"/>
                    </a:lnTo>
                    <a:cubicBezTo>
                      <a:pt x="84773" y="235267"/>
                      <a:pt x="83820" y="235267"/>
                      <a:pt x="83820" y="234315"/>
                    </a:cubicBezTo>
                    <a:cubicBezTo>
                      <a:pt x="83820" y="234315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5725" y="233363"/>
                      <a:pt x="84773" y="234315"/>
                      <a:pt x="84773" y="234315"/>
                    </a:cubicBezTo>
                    <a:cubicBezTo>
                      <a:pt x="83820" y="235267"/>
                      <a:pt x="82868" y="238125"/>
                      <a:pt x="80963" y="237173"/>
                    </a:cubicBezTo>
                    <a:cubicBezTo>
                      <a:pt x="80963" y="237173"/>
                      <a:pt x="80010" y="237173"/>
                      <a:pt x="80010" y="237173"/>
                    </a:cubicBezTo>
                    <a:cubicBezTo>
                      <a:pt x="80010" y="237173"/>
                      <a:pt x="80010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6220"/>
                    </a:cubicBezTo>
                    <a:cubicBezTo>
                      <a:pt x="79057" y="236220"/>
                      <a:pt x="79057" y="236220"/>
                      <a:pt x="79057" y="236220"/>
                    </a:cubicBezTo>
                    <a:cubicBezTo>
                      <a:pt x="79057" y="236220"/>
                      <a:pt x="79057" y="235267"/>
                      <a:pt x="80010" y="235267"/>
                    </a:cubicBezTo>
                    <a:cubicBezTo>
                      <a:pt x="80010" y="235267"/>
                      <a:pt x="80010" y="235267"/>
                      <a:pt x="80010" y="234315"/>
                    </a:cubicBezTo>
                    <a:cubicBezTo>
                      <a:pt x="80010" y="234315"/>
                      <a:pt x="80010" y="233363"/>
                      <a:pt x="80963" y="233363"/>
                    </a:cubicBezTo>
                    <a:cubicBezTo>
                      <a:pt x="80963" y="233363"/>
                      <a:pt x="80963" y="232410"/>
                      <a:pt x="80963" y="232410"/>
                    </a:cubicBezTo>
                    <a:cubicBezTo>
                      <a:pt x="81915" y="231458"/>
                      <a:pt x="82868" y="230505"/>
                      <a:pt x="84773" y="229553"/>
                    </a:cubicBezTo>
                    <a:lnTo>
                      <a:pt x="84773" y="229553"/>
                    </a:lnTo>
                    <a:cubicBezTo>
                      <a:pt x="86677" y="228600"/>
                      <a:pt x="88582" y="227648"/>
                      <a:pt x="90488" y="226695"/>
                    </a:cubicBezTo>
                    <a:cubicBezTo>
                      <a:pt x="90488" y="226695"/>
                      <a:pt x="91440" y="225742"/>
                      <a:pt x="91440" y="225742"/>
                    </a:cubicBezTo>
                    <a:cubicBezTo>
                      <a:pt x="88582" y="226695"/>
                      <a:pt x="85725" y="227648"/>
                      <a:pt x="82868" y="229553"/>
                    </a:cubicBezTo>
                    <a:cubicBezTo>
                      <a:pt x="82868" y="229553"/>
                      <a:pt x="81915" y="229553"/>
                      <a:pt x="81915" y="229553"/>
                    </a:cubicBezTo>
                    <a:cubicBezTo>
                      <a:pt x="81915" y="229553"/>
                      <a:pt x="80963" y="229553"/>
                      <a:pt x="80963" y="229553"/>
                    </a:cubicBezTo>
                    <a:cubicBezTo>
                      <a:pt x="80963" y="229553"/>
                      <a:pt x="80963" y="229553"/>
                      <a:pt x="80963" y="229553"/>
                    </a:cubicBezTo>
                    <a:cubicBezTo>
                      <a:pt x="81915" y="228600"/>
                      <a:pt x="82868" y="227648"/>
                      <a:pt x="83820" y="226695"/>
                    </a:cubicBezTo>
                    <a:cubicBezTo>
                      <a:pt x="84773" y="226695"/>
                      <a:pt x="84773" y="226695"/>
                      <a:pt x="84773" y="227648"/>
                    </a:cubicBezTo>
                    <a:cubicBezTo>
                      <a:pt x="100965" y="215265"/>
                      <a:pt x="123825" y="218123"/>
                      <a:pt x="142875" y="211455"/>
                    </a:cubicBezTo>
                    <a:cubicBezTo>
                      <a:pt x="144780" y="210503"/>
                      <a:pt x="145733" y="209550"/>
                      <a:pt x="147638" y="208598"/>
                    </a:cubicBezTo>
                    <a:cubicBezTo>
                      <a:pt x="150495" y="207645"/>
                      <a:pt x="152400" y="204788"/>
                      <a:pt x="155258" y="203835"/>
                    </a:cubicBezTo>
                    <a:cubicBezTo>
                      <a:pt x="159068" y="200978"/>
                      <a:pt x="161925" y="197167"/>
                      <a:pt x="163830" y="192405"/>
                    </a:cubicBezTo>
                    <a:cubicBezTo>
                      <a:pt x="163830" y="191453"/>
                      <a:pt x="162877" y="191453"/>
                      <a:pt x="162877" y="191453"/>
                    </a:cubicBezTo>
                    <a:cubicBezTo>
                      <a:pt x="156210" y="199073"/>
                      <a:pt x="148590" y="203835"/>
                      <a:pt x="140018" y="208598"/>
                    </a:cubicBezTo>
                    <a:cubicBezTo>
                      <a:pt x="129540" y="214313"/>
                      <a:pt x="117157" y="213360"/>
                      <a:pt x="106680" y="214313"/>
                    </a:cubicBezTo>
                    <a:cubicBezTo>
                      <a:pt x="107632" y="213360"/>
                      <a:pt x="108585" y="213360"/>
                      <a:pt x="109538" y="213360"/>
                    </a:cubicBezTo>
                    <a:cubicBezTo>
                      <a:pt x="109538" y="211455"/>
                      <a:pt x="110490" y="211455"/>
                      <a:pt x="111443" y="210503"/>
                    </a:cubicBezTo>
                    <a:lnTo>
                      <a:pt x="113348" y="210503"/>
                    </a:lnTo>
                    <a:cubicBezTo>
                      <a:pt x="114300" y="210503"/>
                      <a:pt x="114300" y="209550"/>
                      <a:pt x="114300" y="209550"/>
                    </a:cubicBezTo>
                    <a:cubicBezTo>
                      <a:pt x="115252" y="209550"/>
                      <a:pt x="117157" y="208598"/>
                      <a:pt x="116205" y="208598"/>
                    </a:cubicBezTo>
                    <a:cubicBezTo>
                      <a:pt x="114300" y="206692"/>
                      <a:pt x="111443" y="210503"/>
                      <a:pt x="108585" y="208598"/>
                    </a:cubicBezTo>
                    <a:cubicBezTo>
                      <a:pt x="109538" y="207645"/>
                      <a:pt x="109538" y="205740"/>
                      <a:pt x="110490" y="205740"/>
                    </a:cubicBezTo>
                    <a:lnTo>
                      <a:pt x="112395" y="205740"/>
                    </a:lnTo>
                    <a:cubicBezTo>
                      <a:pt x="112395" y="204788"/>
                      <a:pt x="113348" y="203835"/>
                      <a:pt x="113348" y="203835"/>
                    </a:cubicBezTo>
                    <a:cubicBezTo>
                      <a:pt x="120968" y="199073"/>
                      <a:pt x="128588" y="195263"/>
                      <a:pt x="135255" y="191453"/>
                    </a:cubicBezTo>
                    <a:cubicBezTo>
                      <a:pt x="133350" y="191453"/>
                      <a:pt x="132398" y="193358"/>
                      <a:pt x="131445" y="192405"/>
                    </a:cubicBezTo>
                    <a:cubicBezTo>
                      <a:pt x="132398" y="192405"/>
                      <a:pt x="131445" y="190500"/>
                      <a:pt x="132398" y="190500"/>
                    </a:cubicBezTo>
                    <a:cubicBezTo>
                      <a:pt x="138113" y="188595"/>
                      <a:pt x="142875" y="185738"/>
                      <a:pt x="148590" y="183833"/>
                    </a:cubicBezTo>
                    <a:cubicBezTo>
                      <a:pt x="146685" y="183833"/>
                      <a:pt x="144780" y="185738"/>
                      <a:pt x="142875" y="183833"/>
                    </a:cubicBezTo>
                    <a:cubicBezTo>
                      <a:pt x="143827" y="182880"/>
                      <a:pt x="144780" y="181928"/>
                      <a:pt x="145733" y="181928"/>
                    </a:cubicBezTo>
                    <a:lnTo>
                      <a:pt x="145733" y="180023"/>
                    </a:lnTo>
                    <a:cubicBezTo>
                      <a:pt x="145733" y="179070"/>
                      <a:pt x="146685" y="179070"/>
                      <a:pt x="146685" y="179070"/>
                    </a:cubicBezTo>
                    <a:cubicBezTo>
                      <a:pt x="145733" y="179070"/>
                      <a:pt x="145733" y="178117"/>
                      <a:pt x="145733" y="178117"/>
                    </a:cubicBezTo>
                    <a:cubicBezTo>
                      <a:pt x="146685" y="177165"/>
                      <a:pt x="147638" y="177165"/>
                      <a:pt x="148590" y="176213"/>
                    </a:cubicBezTo>
                    <a:cubicBezTo>
                      <a:pt x="147638" y="176213"/>
                      <a:pt x="146685" y="176213"/>
                      <a:pt x="146685" y="175260"/>
                    </a:cubicBezTo>
                    <a:cubicBezTo>
                      <a:pt x="148590" y="173355"/>
                      <a:pt x="150495" y="172403"/>
                      <a:pt x="153352" y="172403"/>
                    </a:cubicBezTo>
                    <a:cubicBezTo>
                      <a:pt x="152400" y="171450"/>
                      <a:pt x="151448" y="172403"/>
                      <a:pt x="151448" y="171450"/>
                    </a:cubicBezTo>
                    <a:cubicBezTo>
                      <a:pt x="151448" y="170498"/>
                      <a:pt x="152400" y="170498"/>
                      <a:pt x="152400" y="170498"/>
                    </a:cubicBezTo>
                    <a:lnTo>
                      <a:pt x="152400" y="170498"/>
                    </a:lnTo>
                    <a:cubicBezTo>
                      <a:pt x="151448" y="169545"/>
                      <a:pt x="151448" y="168592"/>
                      <a:pt x="151448" y="168592"/>
                    </a:cubicBezTo>
                    <a:cubicBezTo>
                      <a:pt x="154305" y="164783"/>
                      <a:pt x="154305" y="160020"/>
                      <a:pt x="156210" y="156210"/>
                    </a:cubicBezTo>
                    <a:cubicBezTo>
                      <a:pt x="155258" y="156210"/>
                      <a:pt x="155258" y="156210"/>
                      <a:pt x="155258" y="155258"/>
                    </a:cubicBezTo>
                    <a:cubicBezTo>
                      <a:pt x="150495" y="160973"/>
                      <a:pt x="141923" y="162878"/>
                      <a:pt x="134302" y="164783"/>
                    </a:cubicBezTo>
                    <a:lnTo>
                      <a:pt x="131445" y="164783"/>
                    </a:lnTo>
                    <a:cubicBezTo>
                      <a:pt x="128588" y="165735"/>
                      <a:pt x="125730" y="165735"/>
                      <a:pt x="122873" y="163830"/>
                    </a:cubicBezTo>
                    <a:cubicBezTo>
                      <a:pt x="120968" y="162878"/>
                      <a:pt x="120015" y="160973"/>
                      <a:pt x="118110" y="160020"/>
                    </a:cubicBezTo>
                    <a:cubicBezTo>
                      <a:pt x="114300" y="157163"/>
                      <a:pt x="109538" y="155258"/>
                      <a:pt x="105727" y="154305"/>
                    </a:cubicBezTo>
                    <a:cubicBezTo>
                      <a:pt x="93345" y="150495"/>
                      <a:pt x="80010" y="148590"/>
                      <a:pt x="66675" y="148590"/>
                    </a:cubicBezTo>
                    <a:cubicBezTo>
                      <a:pt x="72390" y="145733"/>
                      <a:pt x="78105" y="145733"/>
                      <a:pt x="84773" y="143828"/>
                    </a:cubicBezTo>
                    <a:cubicBezTo>
                      <a:pt x="93345" y="140970"/>
                      <a:pt x="101918" y="138113"/>
                      <a:pt x="110490" y="139065"/>
                    </a:cubicBezTo>
                    <a:cubicBezTo>
                      <a:pt x="108585" y="138113"/>
                      <a:pt x="106680" y="139065"/>
                      <a:pt x="105727" y="139065"/>
                    </a:cubicBezTo>
                    <a:cubicBezTo>
                      <a:pt x="98107" y="138113"/>
                      <a:pt x="91440" y="140970"/>
                      <a:pt x="83820" y="141923"/>
                    </a:cubicBezTo>
                    <a:cubicBezTo>
                      <a:pt x="79057" y="142875"/>
                      <a:pt x="74295" y="144780"/>
                      <a:pt x="68580" y="145733"/>
                    </a:cubicBezTo>
                    <a:cubicBezTo>
                      <a:pt x="65723" y="146685"/>
                      <a:pt x="63818" y="149542"/>
                      <a:pt x="60007" y="149542"/>
                    </a:cubicBezTo>
                    <a:lnTo>
                      <a:pt x="60007" y="147638"/>
                    </a:lnTo>
                    <a:cubicBezTo>
                      <a:pt x="64770" y="141923"/>
                      <a:pt x="71438" y="135255"/>
                      <a:pt x="79057" y="135255"/>
                    </a:cubicBezTo>
                    <a:cubicBezTo>
                      <a:pt x="88582" y="133350"/>
                      <a:pt x="97155" y="135255"/>
                      <a:pt x="105727" y="136208"/>
                    </a:cubicBezTo>
                    <a:cubicBezTo>
                      <a:pt x="112395" y="137160"/>
                      <a:pt x="118110" y="138113"/>
                      <a:pt x="124777" y="140017"/>
                    </a:cubicBezTo>
                    <a:cubicBezTo>
                      <a:pt x="127635" y="140017"/>
                      <a:pt x="127635" y="143828"/>
                      <a:pt x="129540" y="144780"/>
                    </a:cubicBezTo>
                    <a:cubicBezTo>
                      <a:pt x="132398" y="145733"/>
                      <a:pt x="135255" y="144780"/>
                      <a:pt x="139065" y="146685"/>
                    </a:cubicBezTo>
                    <a:cubicBezTo>
                      <a:pt x="139065" y="145733"/>
                      <a:pt x="138113" y="144780"/>
                      <a:pt x="139065" y="143828"/>
                    </a:cubicBezTo>
                    <a:cubicBezTo>
                      <a:pt x="140970" y="141923"/>
                      <a:pt x="143827" y="144780"/>
                      <a:pt x="145733" y="142875"/>
                    </a:cubicBezTo>
                    <a:cubicBezTo>
                      <a:pt x="149543" y="140017"/>
                      <a:pt x="141923" y="136208"/>
                      <a:pt x="140018" y="132398"/>
                    </a:cubicBezTo>
                    <a:cubicBezTo>
                      <a:pt x="140018" y="131445"/>
                      <a:pt x="140970" y="131445"/>
                      <a:pt x="140970" y="131445"/>
                    </a:cubicBezTo>
                    <a:cubicBezTo>
                      <a:pt x="144780" y="135255"/>
                      <a:pt x="147638" y="139065"/>
                      <a:pt x="153352" y="141923"/>
                    </a:cubicBezTo>
                    <a:cubicBezTo>
                      <a:pt x="156210" y="142875"/>
                      <a:pt x="161925" y="144780"/>
                      <a:pt x="160973" y="140970"/>
                    </a:cubicBezTo>
                    <a:cubicBezTo>
                      <a:pt x="158115" y="135255"/>
                      <a:pt x="153352" y="130492"/>
                      <a:pt x="149543" y="125730"/>
                    </a:cubicBezTo>
                    <a:lnTo>
                      <a:pt x="149543" y="123825"/>
                    </a:lnTo>
                    <a:cubicBezTo>
                      <a:pt x="148590" y="123825"/>
                      <a:pt x="148590" y="122873"/>
                      <a:pt x="147638" y="122873"/>
                    </a:cubicBezTo>
                    <a:lnTo>
                      <a:pt x="147638" y="120015"/>
                    </a:lnTo>
                    <a:cubicBezTo>
                      <a:pt x="145733" y="119063"/>
                      <a:pt x="145733" y="117158"/>
                      <a:pt x="144780" y="115253"/>
                    </a:cubicBezTo>
                    <a:cubicBezTo>
                      <a:pt x="142875" y="112395"/>
                      <a:pt x="143827" y="109538"/>
                      <a:pt x="142875" y="105728"/>
                    </a:cubicBezTo>
                    <a:cubicBezTo>
                      <a:pt x="142875" y="103823"/>
                      <a:pt x="142875" y="100965"/>
                      <a:pt x="141923" y="98108"/>
                    </a:cubicBezTo>
                    <a:cubicBezTo>
                      <a:pt x="140018" y="89535"/>
                      <a:pt x="138113" y="81915"/>
                      <a:pt x="137160" y="73342"/>
                    </a:cubicBezTo>
                    <a:cubicBezTo>
                      <a:pt x="136208" y="63817"/>
                      <a:pt x="142875" y="56197"/>
                      <a:pt x="147638" y="47625"/>
                    </a:cubicBezTo>
                    <a:cubicBezTo>
                      <a:pt x="151448" y="41910"/>
                      <a:pt x="155258" y="35242"/>
                      <a:pt x="161925" y="31433"/>
                    </a:cubicBezTo>
                    <a:cubicBezTo>
                      <a:pt x="163830" y="25718"/>
                      <a:pt x="167640" y="20003"/>
                      <a:pt x="171450" y="15240"/>
                    </a:cubicBezTo>
                    <a:cubicBezTo>
                      <a:pt x="175260" y="10478"/>
                      <a:pt x="181927" y="7620"/>
                      <a:pt x="187643" y="4763"/>
                    </a:cubicBezTo>
                    <a:cubicBezTo>
                      <a:pt x="194310" y="1905"/>
                      <a:pt x="200977" y="0"/>
                      <a:pt x="200977" y="0"/>
                    </a:cubicBezTo>
                    <a:lnTo>
                      <a:pt x="302895" y="0"/>
                    </a:lnTo>
                    <a:cubicBezTo>
                      <a:pt x="302895" y="0"/>
                      <a:pt x="303848" y="0"/>
                      <a:pt x="305753" y="953"/>
                    </a:cubicBezTo>
                    <a:cubicBezTo>
                      <a:pt x="307658" y="1905"/>
                      <a:pt x="311467" y="3810"/>
                      <a:pt x="313373" y="4763"/>
                    </a:cubicBezTo>
                    <a:cubicBezTo>
                      <a:pt x="317183" y="6668"/>
                      <a:pt x="320992" y="9525"/>
                      <a:pt x="322898" y="13335"/>
                    </a:cubicBezTo>
                    <a:cubicBezTo>
                      <a:pt x="323850" y="15240"/>
                      <a:pt x="325755" y="18097"/>
                      <a:pt x="324803" y="20003"/>
                    </a:cubicBezTo>
                    <a:cubicBezTo>
                      <a:pt x="323850" y="22860"/>
                      <a:pt x="322898" y="26670"/>
                      <a:pt x="320992" y="27622"/>
                    </a:cubicBezTo>
                    <a:cubicBezTo>
                      <a:pt x="318135" y="29528"/>
                      <a:pt x="314325" y="29528"/>
                      <a:pt x="310515" y="28575"/>
                    </a:cubicBezTo>
                    <a:cubicBezTo>
                      <a:pt x="308610" y="28575"/>
                      <a:pt x="306705" y="27622"/>
                      <a:pt x="304800" y="27622"/>
                    </a:cubicBezTo>
                    <a:cubicBezTo>
                      <a:pt x="312420" y="30480"/>
                      <a:pt x="320040" y="34290"/>
                      <a:pt x="324803" y="40958"/>
                    </a:cubicBezTo>
                    <a:cubicBezTo>
                      <a:pt x="325755" y="41910"/>
                      <a:pt x="327660" y="42863"/>
                      <a:pt x="329565" y="42863"/>
                    </a:cubicBezTo>
                    <a:cubicBezTo>
                      <a:pt x="330517" y="42863"/>
                      <a:pt x="330517" y="43815"/>
                      <a:pt x="330517" y="44767"/>
                    </a:cubicBezTo>
                    <a:cubicBezTo>
                      <a:pt x="329565" y="45720"/>
                      <a:pt x="328613" y="46672"/>
                      <a:pt x="328613" y="47625"/>
                    </a:cubicBezTo>
                    <a:lnTo>
                      <a:pt x="330517" y="47625"/>
                    </a:lnTo>
                    <a:cubicBezTo>
                      <a:pt x="333375" y="46672"/>
                      <a:pt x="332423" y="41910"/>
                      <a:pt x="336233" y="42863"/>
                    </a:cubicBezTo>
                    <a:cubicBezTo>
                      <a:pt x="339090" y="44767"/>
                      <a:pt x="340042" y="47625"/>
                      <a:pt x="338138" y="50483"/>
                    </a:cubicBezTo>
                    <a:cubicBezTo>
                      <a:pt x="336233" y="52388"/>
                      <a:pt x="334328" y="54292"/>
                      <a:pt x="332423" y="55245"/>
                    </a:cubicBezTo>
                    <a:cubicBezTo>
                      <a:pt x="331470" y="56197"/>
                      <a:pt x="331470" y="58103"/>
                      <a:pt x="332423" y="59055"/>
                    </a:cubicBezTo>
                    <a:cubicBezTo>
                      <a:pt x="334328" y="60960"/>
                      <a:pt x="334328" y="62865"/>
                      <a:pt x="335280" y="64770"/>
                    </a:cubicBezTo>
                    <a:cubicBezTo>
                      <a:pt x="337185" y="68580"/>
                      <a:pt x="337185" y="72390"/>
                      <a:pt x="339090" y="76200"/>
                    </a:cubicBezTo>
                    <a:cubicBezTo>
                      <a:pt x="340995" y="83820"/>
                      <a:pt x="342900" y="91440"/>
                      <a:pt x="342900" y="99060"/>
                    </a:cubicBezTo>
                    <a:cubicBezTo>
                      <a:pt x="342900" y="102870"/>
                      <a:pt x="340995" y="106680"/>
                      <a:pt x="341948" y="110490"/>
                    </a:cubicBezTo>
                    <a:cubicBezTo>
                      <a:pt x="342900" y="114300"/>
                      <a:pt x="345758" y="118110"/>
                      <a:pt x="347663" y="120967"/>
                    </a:cubicBezTo>
                    <a:cubicBezTo>
                      <a:pt x="349567" y="123825"/>
                      <a:pt x="351473" y="125730"/>
                      <a:pt x="353378" y="129540"/>
                    </a:cubicBezTo>
                    <a:cubicBezTo>
                      <a:pt x="356235" y="134303"/>
                      <a:pt x="361950" y="140017"/>
                      <a:pt x="359092" y="145733"/>
                    </a:cubicBezTo>
                    <a:cubicBezTo>
                      <a:pt x="357188" y="149542"/>
                      <a:pt x="351473" y="148590"/>
                      <a:pt x="348615" y="150495"/>
                    </a:cubicBezTo>
                    <a:cubicBezTo>
                      <a:pt x="345758" y="153353"/>
                      <a:pt x="347663" y="157163"/>
                      <a:pt x="349567" y="160020"/>
                    </a:cubicBezTo>
                    <a:cubicBezTo>
                      <a:pt x="352425" y="164783"/>
                      <a:pt x="346710" y="167640"/>
                      <a:pt x="342900" y="169545"/>
                    </a:cubicBezTo>
                    <a:cubicBezTo>
                      <a:pt x="343853" y="171450"/>
                      <a:pt x="345758" y="170498"/>
                      <a:pt x="346710" y="171450"/>
                    </a:cubicBezTo>
                    <a:cubicBezTo>
                      <a:pt x="347663" y="174308"/>
                      <a:pt x="349567" y="175260"/>
                      <a:pt x="348615" y="178117"/>
                    </a:cubicBezTo>
                    <a:cubicBezTo>
                      <a:pt x="346710" y="180975"/>
                      <a:pt x="340042" y="182880"/>
                      <a:pt x="343853" y="187642"/>
                    </a:cubicBezTo>
                    <a:cubicBezTo>
                      <a:pt x="345758" y="191453"/>
                      <a:pt x="344805" y="195263"/>
                      <a:pt x="342900" y="199073"/>
                    </a:cubicBezTo>
                    <a:cubicBezTo>
                      <a:pt x="340995" y="203835"/>
                      <a:pt x="337185" y="205740"/>
                      <a:pt x="333375" y="206692"/>
                    </a:cubicBezTo>
                    <a:cubicBezTo>
                      <a:pt x="330517" y="207645"/>
                      <a:pt x="326708" y="207645"/>
                      <a:pt x="323850" y="207645"/>
                    </a:cubicBezTo>
                    <a:cubicBezTo>
                      <a:pt x="320040" y="205740"/>
                      <a:pt x="319088" y="205740"/>
                      <a:pt x="318135" y="205740"/>
                    </a:cubicBezTo>
                    <a:cubicBezTo>
                      <a:pt x="309563" y="204788"/>
                      <a:pt x="300990" y="201930"/>
                      <a:pt x="292417" y="201930"/>
                    </a:cubicBezTo>
                    <a:cubicBezTo>
                      <a:pt x="289560" y="202883"/>
                      <a:pt x="287655" y="202883"/>
                      <a:pt x="285750" y="203835"/>
                    </a:cubicBezTo>
                    <a:cubicBezTo>
                      <a:pt x="283845" y="205740"/>
                      <a:pt x="280988" y="207645"/>
                      <a:pt x="280035" y="209550"/>
                    </a:cubicBezTo>
                    <a:cubicBezTo>
                      <a:pt x="280035" y="209550"/>
                      <a:pt x="280035" y="209550"/>
                      <a:pt x="280035" y="209550"/>
                    </a:cubicBezTo>
                    <a:cubicBezTo>
                      <a:pt x="280035" y="209550"/>
                      <a:pt x="279083" y="210503"/>
                      <a:pt x="279083" y="210503"/>
                    </a:cubicBezTo>
                    <a:cubicBezTo>
                      <a:pt x="279083" y="210503"/>
                      <a:pt x="279083" y="211455"/>
                      <a:pt x="278130" y="211455"/>
                    </a:cubicBezTo>
                    <a:cubicBezTo>
                      <a:pt x="278130" y="211455"/>
                      <a:pt x="278130" y="211455"/>
                      <a:pt x="278130" y="212408"/>
                    </a:cubicBezTo>
                    <a:cubicBezTo>
                      <a:pt x="276225" y="214313"/>
                      <a:pt x="275273" y="216217"/>
                      <a:pt x="274320" y="218123"/>
                    </a:cubicBezTo>
                    <a:cubicBezTo>
                      <a:pt x="274320" y="218123"/>
                      <a:pt x="274320" y="218123"/>
                      <a:pt x="274320" y="218123"/>
                    </a:cubicBezTo>
                    <a:cubicBezTo>
                      <a:pt x="274320" y="218123"/>
                      <a:pt x="274320" y="219075"/>
                      <a:pt x="274320" y="219075"/>
                    </a:cubicBezTo>
                    <a:cubicBezTo>
                      <a:pt x="272415" y="221933"/>
                      <a:pt x="271463" y="225742"/>
                      <a:pt x="270510" y="228600"/>
                    </a:cubicBezTo>
                    <a:cubicBezTo>
                      <a:pt x="266700" y="240030"/>
                      <a:pt x="268605" y="250508"/>
                      <a:pt x="271463" y="252413"/>
                    </a:cubicBezTo>
                    <a:cubicBezTo>
                      <a:pt x="272415" y="253365"/>
                      <a:pt x="288608" y="258128"/>
                      <a:pt x="299085" y="262890"/>
                    </a:cubicBezTo>
                    <a:cubicBezTo>
                      <a:pt x="304800" y="264795"/>
                      <a:pt x="307658" y="266700"/>
                      <a:pt x="311467" y="268605"/>
                    </a:cubicBezTo>
                    <a:lnTo>
                      <a:pt x="101918" y="268605"/>
                    </a:lnTo>
                    <a:cubicBezTo>
                      <a:pt x="111443" y="261938"/>
                      <a:pt x="120968" y="258128"/>
                      <a:pt x="135255" y="251460"/>
                    </a:cubicBezTo>
                    <a:cubicBezTo>
                      <a:pt x="138113" y="249555"/>
                      <a:pt x="153352" y="242888"/>
                      <a:pt x="158115" y="237173"/>
                    </a:cubicBezTo>
                    <a:moveTo>
                      <a:pt x="79057" y="200978"/>
                    </a:moveTo>
                    <a:cubicBezTo>
                      <a:pt x="78105" y="200978"/>
                      <a:pt x="76200" y="201930"/>
                      <a:pt x="76200" y="200025"/>
                    </a:cubicBezTo>
                    <a:cubicBezTo>
                      <a:pt x="77152" y="197167"/>
                      <a:pt x="80010" y="197167"/>
                      <a:pt x="81915" y="196215"/>
                    </a:cubicBezTo>
                    <a:cubicBezTo>
                      <a:pt x="82868" y="195263"/>
                      <a:pt x="84773" y="194310"/>
                      <a:pt x="85725" y="195263"/>
                    </a:cubicBezTo>
                    <a:cubicBezTo>
                      <a:pt x="86677" y="197167"/>
                      <a:pt x="88582" y="196215"/>
                      <a:pt x="89535" y="197167"/>
                    </a:cubicBezTo>
                    <a:cubicBezTo>
                      <a:pt x="86677" y="200978"/>
                      <a:pt x="82868" y="200025"/>
                      <a:pt x="79057" y="200978"/>
                    </a:cubicBezTo>
                    <a:moveTo>
                      <a:pt x="952" y="189548"/>
                    </a:moveTo>
                    <a:cubicBezTo>
                      <a:pt x="952" y="189548"/>
                      <a:pt x="0" y="188595"/>
                      <a:pt x="0" y="188595"/>
                    </a:cubicBezTo>
                    <a:cubicBezTo>
                      <a:pt x="6668" y="180023"/>
                      <a:pt x="11430" y="171450"/>
                      <a:pt x="16193" y="162878"/>
                    </a:cubicBezTo>
                    <a:cubicBezTo>
                      <a:pt x="22860" y="159067"/>
                      <a:pt x="28575" y="154305"/>
                      <a:pt x="33338" y="148590"/>
                    </a:cubicBezTo>
                    <a:cubicBezTo>
                      <a:pt x="41910" y="139065"/>
                      <a:pt x="51435" y="131445"/>
                      <a:pt x="61913" y="125730"/>
                    </a:cubicBezTo>
                    <a:cubicBezTo>
                      <a:pt x="65723" y="123825"/>
                      <a:pt x="71438" y="124778"/>
                      <a:pt x="75248" y="126683"/>
                    </a:cubicBezTo>
                    <a:cubicBezTo>
                      <a:pt x="73343" y="128588"/>
                      <a:pt x="71438" y="128588"/>
                      <a:pt x="69532" y="129540"/>
                    </a:cubicBezTo>
                    <a:cubicBezTo>
                      <a:pt x="68580" y="129540"/>
                      <a:pt x="68580" y="129540"/>
                      <a:pt x="67627" y="128588"/>
                    </a:cubicBezTo>
                    <a:cubicBezTo>
                      <a:pt x="68580" y="127635"/>
                      <a:pt x="68580" y="127635"/>
                      <a:pt x="68580" y="126683"/>
                    </a:cubicBezTo>
                    <a:cubicBezTo>
                      <a:pt x="63818" y="132398"/>
                      <a:pt x="56198" y="135255"/>
                      <a:pt x="52388" y="141923"/>
                    </a:cubicBezTo>
                    <a:cubicBezTo>
                      <a:pt x="49530" y="146685"/>
                      <a:pt x="47625" y="153353"/>
                      <a:pt x="40957" y="155258"/>
                    </a:cubicBezTo>
                    <a:cubicBezTo>
                      <a:pt x="39052" y="156210"/>
                      <a:pt x="41910" y="153353"/>
                      <a:pt x="40005" y="154305"/>
                    </a:cubicBezTo>
                    <a:cubicBezTo>
                      <a:pt x="24765" y="164783"/>
                      <a:pt x="13335" y="176213"/>
                      <a:pt x="952" y="189548"/>
                    </a:cubicBezTo>
                    <a:moveTo>
                      <a:pt x="43815" y="156210"/>
                    </a:moveTo>
                    <a:cubicBezTo>
                      <a:pt x="42863" y="157163"/>
                      <a:pt x="42863" y="157163"/>
                      <a:pt x="41910" y="158115"/>
                    </a:cubicBezTo>
                    <a:cubicBezTo>
                      <a:pt x="40957" y="159067"/>
                      <a:pt x="40957" y="160020"/>
                      <a:pt x="40005" y="160020"/>
                    </a:cubicBezTo>
                    <a:cubicBezTo>
                      <a:pt x="39052" y="160020"/>
                      <a:pt x="39052" y="160020"/>
                      <a:pt x="39052" y="159067"/>
                    </a:cubicBezTo>
                    <a:cubicBezTo>
                      <a:pt x="40005" y="157163"/>
                      <a:pt x="40957" y="155258"/>
                      <a:pt x="42863" y="154305"/>
                    </a:cubicBezTo>
                    <a:cubicBezTo>
                      <a:pt x="43815" y="155258"/>
                      <a:pt x="43815" y="155258"/>
                      <a:pt x="43815" y="156210"/>
                    </a:cubicBezTo>
                    <a:moveTo>
                      <a:pt x="67627" y="232410"/>
                    </a:moveTo>
                    <a:cubicBezTo>
                      <a:pt x="67627" y="233363"/>
                      <a:pt x="66675" y="233363"/>
                      <a:pt x="66675" y="234315"/>
                    </a:cubicBezTo>
                    <a:cubicBezTo>
                      <a:pt x="67627" y="234315"/>
                      <a:pt x="67627" y="234315"/>
                      <a:pt x="67627" y="235267"/>
                    </a:cubicBezTo>
                    <a:cubicBezTo>
                      <a:pt x="66675" y="236220"/>
                      <a:pt x="65723" y="237173"/>
                      <a:pt x="63818" y="238125"/>
                    </a:cubicBezTo>
                    <a:cubicBezTo>
                      <a:pt x="63818" y="238125"/>
                      <a:pt x="63818" y="238125"/>
                      <a:pt x="62865" y="238125"/>
                    </a:cubicBezTo>
                    <a:cubicBezTo>
                      <a:pt x="61913" y="239078"/>
                      <a:pt x="61913" y="239078"/>
                      <a:pt x="60960" y="240030"/>
                    </a:cubicBezTo>
                    <a:cubicBezTo>
                      <a:pt x="60007" y="240983"/>
                      <a:pt x="57150" y="240030"/>
                      <a:pt x="58102" y="239078"/>
                    </a:cubicBezTo>
                    <a:cubicBezTo>
                      <a:pt x="59055" y="238125"/>
                      <a:pt x="60960" y="236220"/>
                      <a:pt x="61913" y="235267"/>
                    </a:cubicBezTo>
                    <a:cubicBezTo>
                      <a:pt x="62865" y="234315"/>
                      <a:pt x="63818" y="234315"/>
                      <a:pt x="63818" y="233363"/>
                    </a:cubicBezTo>
                    <a:cubicBezTo>
                      <a:pt x="63818" y="233363"/>
                      <a:pt x="64770" y="232410"/>
                      <a:pt x="64770" y="232410"/>
                    </a:cubicBezTo>
                    <a:cubicBezTo>
                      <a:pt x="64770" y="231458"/>
                      <a:pt x="67627" y="231458"/>
                      <a:pt x="67627" y="232410"/>
                    </a:cubicBezTo>
                    <a:moveTo>
                      <a:pt x="58102" y="228600"/>
                    </a:moveTo>
                    <a:cubicBezTo>
                      <a:pt x="58102" y="228600"/>
                      <a:pt x="58102" y="228600"/>
                      <a:pt x="58102" y="228600"/>
                    </a:cubicBezTo>
                    <a:cubicBezTo>
                      <a:pt x="56198" y="230505"/>
                      <a:pt x="54293" y="231458"/>
                      <a:pt x="52388" y="232410"/>
                    </a:cubicBezTo>
                    <a:cubicBezTo>
                      <a:pt x="50482" y="233363"/>
                      <a:pt x="47625" y="234315"/>
                      <a:pt x="45720" y="235267"/>
                    </a:cubicBezTo>
                    <a:cubicBezTo>
                      <a:pt x="45720" y="235267"/>
                      <a:pt x="45720" y="235267"/>
                      <a:pt x="45720" y="235267"/>
                    </a:cubicBezTo>
                    <a:cubicBezTo>
                      <a:pt x="45720" y="235267"/>
                      <a:pt x="44768" y="235267"/>
                      <a:pt x="44768" y="235267"/>
                    </a:cubicBezTo>
                    <a:cubicBezTo>
                      <a:pt x="42863" y="236220"/>
                      <a:pt x="40957" y="238125"/>
                      <a:pt x="40005" y="239078"/>
                    </a:cubicBezTo>
                    <a:cubicBezTo>
                      <a:pt x="40005" y="239078"/>
                      <a:pt x="40005" y="239078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7148" y="241935"/>
                      <a:pt x="37148" y="241935"/>
                    </a:cubicBezTo>
                    <a:cubicBezTo>
                      <a:pt x="37148" y="241935"/>
                      <a:pt x="37148" y="242888"/>
                      <a:pt x="36195" y="242888"/>
                    </a:cubicBezTo>
                    <a:cubicBezTo>
                      <a:pt x="36195" y="242888"/>
                      <a:pt x="35243" y="242888"/>
                      <a:pt x="35243" y="242888"/>
                    </a:cubicBezTo>
                    <a:cubicBezTo>
                      <a:pt x="35243" y="242888"/>
                      <a:pt x="35243" y="242888"/>
                      <a:pt x="35243" y="242888"/>
                    </a:cubicBezTo>
                    <a:cubicBezTo>
                      <a:pt x="35243" y="242888"/>
                      <a:pt x="34290" y="242888"/>
                      <a:pt x="34290" y="242888"/>
                    </a:cubicBezTo>
                    <a:cubicBezTo>
                      <a:pt x="34290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2385" y="243840"/>
                      <a:pt x="32385" y="243840"/>
                      <a:pt x="31432" y="244792"/>
                    </a:cubicBezTo>
                    <a:cubicBezTo>
                      <a:pt x="30480" y="245745"/>
                      <a:pt x="29527" y="246698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8603"/>
                    </a:cubicBezTo>
                    <a:lnTo>
                      <a:pt x="28575" y="248603"/>
                    </a:ln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7650"/>
                      <a:pt x="28575" y="247650"/>
                    </a:cubicBezTo>
                    <a:lnTo>
                      <a:pt x="28575" y="247650"/>
                    </a:ln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9527" y="246698"/>
                      <a:pt x="29527" y="246698"/>
                      <a:pt x="30480" y="245745"/>
                    </a:cubicBezTo>
                    <a:cubicBezTo>
                      <a:pt x="30480" y="245745"/>
                      <a:pt x="30480" y="245745"/>
                      <a:pt x="30480" y="245745"/>
                    </a:cubicBezTo>
                    <a:cubicBezTo>
                      <a:pt x="30480" y="245745"/>
                      <a:pt x="30480" y="245745"/>
                      <a:pt x="31432" y="244792"/>
                    </a:cubicBezTo>
                    <a:cubicBezTo>
                      <a:pt x="31432" y="244792"/>
                      <a:pt x="32385" y="243840"/>
                      <a:pt x="32385" y="243840"/>
                    </a:cubicBezTo>
                    <a:cubicBezTo>
                      <a:pt x="32385" y="243840"/>
                      <a:pt x="32385" y="243840"/>
                      <a:pt x="32385" y="243840"/>
                    </a:cubicBezTo>
                    <a:cubicBezTo>
                      <a:pt x="33338" y="242888"/>
                      <a:pt x="33338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5243" y="240983"/>
                      <a:pt x="35243" y="240983"/>
                    </a:cubicBezTo>
                    <a:cubicBezTo>
                      <a:pt x="35243" y="240983"/>
                      <a:pt x="35243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8125"/>
                    </a:cubicBezTo>
                    <a:cubicBezTo>
                      <a:pt x="37148" y="238125"/>
                      <a:pt x="37148" y="238125"/>
                      <a:pt x="37148" y="238125"/>
                    </a:cubicBezTo>
                    <a:cubicBezTo>
                      <a:pt x="37148" y="238125"/>
                      <a:pt x="37148" y="237173"/>
                      <a:pt x="37148" y="237173"/>
                    </a:cubicBezTo>
                    <a:cubicBezTo>
                      <a:pt x="37148" y="237173"/>
                      <a:pt x="37148" y="237173"/>
                      <a:pt x="37148" y="237173"/>
                    </a:cubicBezTo>
                    <a:cubicBezTo>
                      <a:pt x="38100" y="236220"/>
                      <a:pt x="38100" y="235267"/>
                      <a:pt x="39052" y="234315"/>
                    </a:cubicBezTo>
                    <a:cubicBezTo>
                      <a:pt x="39052" y="234315"/>
                      <a:pt x="39052" y="234315"/>
                      <a:pt x="39052" y="234315"/>
                    </a:cubicBezTo>
                    <a:cubicBezTo>
                      <a:pt x="38100" y="234315"/>
                      <a:pt x="38100" y="235267"/>
                      <a:pt x="37148" y="236220"/>
                    </a:cubicBezTo>
                    <a:cubicBezTo>
                      <a:pt x="36195" y="236220"/>
                      <a:pt x="35243" y="236220"/>
                      <a:pt x="36195" y="235267"/>
                    </a:cubicBezTo>
                    <a:cubicBezTo>
                      <a:pt x="36195" y="235267"/>
                      <a:pt x="37148" y="234315"/>
                      <a:pt x="37148" y="234315"/>
                    </a:cubicBezTo>
                    <a:cubicBezTo>
                      <a:pt x="37148" y="234315"/>
                      <a:pt x="37148" y="234315"/>
                      <a:pt x="37148" y="234315"/>
                    </a:cubicBezTo>
                    <a:cubicBezTo>
                      <a:pt x="38100" y="233363"/>
                      <a:pt x="39052" y="232410"/>
                      <a:pt x="40005" y="231458"/>
                    </a:cubicBezTo>
                    <a:cubicBezTo>
                      <a:pt x="40957" y="231458"/>
                      <a:pt x="40957" y="230505"/>
                      <a:pt x="41910" y="230505"/>
                    </a:cubicBezTo>
                    <a:cubicBezTo>
                      <a:pt x="41910" y="230505"/>
                      <a:pt x="41910" y="230505"/>
                      <a:pt x="41910" y="230505"/>
                    </a:cubicBezTo>
                    <a:cubicBezTo>
                      <a:pt x="41910" y="230505"/>
                      <a:pt x="42863" y="229553"/>
                      <a:pt x="42863" y="229553"/>
                    </a:cubicBezTo>
                    <a:cubicBezTo>
                      <a:pt x="42863" y="229553"/>
                      <a:pt x="42863" y="229553"/>
                      <a:pt x="42863" y="229553"/>
                    </a:cubicBezTo>
                    <a:cubicBezTo>
                      <a:pt x="47625" y="224790"/>
                      <a:pt x="56198" y="224790"/>
                      <a:pt x="62865" y="221933"/>
                    </a:cubicBezTo>
                    <a:cubicBezTo>
                      <a:pt x="65723" y="220980"/>
                      <a:pt x="68580" y="222885"/>
                      <a:pt x="71438" y="221933"/>
                    </a:cubicBezTo>
                    <a:cubicBezTo>
                      <a:pt x="73343" y="221933"/>
                      <a:pt x="74295" y="221933"/>
                      <a:pt x="76200" y="222885"/>
                    </a:cubicBezTo>
                    <a:cubicBezTo>
                      <a:pt x="66675" y="222885"/>
                      <a:pt x="62865" y="225742"/>
                      <a:pt x="58102" y="228600"/>
                    </a:cubicBezTo>
                    <a:moveTo>
                      <a:pt x="68580" y="193358"/>
                    </a:moveTo>
                    <a:cubicBezTo>
                      <a:pt x="67627" y="192405"/>
                      <a:pt x="70485" y="193358"/>
                      <a:pt x="70485" y="192405"/>
                    </a:cubicBezTo>
                    <a:lnTo>
                      <a:pt x="66675" y="192405"/>
                    </a:lnTo>
                    <a:cubicBezTo>
                      <a:pt x="65723" y="192405"/>
                      <a:pt x="65723" y="191453"/>
                      <a:pt x="65723" y="191453"/>
                    </a:cubicBezTo>
                    <a:cubicBezTo>
                      <a:pt x="62865" y="192405"/>
                      <a:pt x="60007" y="193358"/>
                      <a:pt x="57150" y="193358"/>
                    </a:cubicBezTo>
                    <a:cubicBezTo>
                      <a:pt x="53340" y="194310"/>
                      <a:pt x="50482" y="197167"/>
                      <a:pt x="46673" y="198120"/>
                    </a:cubicBezTo>
                    <a:cubicBezTo>
                      <a:pt x="40957" y="200025"/>
                      <a:pt x="36195" y="204788"/>
                      <a:pt x="30480" y="206692"/>
                    </a:cubicBezTo>
                    <a:cubicBezTo>
                      <a:pt x="29527" y="206692"/>
                      <a:pt x="29527" y="205740"/>
                      <a:pt x="29527" y="205740"/>
                    </a:cubicBezTo>
                    <a:cubicBezTo>
                      <a:pt x="30480" y="203835"/>
                      <a:pt x="32385" y="203835"/>
                      <a:pt x="33338" y="201930"/>
                    </a:cubicBezTo>
                    <a:cubicBezTo>
                      <a:pt x="33338" y="200978"/>
                      <a:pt x="33338" y="200978"/>
                      <a:pt x="32385" y="200978"/>
                    </a:cubicBezTo>
                    <a:cubicBezTo>
                      <a:pt x="36195" y="195263"/>
                      <a:pt x="41910" y="192405"/>
                      <a:pt x="47625" y="187642"/>
                    </a:cubicBezTo>
                    <a:lnTo>
                      <a:pt x="47625" y="185738"/>
                    </a:lnTo>
                    <a:cubicBezTo>
                      <a:pt x="49530" y="183833"/>
                      <a:pt x="51435" y="182880"/>
                      <a:pt x="52388" y="180023"/>
                    </a:cubicBezTo>
                    <a:cubicBezTo>
                      <a:pt x="53340" y="178117"/>
                      <a:pt x="55245" y="176213"/>
                      <a:pt x="57150" y="175260"/>
                    </a:cubicBezTo>
                    <a:cubicBezTo>
                      <a:pt x="56198" y="174308"/>
                      <a:pt x="55245" y="174308"/>
                      <a:pt x="55245" y="173355"/>
                    </a:cubicBezTo>
                    <a:cubicBezTo>
                      <a:pt x="53340" y="173355"/>
                      <a:pt x="51435" y="174308"/>
                      <a:pt x="49530" y="172403"/>
                    </a:cubicBezTo>
                    <a:cubicBezTo>
                      <a:pt x="50482" y="171450"/>
                      <a:pt x="51435" y="170498"/>
                      <a:pt x="52388" y="170498"/>
                    </a:cubicBezTo>
                    <a:cubicBezTo>
                      <a:pt x="52388" y="170498"/>
                      <a:pt x="51435" y="170498"/>
                      <a:pt x="51435" y="169545"/>
                    </a:cubicBezTo>
                    <a:cubicBezTo>
                      <a:pt x="50482" y="168592"/>
                      <a:pt x="52388" y="167640"/>
                      <a:pt x="54293" y="166688"/>
                    </a:cubicBezTo>
                    <a:cubicBezTo>
                      <a:pt x="56198" y="165735"/>
                      <a:pt x="59055" y="165735"/>
                      <a:pt x="60007" y="164783"/>
                    </a:cubicBezTo>
                    <a:cubicBezTo>
                      <a:pt x="56198" y="163830"/>
                      <a:pt x="52388" y="165735"/>
                      <a:pt x="48577" y="163830"/>
                    </a:cubicBezTo>
                    <a:cubicBezTo>
                      <a:pt x="51435" y="157163"/>
                      <a:pt x="55245" y="151448"/>
                      <a:pt x="60960" y="148590"/>
                    </a:cubicBezTo>
                    <a:cubicBezTo>
                      <a:pt x="61913" y="148590"/>
                      <a:pt x="62865" y="148590"/>
                      <a:pt x="62865" y="149542"/>
                    </a:cubicBezTo>
                    <a:cubicBezTo>
                      <a:pt x="62865" y="152400"/>
                      <a:pt x="60960" y="154305"/>
                      <a:pt x="59055" y="154305"/>
                    </a:cubicBezTo>
                    <a:cubicBezTo>
                      <a:pt x="62865" y="155258"/>
                      <a:pt x="67627" y="155258"/>
                      <a:pt x="71438" y="157163"/>
                    </a:cubicBezTo>
                    <a:cubicBezTo>
                      <a:pt x="70485" y="158115"/>
                      <a:pt x="69532" y="158115"/>
                      <a:pt x="69532" y="158115"/>
                    </a:cubicBezTo>
                    <a:cubicBezTo>
                      <a:pt x="72390" y="160020"/>
                      <a:pt x="75248" y="159067"/>
                      <a:pt x="78105" y="160973"/>
                    </a:cubicBezTo>
                    <a:cubicBezTo>
                      <a:pt x="76200" y="162878"/>
                      <a:pt x="75248" y="160973"/>
                      <a:pt x="73343" y="160973"/>
                    </a:cubicBezTo>
                    <a:cubicBezTo>
                      <a:pt x="89535" y="165735"/>
                      <a:pt x="105727" y="169545"/>
                      <a:pt x="119063" y="179070"/>
                    </a:cubicBezTo>
                    <a:cubicBezTo>
                      <a:pt x="107632" y="184785"/>
                      <a:pt x="96202" y="187642"/>
                      <a:pt x="83820" y="189548"/>
                    </a:cubicBezTo>
                    <a:cubicBezTo>
                      <a:pt x="81915" y="189548"/>
                      <a:pt x="80963" y="189548"/>
                      <a:pt x="80010" y="188595"/>
                    </a:cubicBezTo>
                    <a:cubicBezTo>
                      <a:pt x="80010" y="189548"/>
                      <a:pt x="80010" y="190500"/>
                      <a:pt x="79057" y="190500"/>
                    </a:cubicBezTo>
                    <a:cubicBezTo>
                      <a:pt x="77152" y="190500"/>
                      <a:pt x="75248" y="190500"/>
                      <a:pt x="74295" y="191453"/>
                    </a:cubicBezTo>
                    <a:cubicBezTo>
                      <a:pt x="73343" y="194310"/>
                      <a:pt x="70485" y="194310"/>
                      <a:pt x="68580" y="193358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6" name="Forme libre : forme 15">
                <a:extLst>
                  <a:ext uri="{FF2B5EF4-FFF2-40B4-BE49-F238E27FC236}">
                    <a16:creationId xmlns:a16="http://schemas.microsoft.com/office/drawing/2014/main" id="{D8D3202E-8F82-4420-97EA-F8CC611573DC}"/>
                  </a:ext>
                </a:extLst>
              </p:cNvPr>
              <p:cNvSpPr/>
              <p:nvPr/>
            </p:nvSpPr>
            <p:spPr>
              <a:xfrm>
                <a:off x="270509" y="270509"/>
                <a:ext cx="349567" cy="269557"/>
              </a:xfrm>
              <a:custGeom>
                <a:avLst/>
                <a:gdLst>
                  <a:gd name="connsiteX0" fmla="*/ 306705 w 349567"/>
                  <a:gd name="connsiteY0" fmla="*/ 237173 h 269557"/>
                  <a:gd name="connsiteX1" fmla="*/ 315278 w 349567"/>
                  <a:gd name="connsiteY1" fmla="*/ 227648 h 269557"/>
                  <a:gd name="connsiteX2" fmla="*/ 315278 w 349567"/>
                  <a:gd name="connsiteY2" fmla="*/ 227648 h 269557"/>
                  <a:gd name="connsiteX3" fmla="*/ 332423 w 349567"/>
                  <a:gd name="connsiteY3" fmla="*/ 210503 h 269557"/>
                  <a:gd name="connsiteX4" fmla="*/ 338138 w 349567"/>
                  <a:gd name="connsiteY4" fmla="*/ 205740 h 269557"/>
                  <a:gd name="connsiteX5" fmla="*/ 339090 w 349567"/>
                  <a:gd name="connsiteY5" fmla="*/ 203835 h 269557"/>
                  <a:gd name="connsiteX6" fmla="*/ 332423 w 349567"/>
                  <a:gd name="connsiteY6" fmla="*/ 207645 h 269557"/>
                  <a:gd name="connsiteX7" fmla="*/ 331470 w 349567"/>
                  <a:gd name="connsiteY7" fmla="*/ 206692 h 269557"/>
                  <a:gd name="connsiteX8" fmla="*/ 337185 w 349567"/>
                  <a:gd name="connsiteY8" fmla="*/ 202883 h 269557"/>
                  <a:gd name="connsiteX9" fmla="*/ 337185 w 349567"/>
                  <a:gd name="connsiteY9" fmla="*/ 202883 h 269557"/>
                  <a:gd name="connsiteX10" fmla="*/ 336233 w 349567"/>
                  <a:gd name="connsiteY10" fmla="*/ 201930 h 269557"/>
                  <a:gd name="connsiteX11" fmla="*/ 320040 w 349567"/>
                  <a:gd name="connsiteY11" fmla="*/ 210503 h 269557"/>
                  <a:gd name="connsiteX12" fmla="*/ 317183 w 349567"/>
                  <a:gd name="connsiteY12" fmla="*/ 209550 h 269557"/>
                  <a:gd name="connsiteX13" fmla="*/ 296228 w 349567"/>
                  <a:gd name="connsiteY13" fmla="*/ 221933 h 269557"/>
                  <a:gd name="connsiteX14" fmla="*/ 296228 w 349567"/>
                  <a:gd name="connsiteY14" fmla="*/ 220980 h 269557"/>
                  <a:gd name="connsiteX15" fmla="*/ 286703 w 349567"/>
                  <a:gd name="connsiteY15" fmla="*/ 224790 h 269557"/>
                  <a:gd name="connsiteX16" fmla="*/ 274320 w 349567"/>
                  <a:gd name="connsiteY16" fmla="*/ 225742 h 269557"/>
                  <a:gd name="connsiteX17" fmla="*/ 256223 w 349567"/>
                  <a:gd name="connsiteY17" fmla="*/ 228600 h 269557"/>
                  <a:gd name="connsiteX18" fmla="*/ 255270 w 349567"/>
                  <a:gd name="connsiteY18" fmla="*/ 228600 h 269557"/>
                  <a:gd name="connsiteX19" fmla="*/ 245745 w 349567"/>
                  <a:gd name="connsiteY19" fmla="*/ 232410 h 269557"/>
                  <a:gd name="connsiteX20" fmla="*/ 245745 w 349567"/>
                  <a:gd name="connsiteY20" fmla="*/ 232410 h 269557"/>
                  <a:gd name="connsiteX21" fmla="*/ 244792 w 349567"/>
                  <a:gd name="connsiteY21" fmla="*/ 233363 h 269557"/>
                  <a:gd name="connsiteX22" fmla="*/ 240983 w 349567"/>
                  <a:gd name="connsiteY22" fmla="*/ 236220 h 269557"/>
                  <a:gd name="connsiteX23" fmla="*/ 232410 w 349567"/>
                  <a:gd name="connsiteY23" fmla="*/ 242888 h 269557"/>
                  <a:gd name="connsiteX24" fmla="*/ 231458 w 349567"/>
                  <a:gd name="connsiteY24" fmla="*/ 242888 h 269557"/>
                  <a:gd name="connsiteX25" fmla="*/ 222885 w 349567"/>
                  <a:gd name="connsiteY25" fmla="*/ 250508 h 269557"/>
                  <a:gd name="connsiteX26" fmla="*/ 220980 w 349567"/>
                  <a:gd name="connsiteY26" fmla="*/ 250508 h 269557"/>
                  <a:gd name="connsiteX27" fmla="*/ 220980 w 349567"/>
                  <a:gd name="connsiteY27" fmla="*/ 250508 h 269557"/>
                  <a:gd name="connsiteX28" fmla="*/ 220980 w 349567"/>
                  <a:gd name="connsiteY28" fmla="*/ 249555 h 269557"/>
                  <a:gd name="connsiteX29" fmla="*/ 221933 w 349567"/>
                  <a:gd name="connsiteY29" fmla="*/ 247650 h 269557"/>
                  <a:gd name="connsiteX30" fmla="*/ 223838 w 349567"/>
                  <a:gd name="connsiteY30" fmla="*/ 245745 h 269557"/>
                  <a:gd name="connsiteX31" fmla="*/ 225742 w 349567"/>
                  <a:gd name="connsiteY31" fmla="*/ 242888 h 269557"/>
                  <a:gd name="connsiteX32" fmla="*/ 225742 w 349567"/>
                  <a:gd name="connsiteY32" fmla="*/ 241935 h 269557"/>
                  <a:gd name="connsiteX33" fmla="*/ 224790 w 349567"/>
                  <a:gd name="connsiteY33" fmla="*/ 241935 h 269557"/>
                  <a:gd name="connsiteX34" fmla="*/ 233363 w 349567"/>
                  <a:gd name="connsiteY34" fmla="*/ 235267 h 269557"/>
                  <a:gd name="connsiteX35" fmla="*/ 233363 w 349567"/>
                  <a:gd name="connsiteY35" fmla="*/ 235267 h 269557"/>
                  <a:gd name="connsiteX36" fmla="*/ 232410 w 349567"/>
                  <a:gd name="connsiteY36" fmla="*/ 234315 h 269557"/>
                  <a:gd name="connsiteX37" fmla="*/ 233363 w 349567"/>
                  <a:gd name="connsiteY37" fmla="*/ 233363 h 269557"/>
                  <a:gd name="connsiteX38" fmla="*/ 233363 w 349567"/>
                  <a:gd name="connsiteY38" fmla="*/ 233363 h 269557"/>
                  <a:gd name="connsiteX39" fmla="*/ 233363 w 349567"/>
                  <a:gd name="connsiteY39" fmla="*/ 233363 h 269557"/>
                  <a:gd name="connsiteX40" fmla="*/ 233363 w 349567"/>
                  <a:gd name="connsiteY40" fmla="*/ 234315 h 269557"/>
                  <a:gd name="connsiteX41" fmla="*/ 229553 w 349567"/>
                  <a:gd name="connsiteY41" fmla="*/ 237173 h 269557"/>
                  <a:gd name="connsiteX42" fmla="*/ 228600 w 349567"/>
                  <a:gd name="connsiteY42" fmla="*/ 237173 h 269557"/>
                  <a:gd name="connsiteX43" fmla="*/ 227648 w 349567"/>
                  <a:gd name="connsiteY43" fmla="*/ 237173 h 269557"/>
                  <a:gd name="connsiteX44" fmla="*/ 227648 w 349567"/>
                  <a:gd name="connsiteY44" fmla="*/ 237173 h 269557"/>
                  <a:gd name="connsiteX45" fmla="*/ 227648 w 349567"/>
                  <a:gd name="connsiteY45" fmla="*/ 237173 h 269557"/>
                  <a:gd name="connsiteX46" fmla="*/ 227648 w 349567"/>
                  <a:gd name="connsiteY46" fmla="*/ 237173 h 269557"/>
                  <a:gd name="connsiteX47" fmla="*/ 227648 w 349567"/>
                  <a:gd name="connsiteY47" fmla="*/ 237173 h 269557"/>
                  <a:gd name="connsiteX48" fmla="*/ 227648 w 349567"/>
                  <a:gd name="connsiteY48" fmla="*/ 237173 h 269557"/>
                  <a:gd name="connsiteX49" fmla="*/ 227648 w 349567"/>
                  <a:gd name="connsiteY49" fmla="*/ 237173 h 269557"/>
                  <a:gd name="connsiteX50" fmla="*/ 227648 w 349567"/>
                  <a:gd name="connsiteY50" fmla="*/ 236220 h 269557"/>
                  <a:gd name="connsiteX51" fmla="*/ 227648 w 349567"/>
                  <a:gd name="connsiteY51" fmla="*/ 236220 h 269557"/>
                  <a:gd name="connsiteX52" fmla="*/ 228600 w 349567"/>
                  <a:gd name="connsiteY52" fmla="*/ 235267 h 269557"/>
                  <a:gd name="connsiteX53" fmla="*/ 228600 w 349567"/>
                  <a:gd name="connsiteY53" fmla="*/ 234315 h 269557"/>
                  <a:gd name="connsiteX54" fmla="*/ 229553 w 349567"/>
                  <a:gd name="connsiteY54" fmla="*/ 233363 h 269557"/>
                  <a:gd name="connsiteX55" fmla="*/ 229553 w 349567"/>
                  <a:gd name="connsiteY55" fmla="*/ 232410 h 269557"/>
                  <a:gd name="connsiteX56" fmla="*/ 233363 w 349567"/>
                  <a:gd name="connsiteY56" fmla="*/ 229553 h 269557"/>
                  <a:gd name="connsiteX57" fmla="*/ 233363 w 349567"/>
                  <a:gd name="connsiteY57" fmla="*/ 229553 h 269557"/>
                  <a:gd name="connsiteX58" fmla="*/ 239078 w 349567"/>
                  <a:gd name="connsiteY58" fmla="*/ 226695 h 269557"/>
                  <a:gd name="connsiteX59" fmla="*/ 240030 w 349567"/>
                  <a:gd name="connsiteY59" fmla="*/ 225742 h 269557"/>
                  <a:gd name="connsiteX60" fmla="*/ 231458 w 349567"/>
                  <a:gd name="connsiteY60" fmla="*/ 229553 h 269557"/>
                  <a:gd name="connsiteX61" fmla="*/ 230505 w 349567"/>
                  <a:gd name="connsiteY61" fmla="*/ 229553 h 269557"/>
                  <a:gd name="connsiteX62" fmla="*/ 229553 w 349567"/>
                  <a:gd name="connsiteY62" fmla="*/ 229553 h 269557"/>
                  <a:gd name="connsiteX63" fmla="*/ 229553 w 349567"/>
                  <a:gd name="connsiteY63" fmla="*/ 229553 h 269557"/>
                  <a:gd name="connsiteX64" fmla="*/ 232410 w 349567"/>
                  <a:gd name="connsiteY64" fmla="*/ 226695 h 269557"/>
                  <a:gd name="connsiteX65" fmla="*/ 233363 w 349567"/>
                  <a:gd name="connsiteY65" fmla="*/ 227648 h 269557"/>
                  <a:gd name="connsiteX66" fmla="*/ 291465 w 349567"/>
                  <a:gd name="connsiteY66" fmla="*/ 211455 h 269557"/>
                  <a:gd name="connsiteX67" fmla="*/ 296228 w 349567"/>
                  <a:gd name="connsiteY67" fmla="*/ 208598 h 269557"/>
                  <a:gd name="connsiteX68" fmla="*/ 303848 w 349567"/>
                  <a:gd name="connsiteY68" fmla="*/ 203835 h 269557"/>
                  <a:gd name="connsiteX69" fmla="*/ 312420 w 349567"/>
                  <a:gd name="connsiteY69" fmla="*/ 192405 h 269557"/>
                  <a:gd name="connsiteX70" fmla="*/ 311468 w 349567"/>
                  <a:gd name="connsiteY70" fmla="*/ 191453 h 269557"/>
                  <a:gd name="connsiteX71" fmla="*/ 288608 w 349567"/>
                  <a:gd name="connsiteY71" fmla="*/ 208598 h 269557"/>
                  <a:gd name="connsiteX72" fmla="*/ 255270 w 349567"/>
                  <a:gd name="connsiteY72" fmla="*/ 214313 h 269557"/>
                  <a:gd name="connsiteX73" fmla="*/ 258128 w 349567"/>
                  <a:gd name="connsiteY73" fmla="*/ 213360 h 269557"/>
                  <a:gd name="connsiteX74" fmla="*/ 260033 w 349567"/>
                  <a:gd name="connsiteY74" fmla="*/ 210503 h 269557"/>
                  <a:gd name="connsiteX75" fmla="*/ 261938 w 349567"/>
                  <a:gd name="connsiteY75" fmla="*/ 210503 h 269557"/>
                  <a:gd name="connsiteX76" fmla="*/ 262890 w 349567"/>
                  <a:gd name="connsiteY76" fmla="*/ 209550 h 269557"/>
                  <a:gd name="connsiteX77" fmla="*/ 264795 w 349567"/>
                  <a:gd name="connsiteY77" fmla="*/ 208598 h 269557"/>
                  <a:gd name="connsiteX78" fmla="*/ 257175 w 349567"/>
                  <a:gd name="connsiteY78" fmla="*/ 208598 h 269557"/>
                  <a:gd name="connsiteX79" fmla="*/ 259080 w 349567"/>
                  <a:gd name="connsiteY79" fmla="*/ 205740 h 269557"/>
                  <a:gd name="connsiteX80" fmla="*/ 260985 w 349567"/>
                  <a:gd name="connsiteY80" fmla="*/ 205740 h 269557"/>
                  <a:gd name="connsiteX81" fmla="*/ 261938 w 349567"/>
                  <a:gd name="connsiteY81" fmla="*/ 203835 h 269557"/>
                  <a:gd name="connsiteX82" fmla="*/ 283845 w 349567"/>
                  <a:gd name="connsiteY82" fmla="*/ 191453 h 269557"/>
                  <a:gd name="connsiteX83" fmla="*/ 280035 w 349567"/>
                  <a:gd name="connsiteY83" fmla="*/ 192405 h 269557"/>
                  <a:gd name="connsiteX84" fmla="*/ 280988 w 349567"/>
                  <a:gd name="connsiteY84" fmla="*/ 190500 h 269557"/>
                  <a:gd name="connsiteX85" fmla="*/ 297180 w 349567"/>
                  <a:gd name="connsiteY85" fmla="*/ 183833 h 269557"/>
                  <a:gd name="connsiteX86" fmla="*/ 291465 w 349567"/>
                  <a:gd name="connsiteY86" fmla="*/ 183833 h 269557"/>
                  <a:gd name="connsiteX87" fmla="*/ 294323 w 349567"/>
                  <a:gd name="connsiteY87" fmla="*/ 181928 h 269557"/>
                  <a:gd name="connsiteX88" fmla="*/ 294323 w 349567"/>
                  <a:gd name="connsiteY88" fmla="*/ 180023 h 269557"/>
                  <a:gd name="connsiteX89" fmla="*/ 295275 w 349567"/>
                  <a:gd name="connsiteY89" fmla="*/ 179070 h 269557"/>
                  <a:gd name="connsiteX90" fmla="*/ 294323 w 349567"/>
                  <a:gd name="connsiteY90" fmla="*/ 178117 h 269557"/>
                  <a:gd name="connsiteX91" fmla="*/ 297180 w 349567"/>
                  <a:gd name="connsiteY91" fmla="*/ 176213 h 269557"/>
                  <a:gd name="connsiteX92" fmla="*/ 295275 w 349567"/>
                  <a:gd name="connsiteY92" fmla="*/ 175260 h 269557"/>
                  <a:gd name="connsiteX93" fmla="*/ 301943 w 349567"/>
                  <a:gd name="connsiteY93" fmla="*/ 172403 h 269557"/>
                  <a:gd name="connsiteX94" fmla="*/ 300038 w 349567"/>
                  <a:gd name="connsiteY94" fmla="*/ 171450 h 269557"/>
                  <a:gd name="connsiteX95" fmla="*/ 300990 w 349567"/>
                  <a:gd name="connsiteY95" fmla="*/ 170498 h 269557"/>
                  <a:gd name="connsiteX96" fmla="*/ 300990 w 349567"/>
                  <a:gd name="connsiteY96" fmla="*/ 170498 h 269557"/>
                  <a:gd name="connsiteX97" fmla="*/ 300038 w 349567"/>
                  <a:gd name="connsiteY97" fmla="*/ 168592 h 269557"/>
                  <a:gd name="connsiteX98" fmla="*/ 304800 w 349567"/>
                  <a:gd name="connsiteY98" fmla="*/ 156210 h 269557"/>
                  <a:gd name="connsiteX99" fmla="*/ 303848 w 349567"/>
                  <a:gd name="connsiteY99" fmla="*/ 155258 h 269557"/>
                  <a:gd name="connsiteX100" fmla="*/ 282893 w 349567"/>
                  <a:gd name="connsiteY100" fmla="*/ 164783 h 269557"/>
                  <a:gd name="connsiteX101" fmla="*/ 280035 w 349567"/>
                  <a:gd name="connsiteY101" fmla="*/ 164783 h 269557"/>
                  <a:gd name="connsiteX102" fmla="*/ 271463 w 349567"/>
                  <a:gd name="connsiteY102" fmla="*/ 163830 h 269557"/>
                  <a:gd name="connsiteX103" fmla="*/ 266700 w 349567"/>
                  <a:gd name="connsiteY103" fmla="*/ 160020 h 269557"/>
                  <a:gd name="connsiteX104" fmla="*/ 254317 w 349567"/>
                  <a:gd name="connsiteY104" fmla="*/ 154305 h 269557"/>
                  <a:gd name="connsiteX105" fmla="*/ 215265 w 349567"/>
                  <a:gd name="connsiteY105" fmla="*/ 148590 h 269557"/>
                  <a:gd name="connsiteX106" fmla="*/ 233363 w 349567"/>
                  <a:gd name="connsiteY106" fmla="*/ 143828 h 269557"/>
                  <a:gd name="connsiteX107" fmla="*/ 259080 w 349567"/>
                  <a:gd name="connsiteY107" fmla="*/ 139065 h 269557"/>
                  <a:gd name="connsiteX108" fmla="*/ 254317 w 349567"/>
                  <a:gd name="connsiteY108" fmla="*/ 139065 h 269557"/>
                  <a:gd name="connsiteX109" fmla="*/ 232410 w 349567"/>
                  <a:gd name="connsiteY109" fmla="*/ 141923 h 269557"/>
                  <a:gd name="connsiteX110" fmla="*/ 217170 w 349567"/>
                  <a:gd name="connsiteY110" fmla="*/ 145733 h 269557"/>
                  <a:gd name="connsiteX111" fmla="*/ 208598 w 349567"/>
                  <a:gd name="connsiteY111" fmla="*/ 149542 h 269557"/>
                  <a:gd name="connsiteX112" fmla="*/ 208598 w 349567"/>
                  <a:gd name="connsiteY112" fmla="*/ 147638 h 269557"/>
                  <a:gd name="connsiteX113" fmla="*/ 227648 w 349567"/>
                  <a:gd name="connsiteY113" fmla="*/ 135255 h 269557"/>
                  <a:gd name="connsiteX114" fmla="*/ 254317 w 349567"/>
                  <a:gd name="connsiteY114" fmla="*/ 136208 h 269557"/>
                  <a:gd name="connsiteX115" fmla="*/ 273368 w 349567"/>
                  <a:gd name="connsiteY115" fmla="*/ 140017 h 269557"/>
                  <a:gd name="connsiteX116" fmla="*/ 278130 w 349567"/>
                  <a:gd name="connsiteY116" fmla="*/ 144780 h 269557"/>
                  <a:gd name="connsiteX117" fmla="*/ 287655 w 349567"/>
                  <a:gd name="connsiteY117" fmla="*/ 146685 h 269557"/>
                  <a:gd name="connsiteX118" fmla="*/ 287655 w 349567"/>
                  <a:gd name="connsiteY118" fmla="*/ 143828 h 269557"/>
                  <a:gd name="connsiteX119" fmla="*/ 294323 w 349567"/>
                  <a:gd name="connsiteY119" fmla="*/ 142875 h 269557"/>
                  <a:gd name="connsiteX120" fmla="*/ 288608 w 349567"/>
                  <a:gd name="connsiteY120" fmla="*/ 132398 h 269557"/>
                  <a:gd name="connsiteX121" fmla="*/ 289560 w 349567"/>
                  <a:gd name="connsiteY121" fmla="*/ 131445 h 269557"/>
                  <a:gd name="connsiteX122" fmla="*/ 301943 w 349567"/>
                  <a:gd name="connsiteY122" fmla="*/ 141923 h 269557"/>
                  <a:gd name="connsiteX123" fmla="*/ 309563 w 349567"/>
                  <a:gd name="connsiteY123" fmla="*/ 140970 h 269557"/>
                  <a:gd name="connsiteX124" fmla="*/ 298133 w 349567"/>
                  <a:gd name="connsiteY124" fmla="*/ 125730 h 269557"/>
                  <a:gd name="connsiteX125" fmla="*/ 298133 w 349567"/>
                  <a:gd name="connsiteY125" fmla="*/ 123825 h 269557"/>
                  <a:gd name="connsiteX126" fmla="*/ 296228 w 349567"/>
                  <a:gd name="connsiteY126" fmla="*/ 122873 h 269557"/>
                  <a:gd name="connsiteX127" fmla="*/ 296228 w 349567"/>
                  <a:gd name="connsiteY127" fmla="*/ 120015 h 269557"/>
                  <a:gd name="connsiteX128" fmla="*/ 293370 w 349567"/>
                  <a:gd name="connsiteY128" fmla="*/ 115253 h 269557"/>
                  <a:gd name="connsiteX129" fmla="*/ 291465 w 349567"/>
                  <a:gd name="connsiteY129" fmla="*/ 105728 h 269557"/>
                  <a:gd name="connsiteX130" fmla="*/ 290513 w 349567"/>
                  <a:gd name="connsiteY130" fmla="*/ 98108 h 269557"/>
                  <a:gd name="connsiteX131" fmla="*/ 285750 w 349567"/>
                  <a:gd name="connsiteY131" fmla="*/ 73342 h 269557"/>
                  <a:gd name="connsiteX132" fmla="*/ 296228 w 349567"/>
                  <a:gd name="connsiteY132" fmla="*/ 47625 h 269557"/>
                  <a:gd name="connsiteX133" fmla="*/ 310515 w 349567"/>
                  <a:gd name="connsiteY133" fmla="*/ 31433 h 269557"/>
                  <a:gd name="connsiteX134" fmla="*/ 320040 w 349567"/>
                  <a:gd name="connsiteY134" fmla="*/ 15240 h 269557"/>
                  <a:gd name="connsiteX135" fmla="*/ 336233 w 349567"/>
                  <a:gd name="connsiteY135" fmla="*/ 4763 h 269557"/>
                  <a:gd name="connsiteX136" fmla="*/ 349568 w 349567"/>
                  <a:gd name="connsiteY136" fmla="*/ 0 h 269557"/>
                  <a:gd name="connsiteX137" fmla="*/ 0 w 349567"/>
                  <a:gd name="connsiteY137" fmla="*/ 0 h 269557"/>
                  <a:gd name="connsiteX138" fmla="*/ 0 w 349567"/>
                  <a:gd name="connsiteY138" fmla="*/ 269558 h 269557"/>
                  <a:gd name="connsiteX139" fmla="*/ 247650 w 349567"/>
                  <a:gd name="connsiteY139" fmla="*/ 269558 h 269557"/>
                  <a:gd name="connsiteX140" fmla="*/ 280988 w 349567"/>
                  <a:gd name="connsiteY140" fmla="*/ 252413 h 269557"/>
                  <a:gd name="connsiteX141" fmla="*/ 306705 w 349567"/>
                  <a:gd name="connsiteY141" fmla="*/ 237173 h 269557"/>
                  <a:gd name="connsiteX142" fmla="*/ 227648 w 349567"/>
                  <a:gd name="connsiteY142" fmla="*/ 200978 h 269557"/>
                  <a:gd name="connsiteX143" fmla="*/ 224790 w 349567"/>
                  <a:gd name="connsiteY143" fmla="*/ 200025 h 269557"/>
                  <a:gd name="connsiteX144" fmla="*/ 230505 w 349567"/>
                  <a:gd name="connsiteY144" fmla="*/ 196215 h 269557"/>
                  <a:gd name="connsiteX145" fmla="*/ 234315 w 349567"/>
                  <a:gd name="connsiteY145" fmla="*/ 195263 h 269557"/>
                  <a:gd name="connsiteX146" fmla="*/ 238125 w 349567"/>
                  <a:gd name="connsiteY146" fmla="*/ 197167 h 269557"/>
                  <a:gd name="connsiteX147" fmla="*/ 227648 w 349567"/>
                  <a:gd name="connsiteY147" fmla="*/ 200978 h 269557"/>
                  <a:gd name="connsiteX148" fmla="*/ 149542 w 349567"/>
                  <a:gd name="connsiteY148" fmla="*/ 189548 h 269557"/>
                  <a:gd name="connsiteX149" fmla="*/ 148590 w 349567"/>
                  <a:gd name="connsiteY149" fmla="*/ 188595 h 269557"/>
                  <a:gd name="connsiteX150" fmla="*/ 164783 w 349567"/>
                  <a:gd name="connsiteY150" fmla="*/ 162878 h 269557"/>
                  <a:gd name="connsiteX151" fmla="*/ 181928 w 349567"/>
                  <a:gd name="connsiteY151" fmla="*/ 148590 h 269557"/>
                  <a:gd name="connsiteX152" fmla="*/ 210503 w 349567"/>
                  <a:gd name="connsiteY152" fmla="*/ 125730 h 269557"/>
                  <a:gd name="connsiteX153" fmla="*/ 223838 w 349567"/>
                  <a:gd name="connsiteY153" fmla="*/ 126683 h 269557"/>
                  <a:gd name="connsiteX154" fmla="*/ 218123 w 349567"/>
                  <a:gd name="connsiteY154" fmla="*/ 129540 h 269557"/>
                  <a:gd name="connsiteX155" fmla="*/ 216217 w 349567"/>
                  <a:gd name="connsiteY155" fmla="*/ 128588 h 269557"/>
                  <a:gd name="connsiteX156" fmla="*/ 217170 w 349567"/>
                  <a:gd name="connsiteY156" fmla="*/ 126683 h 269557"/>
                  <a:gd name="connsiteX157" fmla="*/ 200978 w 349567"/>
                  <a:gd name="connsiteY157" fmla="*/ 141923 h 269557"/>
                  <a:gd name="connsiteX158" fmla="*/ 189548 w 349567"/>
                  <a:gd name="connsiteY158" fmla="*/ 155258 h 269557"/>
                  <a:gd name="connsiteX159" fmla="*/ 188595 w 349567"/>
                  <a:gd name="connsiteY159" fmla="*/ 154305 h 269557"/>
                  <a:gd name="connsiteX160" fmla="*/ 149542 w 349567"/>
                  <a:gd name="connsiteY160" fmla="*/ 189548 h 269557"/>
                  <a:gd name="connsiteX161" fmla="*/ 192405 w 349567"/>
                  <a:gd name="connsiteY161" fmla="*/ 156210 h 269557"/>
                  <a:gd name="connsiteX162" fmla="*/ 190500 w 349567"/>
                  <a:gd name="connsiteY162" fmla="*/ 158115 h 269557"/>
                  <a:gd name="connsiteX163" fmla="*/ 188595 w 349567"/>
                  <a:gd name="connsiteY163" fmla="*/ 160020 h 269557"/>
                  <a:gd name="connsiteX164" fmla="*/ 187642 w 349567"/>
                  <a:gd name="connsiteY164" fmla="*/ 159067 h 269557"/>
                  <a:gd name="connsiteX165" fmla="*/ 191453 w 349567"/>
                  <a:gd name="connsiteY165" fmla="*/ 154305 h 269557"/>
                  <a:gd name="connsiteX166" fmla="*/ 192405 w 349567"/>
                  <a:gd name="connsiteY166" fmla="*/ 156210 h 269557"/>
                  <a:gd name="connsiteX167" fmla="*/ 216217 w 349567"/>
                  <a:gd name="connsiteY167" fmla="*/ 232410 h 269557"/>
                  <a:gd name="connsiteX168" fmla="*/ 215265 w 349567"/>
                  <a:gd name="connsiteY168" fmla="*/ 234315 h 269557"/>
                  <a:gd name="connsiteX169" fmla="*/ 216217 w 349567"/>
                  <a:gd name="connsiteY169" fmla="*/ 235267 h 269557"/>
                  <a:gd name="connsiteX170" fmla="*/ 212408 w 349567"/>
                  <a:gd name="connsiteY170" fmla="*/ 238125 h 269557"/>
                  <a:gd name="connsiteX171" fmla="*/ 211455 w 349567"/>
                  <a:gd name="connsiteY171" fmla="*/ 238125 h 269557"/>
                  <a:gd name="connsiteX172" fmla="*/ 209550 w 349567"/>
                  <a:gd name="connsiteY172" fmla="*/ 240030 h 269557"/>
                  <a:gd name="connsiteX173" fmla="*/ 206692 w 349567"/>
                  <a:gd name="connsiteY173" fmla="*/ 239078 h 269557"/>
                  <a:gd name="connsiteX174" fmla="*/ 210503 w 349567"/>
                  <a:gd name="connsiteY174" fmla="*/ 235267 h 269557"/>
                  <a:gd name="connsiteX175" fmla="*/ 212408 w 349567"/>
                  <a:gd name="connsiteY175" fmla="*/ 233363 h 269557"/>
                  <a:gd name="connsiteX176" fmla="*/ 213360 w 349567"/>
                  <a:gd name="connsiteY176" fmla="*/ 232410 h 269557"/>
                  <a:gd name="connsiteX177" fmla="*/ 216217 w 349567"/>
                  <a:gd name="connsiteY177" fmla="*/ 232410 h 269557"/>
                  <a:gd name="connsiteX178" fmla="*/ 206692 w 349567"/>
                  <a:gd name="connsiteY178" fmla="*/ 228600 h 269557"/>
                  <a:gd name="connsiteX179" fmla="*/ 206692 w 349567"/>
                  <a:gd name="connsiteY179" fmla="*/ 228600 h 269557"/>
                  <a:gd name="connsiteX180" fmla="*/ 200978 w 349567"/>
                  <a:gd name="connsiteY180" fmla="*/ 232410 h 269557"/>
                  <a:gd name="connsiteX181" fmla="*/ 194310 w 349567"/>
                  <a:gd name="connsiteY181" fmla="*/ 235267 h 269557"/>
                  <a:gd name="connsiteX182" fmla="*/ 194310 w 349567"/>
                  <a:gd name="connsiteY182" fmla="*/ 235267 h 269557"/>
                  <a:gd name="connsiteX183" fmla="*/ 193358 w 349567"/>
                  <a:gd name="connsiteY183" fmla="*/ 235267 h 269557"/>
                  <a:gd name="connsiteX184" fmla="*/ 188595 w 349567"/>
                  <a:gd name="connsiteY184" fmla="*/ 239078 h 269557"/>
                  <a:gd name="connsiteX185" fmla="*/ 187642 w 349567"/>
                  <a:gd name="connsiteY185" fmla="*/ 240030 h 269557"/>
                  <a:gd name="connsiteX186" fmla="*/ 187642 w 349567"/>
                  <a:gd name="connsiteY186" fmla="*/ 240030 h 269557"/>
                  <a:gd name="connsiteX187" fmla="*/ 187642 w 349567"/>
                  <a:gd name="connsiteY187" fmla="*/ 240030 h 269557"/>
                  <a:gd name="connsiteX188" fmla="*/ 186690 w 349567"/>
                  <a:gd name="connsiteY188" fmla="*/ 240983 h 269557"/>
                  <a:gd name="connsiteX189" fmla="*/ 186690 w 349567"/>
                  <a:gd name="connsiteY189" fmla="*/ 240983 h 269557"/>
                  <a:gd name="connsiteX190" fmla="*/ 186690 w 349567"/>
                  <a:gd name="connsiteY190" fmla="*/ 240983 h 269557"/>
                  <a:gd name="connsiteX191" fmla="*/ 185738 w 349567"/>
                  <a:gd name="connsiteY191" fmla="*/ 241935 h 269557"/>
                  <a:gd name="connsiteX192" fmla="*/ 184785 w 349567"/>
                  <a:gd name="connsiteY192" fmla="*/ 242888 h 269557"/>
                  <a:gd name="connsiteX193" fmla="*/ 183833 w 349567"/>
                  <a:gd name="connsiteY193" fmla="*/ 242888 h 269557"/>
                  <a:gd name="connsiteX194" fmla="*/ 183833 w 349567"/>
                  <a:gd name="connsiteY194" fmla="*/ 242888 h 269557"/>
                  <a:gd name="connsiteX195" fmla="*/ 182880 w 349567"/>
                  <a:gd name="connsiteY195" fmla="*/ 242888 h 269557"/>
                  <a:gd name="connsiteX196" fmla="*/ 181928 w 349567"/>
                  <a:gd name="connsiteY196" fmla="*/ 242888 h 269557"/>
                  <a:gd name="connsiteX197" fmla="*/ 181928 w 349567"/>
                  <a:gd name="connsiteY197" fmla="*/ 242888 h 269557"/>
                  <a:gd name="connsiteX198" fmla="*/ 181928 w 349567"/>
                  <a:gd name="connsiteY198" fmla="*/ 242888 h 269557"/>
                  <a:gd name="connsiteX199" fmla="*/ 180023 w 349567"/>
                  <a:gd name="connsiteY199" fmla="*/ 244792 h 269557"/>
                  <a:gd name="connsiteX200" fmla="*/ 177165 w 349567"/>
                  <a:gd name="connsiteY200" fmla="*/ 247650 h 269557"/>
                  <a:gd name="connsiteX201" fmla="*/ 177165 w 349567"/>
                  <a:gd name="connsiteY201" fmla="*/ 247650 h 269557"/>
                  <a:gd name="connsiteX202" fmla="*/ 177165 w 349567"/>
                  <a:gd name="connsiteY202" fmla="*/ 247650 h 269557"/>
                  <a:gd name="connsiteX203" fmla="*/ 177165 w 349567"/>
                  <a:gd name="connsiteY203" fmla="*/ 247650 h 269557"/>
                  <a:gd name="connsiteX204" fmla="*/ 177165 w 349567"/>
                  <a:gd name="connsiteY204" fmla="*/ 247650 h 269557"/>
                  <a:gd name="connsiteX205" fmla="*/ 177165 w 349567"/>
                  <a:gd name="connsiteY205" fmla="*/ 247650 h 269557"/>
                  <a:gd name="connsiteX206" fmla="*/ 177165 w 349567"/>
                  <a:gd name="connsiteY206" fmla="*/ 248603 h 269557"/>
                  <a:gd name="connsiteX207" fmla="*/ 177165 w 349567"/>
                  <a:gd name="connsiteY207" fmla="*/ 248603 h 269557"/>
                  <a:gd name="connsiteX208" fmla="*/ 177165 w 349567"/>
                  <a:gd name="connsiteY208" fmla="*/ 248603 h 269557"/>
                  <a:gd name="connsiteX209" fmla="*/ 177165 w 349567"/>
                  <a:gd name="connsiteY209" fmla="*/ 248603 h 269557"/>
                  <a:gd name="connsiteX210" fmla="*/ 177165 w 349567"/>
                  <a:gd name="connsiteY210" fmla="*/ 248603 h 269557"/>
                  <a:gd name="connsiteX211" fmla="*/ 177165 w 349567"/>
                  <a:gd name="connsiteY211" fmla="*/ 247650 h 269557"/>
                  <a:gd name="connsiteX212" fmla="*/ 177165 w 349567"/>
                  <a:gd name="connsiteY212" fmla="*/ 247650 h 269557"/>
                  <a:gd name="connsiteX213" fmla="*/ 177165 w 349567"/>
                  <a:gd name="connsiteY213" fmla="*/ 247650 h 269557"/>
                  <a:gd name="connsiteX214" fmla="*/ 179070 w 349567"/>
                  <a:gd name="connsiteY214" fmla="*/ 245745 h 269557"/>
                  <a:gd name="connsiteX215" fmla="*/ 179070 w 349567"/>
                  <a:gd name="connsiteY215" fmla="*/ 245745 h 269557"/>
                  <a:gd name="connsiteX216" fmla="*/ 180023 w 349567"/>
                  <a:gd name="connsiteY216" fmla="*/ 244792 h 269557"/>
                  <a:gd name="connsiteX217" fmla="*/ 180975 w 349567"/>
                  <a:gd name="connsiteY217" fmla="*/ 243840 h 269557"/>
                  <a:gd name="connsiteX218" fmla="*/ 180975 w 349567"/>
                  <a:gd name="connsiteY218" fmla="*/ 243840 h 269557"/>
                  <a:gd name="connsiteX219" fmla="*/ 182880 w 349567"/>
                  <a:gd name="connsiteY219" fmla="*/ 241935 h 269557"/>
                  <a:gd name="connsiteX220" fmla="*/ 182880 w 349567"/>
                  <a:gd name="connsiteY220" fmla="*/ 241935 h 269557"/>
                  <a:gd name="connsiteX221" fmla="*/ 182880 w 349567"/>
                  <a:gd name="connsiteY221" fmla="*/ 241935 h 269557"/>
                  <a:gd name="connsiteX222" fmla="*/ 183833 w 349567"/>
                  <a:gd name="connsiteY222" fmla="*/ 240983 h 269557"/>
                  <a:gd name="connsiteX223" fmla="*/ 184785 w 349567"/>
                  <a:gd name="connsiteY223" fmla="*/ 240030 h 269557"/>
                  <a:gd name="connsiteX224" fmla="*/ 184785 w 349567"/>
                  <a:gd name="connsiteY224" fmla="*/ 240030 h 269557"/>
                  <a:gd name="connsiteX225" fmla="*/ 184785 w 349567"/>
                  <a:gd name="connsiteY225" fmla="*/ 240030 h 269557"/>
                  <a:gd name="connsiteX226" fmla="*/ 184785 w 349567"/>
                  <a:gd name="connsiteY226" fmla="*/ 240030 h 269557"/>
                  <a:gd name="connsiteX227" fmla="*/ 185738 w 349567"/>
                  <a:gd name="connsiteY227" fmla="*/ 239078 h 269557"/>
                  <a:gd name="connsiteX228" fmla="*/ 185738 w 349567"/>
                  <a:gd name="connsiteY228" fmla="*/ 239078 h 269557"/>
                  <a:gd name="connsiteX229" fmla="*/ 185738 w 349567"/>
                  <a:gd name="connsiteY229" fmla="*/ 239078 h 269557"/>
                  <a:gd name="connsiteX230" fmla="*/ 185738 w 349567"/>
                  <a:gd name="connsiteY230" fmla="*/ 238125 h 269557"/>
                  <a:gd name="connsiteX231" fmla="*/ 185738 w 349567"/>
                  <a:gd name="connsiteY231" fmla="*/ 238125 h 269557"/>
                  <a:gd name="connsiteX232" fmla="*/ 185738 w 349567"/>
                  <a:gd name="connsiteY232" fmla="*/ 237173 h 269557"/>
                  <a:gd name="connsiteX233" fmla="*/ 185738 w 349567"/>
                  <a:gd name="connsiteY233" fmla="*/ 237173 h 269557"/>
                  <a:gd name="connsiteX234" fmla="*/ 187642 w 349567"/>
                  <a:gd name="connsiteY234" fmla="*/ 234315 h 269557"/>
                  <a:gd name="connsiteX235" fmla="*/ 187642 w 349567"/>
                  <a:gd name="connsiteY235" fmla="*/ 234315 h 269557"/>
                  <a:gd name="connsiteX236" fmla="*/ 185738 w 349567"/>
                  <a:gd name="connsiteY236" fmla="*/ 236220 h 269557"/>
                  <a:gd name="connsiteX237" fmla="*/ 184785 w 349567"/>
                  <a:gd name="connsiteY237" fmla="*/ 235267 h 269557"/>
                  <a:gd name="connsiteX238" fmla="*/ 185738 w 349567"/>
                  <a:gd name="connsiteY238" fmla="*/ 234315 h 269557"/>
                  <a:gd name="connsiteX239" fmla="*/ 185738 w 349567"/>
                  <a:gd name="connsiteY239" fmla="*/ 234315 h 269557"/>
                  <a:gd name="connsiteX240" fmla="*/ 188595 w 349567"/>
                  <a:gd name="connsiteY240" fmla="*/ 231458 h 269557"/>
                  <a:gd name="connsiteX241" fmla="*/ 190500 w 349567"/>
                  <a:gd name="connsiteY241" fmla="*/ 230505 h 269557"/>
                  <a:gd name="connsiteX242" fmla="*/ 190500 w 349567"/>
                  <a:gd name="connsiteY242" fmla="*/ 230505 h 269557"/>
                  <a:gd name="connsiteX243" fmla="*/ 191453 w 349567"/>
                  <a:gd name="connsiteY243" fmla="*/ 229553 h 269557"/>
                  <a:gd name="connsiteX244" fmla="*/ 191453 w 349567"/>
                  <a:gd name="connsiteY244" fmla="*/ 229553 h 269557"/>
                  <a:gd name="connsiteX245" fmla="*/ 211455 w 349567"/>
                  <a:gd name="connsiteY245" fmla="*/ 221933 h 269557"/>
                  <a:gd name="connsiteX246" fmla="*/ 220028 w 349567"/>
                  <a:gd name="connsiteY246" fmla="*/ 221933 h 269557"/>
                  <a:gd name="connsiteX247" fmla="*/ 224790 w 349567"/>
                  <a:gd name="connsiteY247" fmla="*/ 222885 h 269557"/>
                  <a:gd name="connsiteX248" fmla="*/ 206692 w 349567"/>
                  <a:gd name="connsiteY248" fmla="*/ 228600 h 269557"/>
                  <a:gd name="connsiteX249" fmla="*/ 217170 w 349567"/>
                  <a:gd name="connsiteY249" fmla="*/ 193358 h 269557"/>
                  <a:gd name="connsiteX250" fmla="*/ 219075 w 349567"/>
                  <a:gd name="connsiteY250" fmla="*/ 192405 h 269557"/>
                  <a:gd name="connsiteX251" fmla="*/ 215265 w 349567"/>
                  <a:gd name="connsiteY251" fmla="*/ 192405 h 269557"/>
                  <a:gd name="connsiteX252" fmla="*/ 214313 w 349567"/>
                  <a:gd name="connsiteY252" fmla="*/ 191453 h 269557"/>
                  <a:gd name="connsiteX253" fmla="*/ 205740 w 349567"/>
                  <a:gd name="connsiteY253" fmla="*/ 193358 h 269557"/>
                  <a:gd name="connsiteX254" fmla="*/ 195263 w 349567"/>
                  <a:gd name="connsiteY254" fmla="*/ 198120 h 269557"/>
                  <a:gd name="connsiteX255" fmla="*/ 179070 w 349567"/>
                  <a:gd name="connsiteY255" fmla="*/ 206692 h 269557"/>
                  <a:gd name="connsiteX256" fmla="*/ 178117 w 349567"/>
                  <a:gd name="connsiteY256" fmla="*/ 205740 h 269557"/>
                  <a:gd name="connsiteX257" fmla="*/ 181928 w 349567"/>
                  <a:gd name="connsiteY257" fmla="*/ 201930 h 269557"/>
                  <a:gd name="connsiteX258" fmla="*/ 180975 w 349567"/>
                  <a:gd name="connsiteY258" fmla="*/ 200978 h 269557"/>
                  <a:gd name="connsiteX259" fmla="*/ 196215 w 349567"/>
                  <a:gd name="connsiteY259" fmla="*/ 187642 h 269557"/>
                  <a:gd name="connsiteX260" fmla="*/ 196215 w 349567"/>
                  <a:gd name="connsiteY260" fmla="*/ 185738 h 269557"/>
                  <a:gd name="connsiteX261" fmla="*/ 200978 w 349567"/>
                  <a:gd name="connsiteY261" fmla="*/ 180023 h 269557"/>
                  <a:gd name="connsiteX262" fmla="*/ 205740 w 349567"/>
                  <a:gd name="connsiteY262" fmla="*/ 175260 h 269557"/>
                  <a:gd name="connsiteX263" fmla="*/ 203835 w 349567"/>
                  <a:gd name="connsiteY263" fmla="*/ 173355 h 269557"/>
                  <a:gd name="connsiteX264" fmla="*/ 198120 w 349567"/>
                  <a:gd name="connsiteY264" fmla="*/ 172403 h 269557"/>
                  <a:gd name="connsiteX265" fmla="*/ 200978 w 349567"/>
                  <a:gd name="connsiteY265" fmla="*/ 170498 h 269557"/>
                  <a:gd name="connsiteX266" fmla="*/ 200025 w 349567"/>
                  <a:gd name="connsiteY266" fmla="*/ 169545 h 269557"/>
                  <a:gd name="connsiteX267" fmla="*/ 202883 w 349567"/>
                  <a:gd name="connsiteY267" fmla="*/ 166688 h 269557"/>
                  <a:gd name="connsiteX268" fmla="*/ 208598 w 349567"/>
                  <a:gd name="connsiteY268" fmla="*/ 164783 h 269557"/>
                  <a:gd name="connsiteX269" fmla="*/ 197167 w 349567"/>
                  <a:gd name="connsiteY269" fmla="*/ 163830 h 269557"/>
                  <a:gd name="connsiteX270" fmla="*/ 209550 w 349567"/>
                  <a:gd name="connsiteY270" fmla="*/ 148590 h 269557"/>
                  <a:gd name="connsiteX271" fmla="*/ 211455 w 349567"/>
                  <a:gd name="connsiteY271" fmla="*/ 149542 h 269557"/>
                  <a:gd name="connsiteX272" fmla="*/ 207645 w 349567"/>
                  <a:gd name="connsiteY272" fmla="*/ 154305 h 269557"/>
                  <a:gd name="connsiteX273" fmla="*/ 220028 w 349567"/>
                  <a:gd name="connsiteY273" fmla="*/ 157163 h 269557"/>
                  <a:gd name="connsiteX274" fmla="*/ 218123 w 349567"/>
                  <a:gd name="connsiteY274" fmla="*/ 158115 h 269557"/>
                  <a:gd name="connsiteX275" fmla="*/ 226695 w 349567"/>
                  <a:gd name="connsiteY275" fmla="*/ 160973 h 269557"/>
                  <a:gd name="connsiteX276" fmla="*/ 221933 w 349567"/>
                  <a:gd name="connsiteY276" fmla="*/ 160973 h 269557"/>
                  <a:gd name="connsiteX277" fmla="*/ 267653 w 349567"/>
                  <a:gd name="connsiteY277" fmla="*/ 179070 h 269557"/>
                  <a:gd name="connsiteX278" fmla="*/ 232410 w 349567"/>
                  <a:gd name="connsiteY278" fmla="*/ 189548 h 269557"/>
                  <a:gd name="connsiteX279" fmla="*/ 228600 w 349567"/>
                  <a:gd name="connsiteY279" fmla="*/ 188595 h 269557"/>
                  <a:gd name="connsiteX280" fmla="*/ 227648 w 349567"/>
                  <a:gd name="connsiteY280" fmla="*/ 190500 h 269557"/>
                  <a:gd name="connsiteX281" fmla="*/ 222885 w 349567"/>
                  <a:gd name="connsiteY281" fmla="*/ 191453 h 269557"/>
                  <a:gd name="connsiteX282" fmla="*/ 217170 w 349567"/>
                  <a:gd name="connsiteY282" fmla="*/ 193358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</a:cxnLst>
                <a:rect l="l" t="t" r="r" b="b"/>
                <a:pathLst>
                  <a:path w="349567" h="269557">
                    <a:moveTo>
                      <a:pt x="306705" y="237173"/>
                    </a:moveTo>
                    <a:cubicBezTo>
                      <a:pt x="309563" y="234315"/>
                      <a:pt x="312420" y="231458"/>
                      <a:pt x="315278" y="227648"/>
                    </a:cubicBezTo>
                    <a:lnTo>
                      <a:pt x="315278" y="227648"/>
                    </a:lnTo>
                    <a:cubicBezTo>
                      <a:pt x="320993" y="221933"/>
                      <a:pt x="325755" y="215265"/>
                      <a:pt x="332423" y="210503"/>
                    </a:cubicBezTo>
                    <a:cubicBezTo>
                      <a:pt x="334328" y="208598"/>
                      <a:pt x="336233" y="207645"/>
                      <a:pt x="338138" y="205740"/>
                    </a:cubicBezTo>
                    <a:cubicBezTo>
                      <a:pt x="339090" y="204788"/>
                      <a:pt x="339090" y="203835"/>
                      <a:pt x="339090" y="203835"/>
                    </a:cubicBezTo>
                    <a:cubicBezTo>
                      <a:pt x="336233" y="204788"/>
                      <a:pt x="335280" y="206692"/>
                      <a:pt x="332423" y="207645"/>
                    </a:cubicBezTo>
                    <a:cubicBezTo>
                      <a:pt x="331470" y="207645"/>
                      <a:pt x="331470" y="206692"/>
                      <a:pt x="331470" y="206692"/>
                    </a:cubicBezTo>
                    <a:cubicBezTo>
                      <a:pt x="333375" y="205740"/>
                      <a:pt x="335280" y="203835"/>
                      <a:pt x="337185" y="202883"/>
                    </a:cubicBezTo>
                    <a:cubicBezTo>
                      <a:pt x="337185" y="202883"/>
                      <a:pt x="337185" y="202883"/>
                      <a:pt x="337185" y="202883"/>
                    </a:cubicBezTo>
                    <a:cubicBezTo>
                      <a:pt x="336233" y="202883"/>
                      <a:pt x="336233" y="201930"/>
                      <a:pt x="336233" y="201930"/>
                    </a:cubicBezTo>
                    <a:cubicBezTo>
                      <a:pt x="329565" y="201930"/>
                      <a:pt x="324803" y="205740"/>
                      <a:pt x="320040" y="210503"/>
                    </a:cubicBezTo>
                    <a:cubicBezTo>
                      <a:pt x="319088" y="211455"/>
                      <a:pt x="318135" y="209550"/>
                      <a:pt x="317183" y="209550"/>
                    </a:cubicBezTo>
                    <a:cubicBezTo>
                      <a:pt x="309563" y="212408"/>
                      <a:pt x="303848" y="219075"/>
                      <a:pt x="296228" y="221933"/>
                    </a:cubicBezTo>
                    <a:lnTo>
                      <a:pt x="296228" y="220980"/>
                    </a:lnTo>
                    <a:cubicBezTo>
                      <a:pt x="293370" y="221933"/>
                      <a:pt x="290513" y="223838"/>
                      <a:pt x="286703" y="224790"/>
                    </a:cubicBezTo>
                    <a:cubicBezTo>
                      <a:pt x="281940" y="225742"/>
                      <a:pt x="278130" y="225742"/>
                      <a:pt x="274320" y="225742"/>
                    </a:cubicBezTo>
                    <a:cubicBezTo>
                      <a:pt x="268605" y="226695"/>
                      <a:pt x="261938" y="227648"/>
                      <a:pt x="256223" y="228600"/>
                    </a:cubicBezTo>
                    <a:cubicBezTo>
                      <a:pt x="256223" y="228600"/>
                      <a:pt x="256223" y="228600"/>
                      <a:pt x="255270" y="228600"/>
                    </a:cubicBezTo>
                    <a:cubicBezTo>
                      <a:pt x="252413" y="229553"/>
                      <a:pt x="248603" y="230505"/>
                      <a:pt x="245745" y="232410"/>
                    </a:cubicBezTo>
                    <a:cubicBezTo>
                      <a:pt x="245745" y="232410"/>
                      <a:pt x="245745" y="232410"/>
                      <a:pt x="245745" y="232410"/>
                    </a:cubicBezTo>
                    <a:cubicBezTo>
                      <a:pt x="245745" y="232410"/>
                      <a:pt x="244792" y="233363"/>
                      <a:pt x="244792" y="233363"/>
                    </a:cubicBezTo>
                    <a:cubicBezTo>
                      <a:pt x="243840" y="234315"/>
                      <a:pt x="242888" y="235267"/>
                      <a:pt x="240983" y="236220"/>
                    </a:cubicBezTo>
                    <a:cubicBezTo>
                      <a:pt x="238125" y="238125"/>
                      <a:pt x="235267" y="240983"/>
                      <a:pt x="232410" y="242888"/>
                    </a:cubicBezTo>
                    <a:cubicBezTo>
                      <a:pt x="232410" y="242888"/>
                      <a:pt x="231458" y="242888"/>
                      <a:pt x="231458" y="242888"/>
                    </a:cubicBezTo>
                    <a:cubicBezTo>
                      <a:pt x="228600" y="245745"/>
                      <a:pt x="225742" y="248603"/>
                      <a:pt x="222885" y="250508"/>
                    </a:cubicBezTo>
                    <a:cubicBezTo>
                      <a:pt x="222885" y="250508"/>
                      <a:pt x="221933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49555"/>
                    </a:cubicBezTo>
                    <a:cubicBezTo>
                      <a:pt x="220980" y="248603"/>
                      <a:pt x="221933" y="247650"/>
                      <a:pt x="221933" y="247650"/>
                    </a:cubicBezTo>
                    <a:cubicBezTo>
                      <a:pt x="222885" y="246698"/>
                      <a:pt x="222885" y="245745"/>
                      <a:pt x="223838" y="245745"/>
                    </a:cubicBezTo>
                    <a:cubicBezTo>
                      <a:pt x="224790" y="244792"/>
                      <a:pt x="224790" y="243840"/>
                      <a:pt x="225742" y="242888"/>
                    </a:cubicBezTo>
                    <a:cubicBezTo>
                      <a:pt x="225742" y="242888"/>
                      <a:pt x="225742" y="241935"/>
                      <a:pt x="225742" y="241935"/>
                    </a:cubicBezTo>
                    <a:cubicBezTo>
                      <a:pt x="225742" y="241935"/>
                      <a:pt x="225742" y="241935"/>
                      <a:pt x="224790" y="241935"/>
                    </a:cubicBezTo>
                    <a:cubicBezTo>
                      <a:pt x="227648" y="239078"/>
                      <a:pt x="230505" y="237173"/>
                      <a:pt x="233363" y="235267"/>
                    </a:cubicBezTo>
                    <a:lnTo>
                      <a:pt x="233363" y="235267"/>
                    </a:lnTo>
                    <a:cubicBezTo>
                      <a:pt x="233363" y="235267"/>
                      <a:pt x="232410" y="235267"/>
                      <a:pt x="232410" y="234315"/>
                    </a:cubicBezTo>
                    <a:cubicBezTo>
                      <a:pt x="232410" y="234315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4315" y="233363"/>
                      <a:pt x="233363" y="234315"/>
                      <a:pt x="233363" y="234315"/>
                    </a:cubicBezTo>
                    <a:cubicBezTo>
                      <a:pt x="232410" y="235267"/>
                      <a:pt x="231458" y="238125"/>
                      <a:pt x="229553" y="237173"/>
                    </a:cubicBezTo>
                    <a:cubicBezTo>
                      <a:pt x="229553" y="237173"/>
                      <a:pt x="228600" y="237173"/>
                      <a:pt x="228600" y="237173"/>
                    </a:cubicBezTo>
                    <a:cubicBezTo>
                      <a:pt x="228600" y="237173"/>
                      <a:pt x="228600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6220"/>
                    </a:cubicBezTo>
                    <a:cubicBezTo>
                      <a:pt x="227648" y="236220"/>
                      <a:pt x="227648" y="236220"/>
                      <a:pt x="227648" y="236220"/>
                    </a:cubicBezTo>
                    <a:cubicBezTo>
                      <a:pt x="227648" y="236220"/>
                      <a:pt x="227648" y="235267"/>
                      <a:pt x="228600" y="235267"/>
                    </a:cubicBezTo>
                    <a:cubicBezTo>
                      <a:pt x="228600" y="235267"/>
                      <a:pt x="228600" y="235267"/>
                      <a:pt x="228600" y="234315"/>
                    </a:cubicBezTo>
                    <a:cubicBezTo>
                      <a:pt x="228600" y="234315"/>
                      <a:pt x="228600" y="233363"/>
                      <a:pt x="229553" y="233363"/>
                    </a:cubicBezTo>
                    <a:cubicBezTo>
                      <a:pt x="229553" y="233363"/>
                      <a:pt x="229553" y="232410"/>
                      <a:pt x="229553" y="232410"/>
                    </a:cubicBezTo>
                    <a:cubicBezTo>
                      <a:pt x="230505" y="231458"/>
                      <a:pt x="231458" y="230505"/>
                      <a:pt x="233363" y="229553"/>
                    </a:cubicBezTo>
                    <a:lnTo>
                      <a:pt x="233363" y="229553"/>
                    </a:lnTo>
                    <a:cubicBezTo>
                      <a:pt x="235267" y="228600"/>
                      <a:pt x="237173" y="227648"/>
                      <a:pt x="239078" y="226695"/>
                    </a:cubicBezTo>
                    <a:cubicBezTo>
                      <a:pt x="239078" y="226695"/>
                      <a:pt x="240030" y="225742"/>
                      <a:pt x="240030" y="225742"/>
                    </a:cubicBezTo>
                    <a:cubicBezTo>
                      <a:pt x="237173" y="226695"/>
                      <a:pt x="234315" y="227648"/>
                      <a:pt x="231458" y="229553"/>
                    </a:cubicBezTo>
                    <a:cubicBezTo>
                      <a:pt x="231458" y="229553"/>
                      <a:pt x="230505" y="229553"/>
                      <a:pt x="230505" y="229553"/>
                    </a:cubicBezTo>
                    <a:cubicBezTo>
                      <a:pt x="230505" y="229553"/>
                      <a:pt x="229553" y="229553"/>
                      <a:pt x="229553" y="229553"/>
                    </a:cubicBezTo>
                    <a:cubicBezTo>
                      <a:pt x="229553" y="229553"/>
                      <a:pt x="229553" y="229553"/>
                      <a:pt x="229553" y="229553"/>
                    </a:cubicBezTo>
                    <a:cubicBezTo>
                      <a:pt x="230505" y="228600"/>
                      <a:pt x="231458" y="227648"/>
                      <a:pt x="232410" y="226695"/>
                    </a:cubicBezTo>
                    <a:cubicBezTo>
                      <a:pt x="233363" y="226695"/>
                      <a:pt x="233363" y="226695"/>
                      <a:pt x="233363" y="227648"/>
                    </a:cubicBezTo>
                    <a:cubicBezTo>
                      <a:pt x="249555" y="215265"/>
                      <a:pt x="272415" y="218123"/>
                      <a:pt x="291465" y="211455"/>
                    </a:cubicBezTo>
                    <a:cubicBezTo>
                      <a:pt x="293370" y="210503"/>
                      <a:pt x="294323" y="209550"/>
                      <a:pt x="296228" y="208598"/>
                    </a:cubicBezTo>
                    <a:cubicBezTo>
                      <a:pt x="299085" y="207645"/>
                      <a:pt x="300990" y="204788"/>
                      <a:pt x="303848" y="203835"/>
                    </a:cubicBezTo>
                    <a:cubicBezTo>
                      <a:pt x="307658" y="200978"/>
                      <a:pt x="310515" y="197167"/>
                      <a:pt x="312420" y="192405"/>
                    </a:cubicBezTo>
                    <a:cubicBezTo>
                      <a:pt x="312420" y="191453"/>
                      <a:pt x="311468" y="191453"/>
                      <a:pt x="311468" y="191453"/>
                    </a:cubicBezTo>
                    <a:cubicBezTo>
                      <a:pt x="304800" y="199073"/>
                      <a:pt x="297180" y="203835"/>
                      <a:pt x="288608" y="208598"/>
                    </a:cubicBezTo>
                    <a:cubicBezTo>
                      <a:pt x="278130" y="214313"/>
                      <a:pt x="265748" y="213360"/>
                      <a:pt x="255270" y="214313"/>
                    </a:cubicBezTo>
                    <a:cubicBezTo>
                      <a:pt x="256223" y="213360"/>
                      <a:pt x="257175" y="213360"/>
                      <a:pt x="258128" y="213360"/>
                    </a:cubicBezTo>
                    <a:cubicBezTo>
                      <a:pt x="258128" y="211455"/>
                      <a:pt x="259080" y="211455"/>
                      <a:pt x="260033" y="210503"/>
                    </a:cubicBezTo>
                    <a:lnTo>
                      <a:pt x="261938" y="210503"/>
                    </a:lnTo>
                    <a:cubicBezTo>
                      <a:pt x="262890" y="210503"/>
                      <a:pt x="262890" y="209550"/>
                      <a:pt x="262890" y="209550"/>
                    </a:cubicBezTo>
                    <a:cubicBezTo>
                      <a:pt x="263843" y="209550"/>
                      <a:pt x="265748" y="208598"/>
                      <a:pt x="264795" y="208598"/>
                    </a:cubicBezTo>
                    <a:cubicBezTo>
                      <a:pt x="262890" y="206692"/>
                      <a:pt x="260033" y="210503"/>
                      <a:pt x="257175" y="208598"/>
                    </a:cubicBezTo>
                    <a:cubicBezTo>
                      <a:pt x="258128" y="207645"/>
                      <a:pt x="258128" y="205740"/>
                      <a:pt x="259080" y="205740"/>
                    </a:cubicBezTo>
                    <a:lnTo>
                      <a:pt x="260985" y="205740"/>
                    </a:lnTo>
                    <a:cubicBezTo>
                      <a:pt x="260985" y="204788"/>
                      <a:pt x="261938" y="203835"/>
                      <a:pt x="261938" y="203835"/>
                    </a:cubicBezTo>
                    <a:cubicBezTo>
                      <a:pt x="269558" y="199073"/>
                      <a:pt x="277178" y="195263"/>
                      <a:pt x="283845" y="191453"/>
                    </a:cubicBezTo>
                    <a:cubicBezTo>
                      <a:pt x="281940" y="191453"/>
                      <a:pt x="280988" y="193358"/>
                      <a:pt x="280035" y="192405"/>
                    </a:cubicBezTo>
                    <a:cubicBezTo>
                      <a:pt x="280988" y="192405"/>
                      <a:pt x="280035" y="190500"/>
                      <a:pt x="280988" y="190500"/>
                    </a:cubicBezTo>
                    <a:cubicBezTo>
                      <a:pt x="286703" y="188595"/>
                      <a:pt x="291465" y="185738"/>
                      <a:pt x="297180" y="183833"/>
                    </a:cubicBezTo>
                    <a:cubicBezTo>
                      <a:pt x="295275" y="183833"/>
                      <a:pt x="293370" y="185738"/>
                      <a:pt x="291465" y="183833"/>
                    </a:cubicBezTo>
                    <a:cubicBezTo>
                      <a:pt x="292418" y="182880"/>
                      <a:pt x="293370" y="181928"/>
                      <a:pt x="294323" y="181928"/>
                    </a:cubicBezTo>
                    <a:lnTo>
                      <a:pt x="294323" y="180023"/>
                    </a:lnTo>
                    <a:cubicBezTo>
                      <a:pt x="294323" y="179070"/>
                      <a:pt x="295275" y="179070"/>
                      <a:pt x="295275" y="179070"/>
                    </a:cubicBezTo>
                    <a:cubicBezTo>
                      <a:pt x="294323" y="179070"/>
                      <a:pt x="294323" y="178117"/>
                      <a:pt x="294323" y="178117"/>
                    </a:cubicBezTo>
                    <a:cubicBezTo>
                      <a:pt x="295275" y="177165"/>
                      <a:pt x="296228" y="177165"/>
                      <a:pt x="297180" y="176213"/>
                    </a:cubicBezTo>
                    <a:cubicBezTo>
                      <a:pt x="296228" y="176213"/>
                      <a:pt x="295275" y="176213"/>
                      <a:pt x="295275" y="175260"/>
                    </a:cubicBezTo>
                    <a:cubicBezTo>
                      <a:pt x="297180" y="173355"/>
                      <a:pt x="299085" y="172403"/>
                      <a:pt x="301943" y="172403"/>
                    </a:cubicBezTo>
                    <a:cubicBezTo>
                      <a:pt x="300990" y="171450"/>
                      <a:pt x="300038" y="172403"/>
                      <a:pt x="300038" y="171450"/>
                    </a:cubicBezTo>
                    <a:cubicBezTo>
                      <a:pt x="300038" y="170498"/>
                      <a:pt x="300990" y="170498"/>
                      <a:pt x="300990" y="170498"/>
                    </a:cubicBezTo>
                    <a:lnTo>
                      <a:pt x="300990" y="170498"/>
                    </a:lnTo>
                    <a:cubicBezTo>
                      <a:pt x="300038" y="169545"/>
                      <a:pt x="300038" y="168592"/>
                      <a:pt x="300038" y="168592"/>
                    </a:cubicBezTo>
                    <a:cubicBezTo>
                      <a:pt x="302895" y="164783"/>
                      <a:pt x="302895" y="160020"/>
                      <a:pt x="304800" y="156210"/>
                    </a:cubicBezTo>
                    <a:cubicBezTo>
                      <a:pt x="303848" y="156210"/>
                      <a:pt x="303848" y="156210"/>
                      <a:pt x="303848" y="155258"/>
                    </a:cubicBezTo>
                    <a:cubicBezTo>
                      <a:pt x="299085" y="160973"/>
                      <a:pt x="290513" y="162878"/>
                      <a:pt x="282893" y="164783"/>
                    </a:cubicBezTo>
                    <a:lnTo>
                      <a:pt x="280035" y="164783"/>
                    </a:lnTo>
                    <a:cubicBezTo>
                      <a:pt x="277178" y="165735"/>
                      <a:pt x="274320" y="165735"/>
                      <a:pt x="271463" y="163830"/>
                    </a:cubicBezTo>
                    <a:cubicBezTo>
                      <a:pt x="269558" y="162878"/>
                      <a:pt x="268605" y="160973"/>
                      <a:pt x="266700" y="160020"/>
                    </a:cubicBezTo>
                    <a:cubicBezTo>
                      <a:pt x="262890" y="157163"/>
                      <a:pt x="258128" y="155258"/>
                      <a:pt x="254317" y="154305"/>
                    </a:cubicBezTo>
                    <a:cubicBezTo>
                      <a:pt x="240983" y="150495"/>
                      <a:pt x="227648" y="148590"/>
                      <a:pt x="215265" y="148590"/>
                    </a:cubicBezTo>
                    <a:cubicBezTo>
                      <a:pt x="220980" y="145733"/>
                      <a:pt x="226695" y="145733"/>
                      <a:pt x="233363" y="143828"/>
                    </a:cubicBezTo>
                    <a:cubicBezTo>
                      <a:pt x="241935" y="140970"/>
                      <a:pt x="250508" y="138113"/>
                      <a:pt x="259080" y="139065"/>
                    </a:cubicBezTo>
                    <a:cubicBezTo>
                      <a:pt x="257175" y="138113"/>
                      <a:pt x="255270" y="139065"/>
                      <a:pt x="254317" y="139065"/>
                    </a:cubicBezTo>
                    <a:cubicBezTo>
                      <a:pt x="246698" y="138113"/>
                      <a:pt x="240030" y="140970"/>
                      <a:pt x="232410" y="141923"/>
                    </a:cubicBezTo>
                    <a:cubicBezTo>
                      <a:pt x="227648" y="142875"/>
                      <a:pt x="222885" y="144780"/>
                      <a:pt x="217170" y="145733"/>
                    </a:cubicBezTo>
                    <a:cubicBezTo>
                      <a:pt x="214313" y="146685"/>
                      <a:pt x="212408" y="149542"/>
                      <a:pt x="208598" y="149542"/>
                    </a:cubicBezTo>
                    <a:lnTo>
                      <a:pt x="208598" y="147638"/>
                    </a:lnTo>
                    <a:cubicBezTo>
                      <a:pt x="213360" y="141923"/>
                      <a:pt x="220028" y="135255"/>
                      <a:pt x="227648" y="135255"/>
                    </a:cubicBezTo>
                    <a:cubicBezTo>
                      <a:pt x="237173" y="133350"/>
                      <a:pt x="245745" y="135255"/>
                      <a:pt x="254317" y="136208"/>
                    </a:cubicBezTo>
                    <a:cubicBezTo>
                      <a:pt x="260985" y="137160"/>
                      <a:pt x="266700" y="138113"/>
                      <a:pt x="273368" y="140017"/>
                    </a:cubicBezTo>
                    <a:cubicBezTo>
                      <a:pt x="276225" y="140017"/>
                      <a:pt x="276225" y="143828"/>
                      <a:pt x="278130" y="144780"/>
                    </a:cubicBezTo>
                    <a:cubicBezTo>
                      <a:pt x="280988" y="145733"/>
                      <a:pt x="283845" y="144780"/>
                      <a:pt x="287655" y="146685"/>
                    </a:cubicBezTo>
                    <a:cubicBezTo>
                      <a:pt x="287655" y="145733"/>
                      <a:pt x="286703" y="144780"/>
                      <a:pt x="287655" y="143828"/>
                    </a:cubicBezTo>
                    <a:cubicBezTo>
                      <a:pt x="289560" y="141923"/>
                      <a:pt x="292418" y="144780"/>
                      <a:pt x="294323" y="142875"/>
                    </a:cubicBezTo>
                    <a:cubicBezTo>
                      <a:pt x="298133" y="140017"/>
                      <a:pt x="290513" y="136208"/>
                      <a:pt x="288608" y="132398"/>
                    </a:cubicBezTo>
                    <a:cubicBezTo>
                      <a:pt x="288608" y="131445"/>
                      <a:pt x="289560" y="131445"/>
                      <a:pt x="289560" y="131445"/>
                    </a:cubicBezTo>
                    <a:cubicBezTo>
                      <a:pt x="293370" y="135255"/>
                      <a:pt x="296228" y="139065"/>
                      <a:pt x="301943" y="141923"/>
                    </a:cubicBezTo>
                    <a:cubicBezTo>
                      <a:pt x="304800" y="142875"/>
                      <a:pt x="310515" y="144780"/>
                      <a:pt x="309563" y="140970"/>
                    </a:cubicBezTo>
                    <a:cubicBezTo>
                      <a:pt x="306705" y="135255"/>
                      <a:pt x="301943" y="130492"/>
                      <a:pt x="298133" y="125730"/>
                    </a:cubicBezTo>
                    <a:lnTo>
                      <a:pt x="298133" y="123825"/>
                    </a:lnTo>
                    <a:cubicBezTo>
                      <a:pt x="297180" y="123825"/>
                      <a:pt x="297180" y="122873"/>
                      <a:pt x="296228" y="122873"/>
                    </a:cubicBezTo>
                    <a:lnTo>
                      <a:pt x="296228" y="120015"/>
                    </a:lnTo>
                    <a:cubicBezTo>
                      <a:pt x="294323" y="119063"/>
                      <a:pt x="294323" y="117158"/>
                      <a:pt x="293370" y="115253"/>
                    </a:cubicBezTo>
                    <a:cubicBezTo>
                      <a:pt x="291465" y="112395"/>
                      <a:pt x="292418" y="109538"/>
                      <a:pt x="291465" y="105728"/>
                    </a:cubicBezTo>
                    <a:cubicBezTo>
                      <a:pt x="291465" y="103823"/>
                      <a:pt x="291465" y="100965"/>
                      <a:pt x="290513" y="98108"/>
                    </a:cubicBezTo>
                    <a:cubicBezTo>
                      <a:pt x="288608" y="89535"/>
                      <a:pt x="286703" y="81915"/>
                      <a:pt x="285750" y="73342"/>
                    </a:cubicBezTo>
                    <a:cubicBezTo>
                      <a:pt x="284798" y="63817"/>
                      <a:pt x="291465" y="56197"/>
                      <a:pt x="296228" y="47625"/>
                    </a:cubicBezTo>
                    <a:cubicBezTo>
                      <a:pt x="300038" y="41910"/>
                      <a:pt x="303848" y="35242"/>
                      <a:pt x="310515" y="31433"/>
                    </a:cubicBezTo>
                    <a:cubicBezTo>
                      <a:pt x="312420" y="25718"/>
                      <a:pt x="316230" y="20003"/>
                      <a:pt x="320040" y="15240"/>
                    </a:cubicBezTo>
                    <a:cubicBezTo>
                      <a:pt x="323850" y="10478"/>
                      <a:pt x="330518" y="7620"/>
                      <a:pt x="336233" y="4763"/>
                    </a:cubicBezTo>
                    <a:cubicBezTo>
                      <a:pt x="342900" y="1905"/>
                      <a:pt x="349568" y="0"/>
                      <a:pt x="349568" y="0"/>
                    </a:cubicBezTo>
                    <a:lnTo>
                      <a:pt x="0" y="0"/>
                    </a:lnTo>
                    <a:lnTo>
                      <a:pt x="0" y="269558"/>
                    </a:lnTo>
                    <a:lnTo>
                      <a:pt x="247650" y="269558"/>
                    </a:lnTo>
                    <a:cubicBezTo>
                      <a:pt x="257175" y="262890"/>
                      <a:pt x="266700" y="259080"/>
                      <a:pt x="280988" y="252413"/>
                    </a:cubicBezTo>
                    <a:cubicBezTo>
                      <a:pt x="286703" y="249555"/>
                      <a:pt x="301943" y="242888"/>
                      <a:pt x="306705" y="237173"/>
                    </a:cubicBezTo>
                    <a:moveTo>
                      <a:pt x="227648" y="200978"/>
                    </a:moveTo>
                    <a:cubicBezTo>
                      <a:pt x="226695" y="200978"/>
                      <a:pt x="224790" y="201930"/>
                      <a:pt x="224790" y="200025"/>
                    </a:cubicBezTo>
                    <a:cubicBezTo>
                      <a:pt x="225742" y="197167"/>
                      <a:pt x="228600" y="197167"/>
                      <a:pt x="230505" y="196215"/>
                    </a:cubicBezTo>
                    <a:cubicBezTo>
                      <a:pt x="231458" y="195263"/>
                      <a:pt x="233363" y="194310"/>
                      <a:pt x="234315" y="195263"/>
                    </a:cubicBezTo>
                    <a:cubicBezTo>
                      <a:pt x="235267" y="197167"/>
                      <a:pt x="237173" y="196215"/>
                      <a:pt x="238125" y="197167"/>
                    </a:cubicBezTo>
                    <a:cubicBezTo>
                      <a:pt x="235267" y="200978"/>
                      <a:pt x="231458" y="200025"/>
                      <a:pt x="227648" y="200978"/>
                    </a:cubicBezTo>
                    <a:moveTo>
                      <a:pt x="149542" y="189548"/>
                    </a:moveTo>
                    <a:cubicBezTo>
                      <a:pt x="149542" y="189548"/>
                      <a:pt x="148590" y="188595"/>
                      <a:pt x="148590" y="188595"/>
                    </a:cubicBezTo>
                    <a:cubicBezTo>
                      <a:pt x="155258" y="180023"/>
                      <a:pt x="160020" y="171450"/>
                      <a:pt x="164783" y="162878"/>
                    </a:cubicBezTo>
                    <a:cubicBezTo>
                      <a:pt x="171450" y="159067"/>
                      <a:pt x="177165" y="154305"/>
                      <a:pt x="181928" y="148590"/>
                    </a:cubicBezTo>
                    <a:cubicBezTo>
                      <a:pt x="190500" y="139065"/>
                      <a:pt x="200025" y="131445"/>
                      <a:pt x="210503" y="125730"/>
                    </a:cubicBezTo>
                    <a:cubicBezTo>
                      <a:pt x="214313" y="123825"/>
                      <a:pt x="220028" y="124778"/>
                      <a:pt x="223838" y="126683"/>
                    </a:cubicBezTo>
                    <a:cubicBezTo>
                      <a:pt x="221933" y="128588"/>
                      <a:pt x="220028" y="128588"/>
                      <a:pt x="218123" y="129540"/>
                    </a:cubicBezTo>
                    <a:cubicBezTo>
                      <a:pt x="217170" y="129540"/>
                      <a:pt x="217170" y="129540"/>
                      <a:pt x="216217" y="128588"/>
                    </a:cubicBezTo>
                    <a:cubicBezTo>
                      <a:pt x="217170" y="127635"/>
                      <a:pt x="217170" y="127635"/>
                      <a:pt x="217170" y="126683"/>
                    </a:cubicBezTo>
                    <a:cubicBezTo>
                      <a:pt x="212408" y="132398"/>
                      <a:pt x="204788" y="135255"/>
                      <a:pt x="200978" y="141923"/>
                    </a:cubicBezTo>
                    <a:cubicBezTo>
                      <a:pt x="198120" y="146685"/>
                      <a:pt x="196215" y="153353"/>
                      <a:pt x="189548" y="155258"/>
                    </a:cubicBezTo>
                    <a:cubicBezTo>
                      <a:pt x="187642" y="156210"/>
                      <a:pt x="190500" y="153353"/>
                      <a:pt x="188595" y="154305"/>
                    </a:cubicBezTo>
                    <a:cubicBezTo>
                      <a:pt x="173355" y="164783"/>
                      <a:pt x="161925" y="176213"/>
                      <a:pt x="149542" y="189548"/>
                    </a:cubicBezTo>
                    <a:moveTo>
                      <a:pt x="192405" y="156210"/>
                    </a:moveTo>
                    <a:cubicBezTo>
                      <a:pt x="191453" y="157163"/>
                      <a:pt x="191453" y="157163"/>
                      <a:pt x="190500" y="158115"/>
                    </a:cubicBezTo>
                    <a:cubicBezTo>
                      <a:pt x="189548" y="159067"/>
                      <a:pt x="189548" y="160020"/>
                      <a:pt x="188595" y="160020"/>
                    </a:cubicBezTo>
                    <a:cubicBezTo>
                      <a:pt x="187642" y="160020"/>
                      <a:pt x="187642" y="160020"/>
                      <a:pt x="187642" y="159067"/>
                    </a:cubicBezTo>
                    <a:cubicBezTo>
                      <a:pt x="188595" y="157163"/>
                      <a:pt x="189548" y="155258"/>
                      <a:pt x="191453" y="154305"/>
                    </a:cubicBezTo>
                    <a:cubicBezTo>
                      <a:pt x="192405" y="155258"/>
                      <a:pt x="192405" y="155258"/>
                      <a:pt x="192405" y="156210"/>
                    </a:cubicBezTo>
                    <a:moveTo>
                      <a:pt x="216217" y="232410"/>
                    </a:moveTo>
                    <a:cubicBezTo>
                      <a:pt x="216217" y="233363"/>
                      <a:pt x="215265" y="233363"/>
                      <a:pt x="215265" y="234315"/>
                    </a:cubicBezTo>
                    <a:cubicBezTo>
                      <a:pt x="216217" y="234315"/>
                      <a:pt x="216217" y="234315"/>
                      <a:pt x="216217" y="235267"/>
                    </a:cubicBezTo>
                    <a:cubicBezTo>
                      <a:pt x="215265" y="236220"/>
                      <a:pt x="214313" y="237173"/>
                      <a:pt x="212408" y="238125"/>
                    </a:cubicBezTo>
                    <a:cubicBezTo>
                      <a:pt x="212408" y="238125"/>
                      <a:pt x="212408" y="238125"/>
                      <a:pt x="211455" y="238125"/>
                    </a:cubicBezTo>
                    <a:cubicBezTo>
                      <a:pt x="210503" y="239078"/>
                      <a:pt x="210503" y="239078"/>
                      <a:pt x="209550" y="240030"/>
                    </a:cubicBezTo>
                    <a:cubicBezTo>
                      <a:pt x="208598" y="240983"/>
                      <a:pt x="205740" y="240030"/>
                      <a:pt x="206692" y="239078"/>
                    </a:cubicBezTo>
                    <a:cubicBezTo>
                      <a:pt x="207645" y="238125"/>
                      <a:pt x="209550" y="236220"/>
                      <a:pt x="210503" y="235267"/>
                    </a:cubicBezTo>
                    <a:cubicBezTo>
                      <a:pt x="211455" y="234315"/>
                      <a:pt x="212408" y="234315"/>
                      <a:pt x="212408" y="233363"/>
                    </a:cubicBezTo>
                    <a:cubicBezTo>
                      <a:pt x="212408" y="233363"/>
                      <a:pt x="213360" y="232410"/>
                      <a:pt x="213360" y="232410"/>
                    </a:cubicBezTo>
                    <a:cubicBezTo>
                      <a:pt x="213360" y="231458"/>
                      <a:pt x="216217" y="231458"/>
                      <a:pt x="216217" y="232410"/>
                    </a:cubicBezTo>
                    <a:moveTo>
                      <a:pt x="206692" y="228600"/>
                    </a:moveTo>
                    <a:cubicBezTo>
                      <a:pt x="206692" y="228600"/>
                      <a:pt x="206692" y="228600"/>
                      <a:pt x="206692" y="228600"/>
                    </a:cubicBezTo>
                    <a:cubicBezTo>
                      <a:pt x="204788" y="230505"/>
                      <a:pt x="202883" y="231458"/>
                      <a:pt x="200978" y="232410"/>
                    </a:cubicBezTo>
                    <a:cubicBezTo>
                      <a:pt x="199073" y="233363"/>
                      <a:pt x="196215" y="234315"/>
                      <a:pt x="194310" y="235267"/>
                    </a:cubicBezTo>
                    <a:cubicBezTo>
                      <a:pt x="194310" y="235267"/>
                      <a:pt x="194310" y="235267"/>
                      <a:pt x="194310" y="235267"/>
                    </a:cubicBezTo>
                    <a:cubicBezTo>
                      <a:pt x="194310" y="235267"/>
                      <a:pt x="193358" y="235267"/>
                      <a:pt x="193358" y="235267"/>
                    </a:cubicBezTo>
                    <a:cubicBezTo>
                      <a:pt x="191453" y="236220"/>
                      <a:pt x="189548" y="238125"/>
                      <a:pt x="188595" y="239078"/>
                    </a:cubicBezTo>
                    <a:cubicBezTo>
                      <a:pt x="188595" y="239078"/>
                      <a:pt x="188595" y="239078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5738" y="241935"/>
                      <a:pt x="185738" y="241935"/>
                    </a:cubicBezTo>
                    <a:cubicBezTo>
                      <a:pt x="185738" y="241935"/>
                      <a:pt x="185738" y="242888"/>
                      <a:pt x="184785" y="242888"/>
                    </a:cubicBezTo>
                    <a:cubicBezTo>
                      <a:pt x="184785" y="242888"/>
                      <a:pt x="183833" y="242888"/>
                      <a:pt x="183833" y="242888"/>
                    </a:cubicBezTo>
                    <a:cubicBezTo>
                      <a:pt x="183833" y="242888"/>
                      <a:pt x="183833" y="242888"/>
                      <a:pt x="183833" y="242888"/>
                    </a:cubicBezTo>
                    <a:cubicBezTo>
                      <a:pt x="183833" y="242888"/>
                      <a:pt x="182880" y="242888"/>
                      <a:pt x="182880" y="242888"/>
                    </a:cubicBezTo>
                    <a:cubicBezTo>
                      <a:pt x="182880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0975" y="243840"/>
                      <a:pt x="180975" y="243840"/>
                      <a:pt x="180023" y="244792"/>
                    </a:cubicBezTo>
                    <a:cubicBezTo>
                      <a:pt x="179070" y="245745"/>
                      <a:pt x="178117" y="246698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8603"/>
                    </a:cubicBezTo>
                    <a:lnTo>
                      <a:pt x="177165" y="248603"/>
                    </a:ln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7650"/>
                      <a:pt x="177165" y="247650"/>
                    </a:cubicBezTo>
                    <a:lnTo>
                      <a:pt x="177165" y="247650"/>
                    </a:ln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8117" y="246698"/>
                      <a:pt x="178117" y="246698"/>
                      <a:pt x="179070" y="245745"/>
                    </a:cubicBezTo>
                    <a:cubicBezTo>
                      <a:pt x="179070" y="245745"/>
                      <a:pt x="179070" y="245745"/>
                      <a:pt x="179070" y="245745"/>
                    </a:cubicBezTo>
                    <a:cubicBezTo>
                      <a:pt x="179070" y="245745"/>
                      <a:pt x="179070" y="245745"/>
                      <a:pt x="180023" y="244792"/>
                    </a:cubicBezTo>
                    <a:cubicBezTo>
                      <a:pt x="180023" y="244792"/>
                      <a:pt x="180975" y="243840"/>
                      <a:pt x="180975" y="243840"/>
                    </a:cubicBezTo>
                    <a:cubicBezTo>
                      <a:pt x="180975" y="243840"/>
                      <a:pt x="180975" y="243840"/>
                      <a:pt x="180975" y="243840"/>
                    </a:cubicBezTo>
                    <a:cubicBezTo>
                      <a:pt x="181928" y="242888"/>
                      <a:pt x="181928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3833" y="240983"/>
                      <a:pt x="183833" y="240983"/>
                    </a:cubicBezTo>
                    <a:cubicBezTo>
                      <a:pt x="183833" y="240983"/>
                      <a:pt x="183833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8125"/>
                    </a:cubicBezTo>
                    <a:cubicBezTo>
                      <a:pt x="185738" y="238125"/>
                      <a:pt x="185738" y="238125"/>
                      <a:pt x="185738" y="238125"/>
                    </a:cubicBezTo>
                    <a:cubicBezTo>
                      <a:pt x="185738" y="238125"/>
                      <a:pt x="185738" y="237173"/>
                      <a:pt x="185738" y="237173"/>
                    </a:cubicBezTo>
                    <a:cubicBezTo>
                      <a:pt x="185738" y="237173"/>
                      <a:pt x="185738" y="237173"/>
                      <a:pt x="185738" y="237173"/>
                    </a:cubicBezTo>
                    <a:cubicBezTo>
                      <a:pt x="186690" y="236220"/>
                      <a:pt x="186690" y="235267"/>
                      <a:pt x="187642" y="234315"/>
                    </a:cubicBezTo>
                    <a:cubicBezTo>
                      <a:pt x="187642" y="234315"/>
                      <a:pt x="187642" y="234315"/>
                      <a:pt x="187642" y="234315"/>
                    </a:cubicBezTo>
                    <a:cubicBezTo>
                      <a:pt x="186690" y="234315"/>
                      <a:pt x="186690" y="235267"/>
                      <a:pt x="185738" y="236220"/>
                    </a:cubicBezTo>
                    <a:cubicBezTo>
                      <a:pt x="184785" y="236220"/>
                      <a:pt x="183833" y="236220"/>
                      <a:pt x="184785" y="235267"/>
                    </a:cubicBezTo>
                    <a:cubicBezTo>
                      <a:pt x="184785" y="235267"/>
                      <a:pt x="185738" y="234315"/>
                      <a:pt x="185738" y="234315"/>
                    </a:cubicBezTo>
                    <a:cubicBezTo>
                      <a:pt x="185738" y="234315"/>
                      <a:pt x="185738" y="234315"/>
                      <a:pt x="185738" y="234315"/>
                    </a:cubicBezTo>
                    <a:cubicBezTo>
                      <a:pt x="186690" y="233363"/>
                      <a:pt x="187642" y="232410"/>
                      <a:pt x="188595" y="231458"/>
                    </a:cubicBezTo>
                    <a:cubicBezTo>
                      <a:pt x="189548" y="231458"/>
                      <a:pt x="189548" y="230505"/>
                      <a:pt x="190500" y="230505"/>
                    </a:cubicBezTo>
                    <a:cubicBezTo>
                      <a:pt x="190500" y="230505"/>
                      <a:pt x="190500" y="230505"/>
                      <a:pt x="190500" y="230505"/>
                    </a:cubicBezTo>
                    <a:cubicBezTo>
                      <a:pt x="190500" y="230505"/>
                      <a:pt x="191453" y="229553"/>
                      <a:pt x="191453" y="229553"/>
                    </a:cubicBezTo>
                    <a:cubicBezTo>
                      <a:pt x="191453" y="229553"/>
                      <a:pt x="191453" y="229553"/>
                      <a:pt x="191453" y="229553"/>
                    </a:cubicBezTo>
                    <a:cubicBezTo>
                      <a:pt x="196215" y="224790"/>
                      <a:pt x="204788" y="224790"/>
                      <a:pt x="211455" y="221933"/>
                    </a:cubicBezTo>
                    <a:cubicBezTo>
                      <a:pt x="214313" y="220980"/>
                      <a:pt x="217170" y="222885"/>
                      <a:pt x="220028" y="221933"/>
                    </a:cubicBezTo>
                    <a:cubicBezTo>
                      <a:pt x="221933" y="221933"/>
                      <a:pt x="222885" y="221933"/>
                      <a:pt x="224790" y="222885"/>
                    </a:cubicBezTo>
                    <a:cubicBezTo>
                      <a:pt x="215265" y="222885"/>
                      <a:pt x="211455" y="225742"/>
                      <a:pt x="206692" y="228600"/>
                    </a:cubicBezTo>
                    <a:moveTo>
                      <a:pt x="217170" y="193358"/>
                    </a:moveTo>
                    <a:cubicBezTo>
                      <a:pt x="216217" y="192405"/>
                      <a:pt x="219075" y="193358"/>
                      <a:pt x="219075" y="192405"/>
                    </a:cubicBezTo>
                    <a:lnTo>
                      <a:pt x="215265" y="192405"/>
                    </a:lnTo>
                    <a:cubicBezTo>
                      <a:pt x="214313" y="192405"/>
                      <a:pt x="214313" y="191453"/>
                      <a:pt x="214313" y="191453"/>
                    </a:cubicBezTo>
                    <a:cubicBezTo>
                      <a:pt x="211455" y="192405"/>
                      <a:pt x="208598" y="193358"/>
                      <a:pt x="205740" y="193358"/>
                    </a:cubicBezTo>
                    <a:cubicBezTo>
                      <a:pt x="201930" y="194310"/>
                      <a:pt x="199073" y="197167"/>
                      <a:pt x="195263" y="198120"/>
                    </a:cubicBezTo>
                    <a:cubicBezTo>
                      <a:pt x="189548" y="200025"/>
                      <a:pt x="184785" y="204788"/>
                      <a:pt x="179070" y="206692"/>
                    </a:cubicBezTo>
                    <a:cubicBezTo>
                      <a:pt x="178117" y="206692"/>
                      <a:pt x="178117" y="205740"/>
                      <a:pt x="178117" y="205740"/>
                    </a:cubicBezTo>
                    <a:cubicBezTo>
                      <a:pt x="179070" y="203835"/>
                      <a:pt x="180975" y="203835"/>
                      <a:pt x="181928" y="201930"/>
                    </a:cubicBezTo>
                    <a:cubicBezTo>
                      <a:pt x="181928" y="200978"/>
                      <a:pt x="181928" y="200978"/>
                      <a:pt x="180975" y="200978"/>
                    </a:cubicBezTo>
                    <a:cubicBezTo>
                      <a:pt x="184785" y="195263"/>
                      <a:pt x="190500" y="192405"/>
                      <a:pt x="196215" y="187642"/>
                    </a:cubicBezTo>
                    <a:lnTo>
                      <a:pt x="196215" y="185738"/>
                    </a:lnTo>
                    <a:cubicBezTo>
                      <a:pt x="198120" y="183833"/>
                      <a:pt x="200025" y="182880"/>
                      <a:pt x="200978" y="180023"/>
                    </a:cubicBezTo>
                    <a:cubicBezTo>
                      <a:pt x="201930" y="178117"/>
                      <a:pt x="203835" y="176213"/>
                      <a:pt x="205740" y="175260"/>
                    </a:cubicBezTo>
                    <a:cubicBezTo>
                      <a:pt x="204788" y="174308"/>
                      <a:pt x="203835" y="174308"/>
                      <a:pt x="203835" y="173355"/>
                    </a:cubicBezTo>
                    <a:cubicBezTo>
                      <a:pt x="201930" y="173355"/>
                      <a:pt x="200025" y="174308"/>
                      <a:pt x="198120" y="172403"/>
                    </a:cubicBezTo>
                    <a:cubicBezTo>
                      <a:pt x="199073" y="171450"/>
                      <a:pt x="200025" y="170498"/>
                      <a:pt x="200978" y="170498"/>
                    </a:cubicBezTo>
                    <a:cubicBezTo>
                      <a:pt x="200978" y="170498"/>
                      <a:pt x="200025" y="170498"/>
                      <a:pt x="200025" y="169545"/>
                    </a:cubicBezTo>
                    <a:cubicBezTo>
                      <a:pt x="199073" y="168592"/>
                      <a:pt x="200978" y="167640"/>
                      <a:pt x="202883" y="166688"/>
                    </a:cubicBezTo>
                    <a:cubicBezTo>
                      <a:pt x="204788" y="165735"/>
                      <a:pt x="207645" y="165735"/>
                      <a:pt x="208598" y="164783"/>
                    </a:cubicBezTo>
                    <a:cubicBezTo>
                      <a:pt x="204788" y="163830"/>
                      <a:pt x="200978" y="165735"/>
                      <a:pt x="197167" y="163830"/>
                    </a:cubicBezTo>
                    <a:cubicBezTo>
                      <a:pt x="200025" y="157163"/>
                      <a:pt x="203835" y="151448"/>
                      <a:pt x="209550" y="148590"/>
                    </a:cubicBezTo>
                    <a:cubicBezTo>
                      <a:pt x="210503" y="148590"/>
                      <a:pt x="211455" y="148590"/>
                      <a:pt x="211455" y="149542"/>
                    </a:cubicBezTo>
                    <a:cubicBezTo>
                      <a:pt x="211455" y="152400"/>
                      <a:pt x="209550" y="154305"/>
                      <a:pt x="207645" y="154305"/>
                    </a:cubicBezTo>
                    <a:cubicBezTo>
                      <a:pt x="211455" y="155258"/>
                      <a:pt x="216217" y="155258"/>
                      <a:pt x="220028" y="157163"/>
                    </a:cubicBezTo>
                    <a:cubicBezTo>
                      <a:pt x="219075" y="158115"/>
                      <a:pt x="218123" y="158115"/>
                      <a:pt x="218123" y="158115"/>
                    </a:cubicBezTo>
                    <a:cubicBezTo>
                      <a:pt x="220980" y="160020"/>
                      <a:pt x="223838" y="159067"/>
                      <a:pt x="226695" y="160973"/>
                    </a:cubicBezTo>
                    <a:cubicBezTo>
                      <a:pt x="224790" y="162878"/>
                      <a:pt x="223838" y="160973"/>
                      <a:pt x="221933" y="160973"/>
                    </a:cubicBezTo>
                    <a:cubicBezTo>
                      <a:pt x="238125" y="165735"/>
                      <a:pt x="254317" y="169545"/>
                      <a:pt x="267653" y="179070"/>
                    </a:cubicBezTo>
                    <a:cubicBezTo>
                      <a:pt x="256223" y="184785"/>
                      <a:pt x="244792" y="187642"/>
                      <a:pt x="232410" y="189548"/>
                    </a:cubicBezTo>
                    <a:cubicBezTo>
                      <a:pt x="230505" y="189548"/>
                      <a:pt x="229553" y="189548"/>
                      <a:pt x="228600" y="188595"/>
                    </a:cubicBezTo>
                    <a:cubicBezTo>
                      <a:pt x="228600" y="189548"/>
                      <a:pt x="228600" y="190500"/>
                      <a:pt x="227648" y="190500"/>
                    </a:cubicBezTo>
                    <a:cubicBezTo>
                      <a:pt x="225742" y="190500"/>
                      <a:pt x="223838" y="190500"/>
                      <a:pt x="222885" y="191453"/>
                    </a:cubicBezTo>
                    <a:cubicBezTo>
                      <a:pt x="221933" y="194310"/>
                      <a:pt x="219075" y="194310"/>
                      <a:pt x="217170" y="193358"/>
                    </a:cubicBezTo>
                  </a:path>
                </a:pathLst>
              </a:custGeom>
              <a:solidFill>
                <a:srgbClr val="0000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7" name="Forme libre : forme 16">
                <a:extLst>
                  <a:ext uri="{FF2B5EF4-FFF2-40B4-BE49-F238E27FC236}">
                    <a16:creationId xmlns:a16="http://schemas.microsoft.com/office/drawing/2014/main" id="{41FC6F51-0348-4282-861C-87E9A6355D24}"/>
                  </a:ext>
                </a:extLst>
              </p:cNvPr>
              <p:cNvSpPr/>
              <p:nvPr/>
            </p:nvSpPr>
            <p:spPr>
              <a:xfrm>
                <a:off x="687476" y="269557"/>
                <a:ext cx="327888" cy="269557"/>
              </a:xfrm>
              <a:custGeom>
                <a:avLst/>
                <a:gdLst>
                  <a:gd name="connsiteX0" fmla="*/ 325031 w 327888"/>
                  <a:gd name="connsiteY0" fmla="*/ 0 h 269557"/>
                  <a:gd name="connsiteX1" fmla="*/ 34519 w 327888"/>
                  <a:gd name="connsiteY1" fmla="*/ 0 h 269557"/>
                  <a:gd name="connsiteX2" fmla="*/ 37376 w 327888"/>
                  <a:gd name="connsiteY2" fmla="*/ 953 h 269557"/>
                  <a:gd name="connsiteX3" fmla="*/ 44996 w 327888"/>
                  <a:gd name="connsiteY3" fmla="*/ 4763 h 269557"/>
                  <a:gd name="connsiteX4" fmla="*/ 54521 w 327888"/>
                  <a:gd name="connsiteY4" fmla="*/ 13335 h 269557"/>
                  <a:gd name="connsiteX5" fmla="*/ 56426 w 327888"/>
                  <a:gd name="connsiteY5" fmla="*/ 20003 h 269557"/>
                  <a:gd name="connsiteX6" fmla="*/ 52616 w 327888"/>
                  <a:gd name="connsiteY6" fmla="*/ 27623 h 269557"/>
                  <a:gd name="connsiteX7" fmla="*/ 42139 w 327888"/>
                  <a:gd name="connsiteY7" fmla="*/ 28575 h 269557"/>
                  <a:gd name="connsiteX8" fmla="*/ 36424 w 327888"/>
                  <a:gd name="connsiteY8" fmla="*/ 27623 h 269557"/>
                  <a:gd name="connsiteX9" fmla="*/ 56426 w 327888"/>
                  <a:gd name="connsiteY9" fmla="*/ 40957 h 269557"/>
                  <a:gd name="connsiteX10" fmla="*/ 61189 w 327888"/>
                  <a:gd name="connsiteY10" fmla="*/ 42863 h 269557"/>
                  <a:gd name="connsiteX11" fmla="*/ 62141 w 327888"/>
                  <a:gd name="connsiteY11" fmla="*/ 44768 h 269557"/>
                  <a:gd name="connsiteX12" fmla="*/ 60236 w 327888"/>
                  <a:gd name="connsiteY12" fmla="*/ 47625 h 269557"/>
                  <a:gd name="connsiteX13" fmla="*/ 62141 w 327888"/>
                  <a:gd name="connsiteY13" fmla="*/ 47625 h 269557"/>
                  <a:gd name="connsiteX14" fmla="*/ 67856 w 327888"/>
                  <a:gd name="connsiteY14" fmla="*/ 42863 h 269557"/>
                  <a:gd name="connsiteX15" fmla="*/ 69761 w 327888"/>
                  <a:gd name="connsiteY15" fmla="*/ 50482 h 269557"/>
                  <a:gd name="connsiteX16" fmla="*/ 64046 w 327888"/>
                  <a:gd name="connsiteY16" fmla="*/ 55245 h 269557"/>
                  <a:gd name="connsiteX17" fmla="*/ 64046 w 327888"/>
                  <a:gd name="connsiteY17" fmla="*/ 59055 h 269557"/>
                  <a:gd name="connsiteX18" fmla="*/ 66904 w 327888"/>
                  <a:gd name="connsiteY18" fmla="*/ 64770 h 269557"/>
                  <a:gd name="connsiteX19" fmla="*/ 70714 w 327888"/>
                  <a:gd name="connsiteY19" fmla="*/ 76200 h 269557"/>
                  <a:gd name="connsiteX20" fmla="*/ 74524 w 327888"/>
                  <a:gd name="connsiteY20" fmla="*/ 99060 h 269557"/>
                  <a:gd name="connsiteX21" fmla="*/ 73571 w 327888"/>
                  <a:gd name="connsiteY21" fmla="*/ 110490 h 269557"/>
                  <a:gd name="connsiteX22" fmla="*/ 79286 w 327888"/>
                  <a:gd name="connsiteY22" fmla="*/ 120968 h 269557"/>
                  <a:gd name="connsiteX23" fmla="*/ 85001 w 327888"/>
                  <a:gd name="connsiteY23" fmla="*/ 129540 h 269557"/>
                  <a:gd name="connsiteX24" fmla="*/ 90716 w 327888"/>
                  <a:gd name="connsiteY24" fmla="*/ 145733 h 269557"/>
                  <a:gd name="connsiteX25" fmla="*/ 80239 w 327888"/>
                  <a:gd name="connsiteY25" fmla="*/ 150495 h 269557"/>
                  <a:gd name="connsiteX26" fmla="*/ 81191 w 327888"/>
                  <a:gd name="connsiteY26" fmla="*/ 160020 h 269557"/>
                  <a:gd name="connsiteX27" fmla="*/ 74524 w 327888"/>
                  <a:gd name="connsiteY27" fmla="*/ 169545 h 269557"/>
                  <a:gd name="connsiteX28" fmla="*/ 78334 w 327888"/>
                  <a:gd name="connsiteY28" fmla="*/ 171450 h 269557"/>
                  <a:gd name="connsiteX29" fmla="*/ 80239 w 327888"/>
                  <a:gd name="connsiteY29" fmla="*/ 178118 h 269557"/>
                  <a:gd name="connsiteX30" fmla="*/ 75476 w 327888"/>
                  <a:gd name="connsiteY30" fmla="*/ 187643 h 269557"/>
                  <a:gd name="connsiteX31" fmla="*/ 74524 w 327888"/>
                  <a:gd name="connsiteY31" fmla="*/ 199073 h 269557"/>
                  <a:gd name="connsiteX32" fmla="*/ 64999 w 327888"/>
                  <a:gd name="connsiteY32" fmla="*/ 206693 h 269557"/>
                  <a:gd name="connsiteX33" fmla="*/ 55474 w 327888"/>
                  <a:gd name="connsiteY33" fmla="*/ 207645 h 269557"/>
                  <a:gd name="connsiteX34" fmla="*/ 49759 w 327888"/>
                  <a:gd name="connsiteY34" fmla="*/ 206693 h 269557"/>
                  <a:gd name="connsiteX35" fmla="*/ 24041 w 327888"/>
                  <a:gd name="connsiteY35" fmla="*/ 202883 h 269557"/>
                  <a:gd name="connsiteX36" fmla="*/ 17374 w 327888"/>
                  <a:gd name="connsiteY36" fmla="*/ 204788 h 269557"/>
                  <a:gd name="connsiteX37" fmla="*/ 11659 w 327888"/>
                  <a:gd name="connsiteY37" fmla="*/ 210503 h 269557"/>
                  <a:gd name="connsiteX38" fmla="*/ 11659 w 327888"/>
                  <a:gd name="connsiteY38" fmla="*/ 210503 h 269557"/>
                  <a:gd name="connsiteX39" fmla="*/ 10706 w 327888"/>
                  <a:gd name="connsiteY39" fmla="*/ 211455 h 269557"/>
                  <a:gd name="connsiteX40" fmla="*/ 9754 w 327888"/>
                  <a:gd name="connsiteY40" fmla="*/ 212408 h 269557"/>
                  <a:gd name="connsiteX41" fmla="*/ 9754 w 327888"/>
                  <a:gd name="connsiteY41" fmla="*/ 213360 h 269557"/>
                  <a:gd name="connsiteX42" fmla="*/ 5944 w 327888"/>
                  <a:gd name="connsiteY42" fmla="*/ 219075 h 269557"/>
                  <a:gd name="connsiteX43" fmla="*/ 5944 w 327888"/>
                  <a:gd name="connsiteY43" fmla="*/ 219075 h 269557"/>
                  <a:gd name="connsiteX44" fmla="*/ 5944 w 327888"/>
                  <a:gd name="connsiteY44" fmla="*/ 220028 h 269557"/>
                  <a:gd name="connsiteX45" fmla="*/ 2134 w 327888"/>
                  <a:gd name="connsiteY45" fmla="*/ 229553 h 269557"/>
                  <a:gd name="connsiteX46" fmla="*/ 3086 w 327888"/>
                  <a:gd name="connsiteY46" fmla="*/ 253365 h 269557"/>
                  <a:gd name="connsiteX47" fmla="*/ 30709 w 327888"/>
                  <a:gd name="connsiteY47" fmla="*/ 263843 h 269557"/>
                  <a:gd name="connsiteX48" fmla="*/ 43091 w 327888"/>
                  <a:gd name="connsiteY48" fmla="*/ 269558 h 269557"/>
                  <a:gd name="connsiteX49" fmla="*/ 327889 w 327888"/>
                  <a:gd name="connsiteY49" fmla="*/ 269558 h 269557"/>
                  <a:gd name="connsiteX50" fmla="*/ 327889 w 327888"/>
                  <a:gd name="connsiteY50" fmla="*/ 0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327888" h="269557">
                    <a:moveTo>
                      <a:pt x="325031" y="0"/>
                    </a:moveTo>
                    <a:lnTo>
                      <a:pt x="34519" y="0"/>
                    </a:lnTo>
                    <a:cubicBezTo>
                      <a:pt x="34519" y="0"/>
                      <a:pt x="35471" y="0"/>
                      <a:pt x="37376" y="953"/>
                    </a:cubicBezTo>
                    <a:cubicBezTo>
                      <a:pt x="39281" y="1905"/>
                      <a:pt x="43091" y="3810"/>
                      <a:pt x="44996" y="4763"/>
                    </a:cubicBezTo>
                    <a:cubicBezTo>
                      <a:pt x="48806" y="6668"/>
                      <a:pt x="52616" y="9525"/>
                      <a:pt x="54521" y="13335"/>
                    </a:cubicBezTo>
                    <a:cubicBezTo>
                      <a:pt x="55474" y="15240"/>
                      <a:pt x="57379" y="18098"/>
                      <a:pt x="56426" y="20003"/>
                    </a:cubicBezTo>
                    <a:cubicBezTo>
                      <a:pt x="55474" y="22860"/>
                      <a:pt x="54521" y="26670"/>
                      <a:pt x="52616" y="27623"/>
                    </a:cubicBezTo>
                    <a:cubicBezTo>
                      <a:pt x="49759" y="29528"/>
                      <a:pt x="45949" y="29528"/>
                      <a:pt x="42139" y="28575"/>
                    </a:cubicBezTo>
                    <a:cubicBezTo>
                      <a:pt x="40234" y="28575"/>
                      <a:pt x="38329" y="27623"/>
                      <a:pt x="36424" y="27623"/>
                    </a:cubicBezTo>
                    <a:cubicBezTo>
                      <a:pt x="44044" y="30480"/>
                      <a:pt x="51664" y="34290"/>
                      <a:pt x="56426" y="40957"/>
                    </a:cubicBezTo>
                    <a:cubicBezTo>
                      <a:pt x="57379" y="41910"/>
                      <a:pt x="59284" y="42863"/>
                      <a:pt x="61189" y="42863"/>
                    </a:cubicBezTo>
                    <a:cubicBezTo>
                      <a:pt x="62141" y="42863"/>
                      <a:pt x="62141" y="43815"/>
                      <a:pt x="62141" y="44768"/>
                    </a:cubicBezTo>
                    <a:cubicBezTo>
                      <a:pt x="61189" y="45720"/>
                      <a:pt x="60236" y="46673"/>
                      <a:pt x="60236" y="47625"/>
                    </a:cubicBezTo>
                    <a:lnTo>
                      <a:pt x="62141" y="47625"/>
                    </a:lnTo>
                    <a:cubicBezTo>
                      <a:pt x="64999" y="46673"/>
                      <a:pt x="64046" y="41910"/>
                      <a:pt x="67856" y="42863"/>
                    </a:cubicBezTo>
                    <a:cubicBezTo>
                      <a:pt x="70714" y="44768"/>
                      <a:pt x="71666" y="47625"/>
                      <a:pt x="69761" y="50482"/>
                    </a:cubicBezTo>
                    <a:cubicBezTo>
                      <a:pt x="67856" y="52388"/>
                      <a:pt x="65951" y="54293"/>
                      <a:pt x="64046" y="55245"/>
                    </a:cubicBezTo>
                    <a:cubicBezTo>
                      <a:pt x="63094" y="56198"/>
                      <a:pt x="63094" y="58103"/>
                      <a:pt x="64046" y="59055"/>
                    </a:cubicBezTo>
                    <a:cubicBezTo>
                      <a:pt x="65951" y="60960"/>
                      <a:pt x="65951" y="62865"/>
                      <a:pt x="66904" y="64770"/>
                    </a:cubicBezTo>
                    <a:cubicBezTo>
                      <a:pt x="68809" y="68580"/>
                      <a:pt x="68809" y="72390"/>
                      <a:pt x="70714" y="76200"/>
                    </a:cubicBezTo>
                    <a:cubicBezTo>
                      <a:pt x="72619" y="83820"/>
                      <a:pt x="74524" y="91440"/>
                      <a:pt x="74524" y="99060"/>
                    </a:cubicBezTo>
                    <a:cubicBezTo>
                      <a:pt x="74524" y="102870"/>
                      <a:pt x="72619" y="106680"/>
                      <a:pt x="73571" y="110490"/>
                    </a:cubicBezTo>
                    <a:cubicBezTo>
                      <a:pt x="74524" y="114300"/>
                      <a:pt x="77381" y="118110"/>
                      <a:pt x="79286" y="120968"/>
                    </a:cubicBezTo>
                    <a:cubicBezTo>
                      <a:pt x="81191" y="123825"/>
                      <a:pt x="83096" y="125730"/>
                      <a:pt x="85001" y="129540"/>
                    </a:cubicBezTo>
                    <a:cubicBezTo>
                      <a:pt x="87859" y="134303"/>
                      <a:pt x="93574" y="140018"/>
                      <a:pt x="90716" y="145733"/>
                    </a:cubicBezTo>
                    <a:cubicBezTo>
                      <a:pt x="88811" y="149543"/>
                      <a:pt x="83096" y="148590"/>
                      <a:pt x="80239" y="150495"/>
                    </a:cubicBezTo>
                    <a:cubicBezTo>
                      <a:pt x="77381" y="153353"/>
                      <a:pt x="79286" y="157163"/>
                      <a:pt x="81191" y="160020"/>
                    </a:cubicBezTo>
                    <a:cubicBezTo>
                      <a:pt x="84049" y="164783"/>
                      <a:pt x="78334" y="167640"/>
                      <a:pt x="74524" y="169545"/>
                    </a:cubicBezTo>
                    <a:cubicBezTo>
                      <a:pt x="75476" y="171450"/>
                      <a:pt x="77381" y="170498"/>
                      <a:pt x="78334" y="171450"/>
                    </a:cubicBezTo>
                    <a:cubicBezTo>
                      <a:pt x="79286" y="174308"/>
                      <a:pt x="81191" y="175260"/>
                      <a:pt x="80239" y="178118"/>
                    </a:cubicBezTo>
                    <a:cubicBezTo>
                      <a:pt x="78334" y="180975"/>
                      <a:pt x="71666" y="182880"/>
                      <a:pt x="75476" y="187643"/>
                    </a:cubicBezTo>
                    <a:cubicBezTo>
                      <a:pt x="77381" y="191453"/>
                      <a:pt x="76429" y="195263"/>
                      <a:pt x="74524" y="199073"/>
                    </a:cubicBezTo>
                    <a:cubicBezTo>
                      <a:pt x="72619" y="203835"/>
                      <a:pt x="68809" y="205740"/>
                      <a:pt x="64999" y="206693"/>
                    </a:cubicBezTo>
                    <a:cubicBezTo>
                      <a:pt x="62141" y="207645"/>
                      <a:pt x="58331" y="207645"/>
                      <a:pt x="55474" y="207645"/>
                    </a:cubicBezTo>
                    <a:cubicBezTo>
                      <a:pt x="51664" y="206693"/>
                      <a:pt x="50711" y="206693"/>
                      <a:pt x="49759" y="206693"/>
                    </a:cubicBezTo>
                    <a:cubicBezTo>
                      <a:pt x="41186" y="205740"/>
                      <a:pt x="32614" y="202883"/>
                      <a:pt x="24041" y="202883"/>
                    </a:cubicBezTo>
                    <a:cubicBezTo>
                      <a:pt x="21184" y="203835"/>
                      <a:pt x="19279" y="203835"/>
                      <a:pt x="17374" y="204788"/>
                    </a:cubicBezTo>
                    <a:cubicBezTo>
                      <a:pt x="15469" y="206693"/>
                      <a:pt x="12611" y="208598"/>
                      <a:pt x="11659" y="210503"/>
                    </a:cubicBezTo>
                    <a:cubicBezTo>
                      <a:pt x="11659" y="210503"/>
                      <a:pt x="11659" y="210503"/>
                      <a:pt x="11659" y="210503"/>
                    </a:cubicBezTo>
                    <a:cubicBezTo>
                      <a:pt x="11659" y="210503"/>
                      <a:pt x="10706" y="211455"/>
                      <a:pt x="10706" y="211455"/>
                    </a:cubicBezTo>
                    <a:cubicBezTo>
                      <a:pt x="10706" y="211455"/>
                      <a:pt x="10706" y="212408"/>
                      <a:pt x="9754" y="212408"/>
                    </a:cubicBezTo>
                    <a:cubicBezTo>
                      <a:pt x="9754" y="212408"/>
                      <a:pt x="9754" y="212408"/>
                      <a:pt x="9754" y="213360"/>
                    </a:cubicBezTo>
                    <a:cubicBezTo>
                      <a:pt x="7849" y="215265"/>
                      <a:pt x="6896" y="217170"/>
                      <a:pt x="5944" y="219075"/>
                    </a:cubicBezTo>
                    <a:cubicBezTo>
                      <a:pt x="5944" y="219075"/>
                      <a:pt x="5944" y="219075"/>
                      <a:pt x="5944" y="219075"/>
                    </a:cubicBezTo>
                    <a:cubicBezTo>
                      <a:pt x="5944" y="219075"/>
                      <a:pt x="5944" y="220028"/>
                      <a:pt x="5944" y="220028"/>
                    </a:cubicBezTo>
                    <a:cubicBezTo>
                      <a:pt x="4039" y="222885"/>
                      <a:pt x="3086" y="226695"/>
                      <a:pt x="2134" y="229553"/>
                    </a:cubicBezTo>
                    <a:cubicBezTo>
                      <a:pt x="-1676" y="240983"/>
                      <a:pt x="229" y="251460"/>
                      <a:pt x="3086" y="253365"/>
                    </a:cubicBezTo>
                    <a:cubicBezTo>
                      <a:pt x="4039" y="254318"/>
                      <a:pt x="20231" y="259080"/>
                      <a:pt x="30709" y="263843"/>
                    </a:cubicBezTo>
                    <a:cubicBezTo>
                      <a:pt x="36424" y="265748"/>
                      <a:pt x="39281" y="267653"/>
                      <a:pt x="43091" y="269558"/>
                    </a:cubicBezTo>
                    <a:lnTo>
                      <a:pt x="327889" y="269558"/>
                    </a:lnTo>
                    <a:lnTo>
                      <a:pt x="327889" y="0"/>
                    </a:lnTo>
                    <a:close/>
                  </a:path>
                </a:pathLst>
              </a:custGeom>
              <a:solidFill>
                <a:srgbClr val="E1000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8" name="Forme libre : forme 17">
                <a:extLst>
                  <a:ext uri="{FF2B5EF4-FFF2-40B4-BE49-F238E27FC236}">
                    <a16:creationId xmlns:a16="http://schemas.microsoft.com/office/drawing/2014/main" id="{C721A0DA-2CD2-4A93-9D0C-C1DEBB82B2D7}"/>
                  </a:ext>
                </a:extLst>
              </p:cNvPr>
              <p:cNvSpPr/>
              <p:nvPr/>
            </p:nvSpPr>
            <p:spPr>
              <a:xfrm>
                <a:off x="717232" y="362507"/>
                <a:ext cx="33524" cy="30636"/>
              </a:xfrm>
              <a:custGeom>
                <a:avLst/>
                <a:gdLst>
                  <a:gd name="connsiteX0" fmla="*/ 21907 w 33524"/>
                  <a:gd name="connsiteY0" fmla="*/ 6110 h 30636"/>
                  <a:gd name="connsiteX1" fmla="*/ 26670 w 33524"/>
                  <a:gd name="connsiteY1" fmla="*/ 8015 h 30636"/>
                  <a:gd name="connsiteX2" fmla="*/ 16192 w 33524"/>
                  <a:gd name="connsiteY2" fmla="*/ 17540 h 30636"/>
                  <a:gd name="connsiteX3" fmla="*/ 14288 w 33524"/>
                  <a:gd name="connsiteY3" fmla="*/ 17540 h 30636"/>
                  <a:gd name="connsiteX4" fmla="*/ 11430 w 33524"/>
                  <a:gd name="connsiteY4" fmla="*/ 21350 h 30636"/>
                  <a:gd name="connsiteX5" fmla="*/ 6667 w 33524"/>
                  <a:gd name="connsiteY5" fmla="*/ 22302 h 30636"/>
                  <a:gd name="connsiteX6" fmla="*/ 14288 w 33524"/>
                  <a:gd name="connsiteY6" fmla="*/ 25160 h 30636"/>
                  <a:gd name="connsiteX7" fmla="*/ 16192 w 33524"/>
                  <a:gd name="connsiteY7" fmla="*/ 27065 h 30636"/>
                  <a:gd name="connsiteX8" fmla="*/ 17145 w 33524"/>
                  <a:gd name="connsiteY8" fmla="*/ 26112 h 30636"/>
                  <a:gd name="connsiteX9" fmla="*/ 18097 w 33524"/>
                  <a:gd name="connsiteY9" fmla="*/ 27065 h 30636"/>
                  <a:gd name="connsiteX10" fmla="*/ 18097 w 33524"/>
                  <a:gd name="connsiteY10" fmla="*/ 28017 h 30636"/>
                  <a:gd name="connsiteX11" fmla="*/ 12382 w 33524"/>
                  <a:gd name="connsiteY11" fmla="*/ 29922 h 30636"/>
                  <a:gd name="connsiteX12" fmla="*/ 23813 w 33524"/>
                  <a:gd name="connsiteY12" fmla="*/ 29922 h 30636"/>
                  <a:gd name="connsiteX13" fmla="*/ 25717 w 33524"/>
                  <a:gd name="connsiteY13" fmla="*/ 21350 h 30636"/>
                  <a:gd name="connsiteX14" fmla="*/ 24765 w 33524"/>
                  <a:gd name="connsiteY14" fmla="*/ 19445 h 30636"/>
                  <a:gd name="connsiteX15" fmla="*/ 27622 w 33524"/>
                  <a:gd name="connsiteY15" fmla="*/ 16587 h 30636"/>
                  <a:gd name="connsiteX16" fmla="*/ 30480 w 33524"/>
                  <a:gd name="connsiteY16" fmla="*/ 14682 h 30636"/>
                  <a:gd name="connsiteX17" fmla="*/ 28575 w 33524"/>
                  <a:gd name="connsiteY17" fmla="*/ 11825 h 30636"/>
                  <a:gd name="connsiteX18" fmla="*/ 33338 w 33524"/>
                  <a:gd name="connsiteY18" fmla="*/ 3252 h 30636"/>
                  <a:gd name="connsiteX19" fmla="*/ 25717 w 33524"/>
                  <a:gd name="connsiteY19" fmla="*/ 395 h 30636"/>
                  <a:gd name="connsiteX20" fmla="*/ 17145 w 33524"/>
                  <a:gd name="connsiteY20" fmla="*/ 1347 h 30636"/>
                  <a:gd name="connsiteX21" fmla="*/ 9525 w 33524"/>
                  <a:gd name="connsiteY21" fmla="*/ 3252 h 30636"/>
                  <a:gd name="connsiteX22" fmla="*/ 0 w 33524"/>
                  <a:gd name="connsiteY22" fmla="*/ 8015 h 30636"/>
                  <a:gd name="connsiteX23" fmla="*/ 11430 w 33524"/>
                  <a:gd name="connsiteY23" fmla="*/ 5157 h 30636"/>
                  <a:gd name="connsiteX24" fmla="*/ 21907 w 33524"/>
                  <a:gd name="connsiteY24" fmla="*/ 6110 h 3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3524" h="30636">
                    <a:moveTo>
                      <a:pt x="21907" y="6110"/>
                    </a:moveTo>
                    <a:cubicBezTo>
                      <a:pt x="23813" y="7062"/>
                      <a:pt x="26670" y="7062"/>
                      <a:pt x="26670" y="8015"/>
                    </a:cubicBezTo>
                    <a:cubicBezTo>
                      <a:pt x="25717" y="11825"/>
                      <a:pt x="20002" y="12777"/>
                      <a:pt x="16192" y="17540"/>
                    </a:cubicBezTo>
                    <a:lnTo>
                      <a:pt x="14288" y="17540"/>
                    </a:lnTo>
                    <a:cubicBezTo>
                      <a:pt x="12382" y="18492"/>
                      <a:pt x="13335" y="21350"/>
                      <a:pt x="11430" y="21350"/>
                    </a:cubicBezTo>
                    <a:cubicBezTo>
                      <a:pt x="9525" y="20397"/>
                      <a:pt x="8572" y="21350"/>
                      <a:pt x="6667" y="22302"/>
                    </a:cubicBezTo>
                    <a:cubicBezTo>
                      <a:pt x="8572" y="24207"/>
                      <a:pt x="11430" y="26112"/>
                      <a:pt x="14288" y="25160"/>
                    </a:cubicBezTo>
                    <a:cubicBezTo>
                      <a:pt x="15240" y="25160"/>
                      <a:pt x="16192" y="26112"/>
                      <a:pt x="16192" y="27065"/>
                    </a:cubicBezTo>
                    <a:cubicBezTo>
                      <a:pt x="16192" y="27065"/>
                      <a:pt x="17145" y="27065"/>
                      <a:pt x="17145" y="26112"/>
                    </a:cubicBezTo>
                    <a:cubicBezTo>
                      <a:pt x="18097" y="26112"/>
                      <a:pt x="18097" y="26112"/>
                      <a:pt x="18097" y="27065"/>
                    </a:cubicBezTo>
                    <a:lnTo>
                      <a:pt x="18097" y="28017"/>
                    </a:lnTo>
                    <a:cubicBezTo>
                      <a:pt x="16192" y="29922"/>
                      <a:pt x="14288" y="28970"/>
                      <a:pt x="12382" y="29922"/>
                    </a:cubicBezTo>
                    <a:cubicBezTo>
                      <a:pt x="16192" y="30875"/>
                      <a:pt x="20955" y="30875"/>
                      <a:pt x="23813" y="29922"/>
                    </a:cubicBezTo>
                    <a:cubicBezTo>
                      <a:pt x="26670" y="28970"/>
                      <a:pt x="23813" y="24207"/>
                      <a:pt x="25717" y="21350"/>
                    </a:cubicBezTo>
                    <a:cubicBezTo>
                      <a:pt x="24765" y="21350"/>
                      <a:pt x="25717" y="19445"/>
                      <a:pt x="24765" y="19445"/>
                    </a:cubicBezTo>
                    <a:cubicBezTo>
                      <a:pt x="25717" y="18492"/>
                      <a:pt x="26670" y="16587"/>
                      <a:pt x="27622" y="16587"/>
                    </a:cubicBezTo>
                    <a:cubicBezTo>
                      <a:pt x="28575" y="16587"/>
                      <a:pt x="30480" y="15635"/>
                      <a:pt x="30480" y="14682"/>
                    </a:cubicBezTo>
                    <a:cubicBezTo>
                      <a:pt x="30480" y="13730"/>
                      <a:pt x="28575" y="12777"/>
                      <a:pt x="28575" y="11825"/>
                    </a:cubicBezTo>
                    <a:cubicBezTo>
                      <a:pt x="31432" y="9920"/>
                      <a:pt x="34290" y="7062"/>
                      <a:pt x="33338" y="3252"/>
                    </a:cubicBezTo>
                    <a:cubicBezTo>
                      <a:pt x="32385" y="1347"/>
                      <a:pt x="28575" y="1347"/>
                      <a:pt x="25717" y="395"/>
                    </a:cubicBezTo>
                    <a:cubicBezTo>
                      <a:pt x="22860" y="-558"/>
                      <a:pt x="20002" y="395"/>
                      <a:pt x="17145" y="1347"/>
                    </a:cubicBezTo>
                    <a:cubicBezTo>
                      <a:pt x="14288" y="1347"/>
                      <a:pt x="12382" y="3252"/>
                      <a:pt x="9525" y="3252"/>
                    </a:cubicBezTo>
                    <a:cubicBezTo>
                      <a:pt x="5715" y="4205"/>
                      <a:pt x="2857" y="6110"/>
                      <a:pt x="0" y="8015"/>
                    </a:cubicBezTo>
                    <a:cubicBezTo>
                      <a:pt x="3810" y="6110"/>
                      <a:pt x="7620" y="6110"/>
                      <a:pt x="11430" y="5157"/>
                    </a:cubicBezTo>
                    <a:cubicBezTo>
                      <a:pt x="16192" y="6110"/>
                      <a:pt x="19050" y="5157"/>
                      <a:pt x="21907" y="6110"/>
                    </a:cubicBezTo>
                  </a:path>
                </a:pathLst>
              </a:custGeom>
              <a:solidFill>
                <a:srgbClr val="9C9B9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  <p:sp>
        <p:nvSpPr>
          <p:cNvPr id="31" name="Titre 1">
            <a:extLst>
              <a:ext uri="{FF2B5EF4-FFF2-40B4-BE49-F238E27FC236}">
                <a16:creationId xmlns:a16="http://schemas.microsoft.com/office/drawing/2014/main" id="{B798DD63-88D7-4D98-8CBC-A6C469B47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8163" y="1043684"/>
            <a:ext cx="11115675" cy="5274315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tx1"/>
            </a:solidFill>
          </a:ln>
        </p:spPr>
        <p:txBody>
          <a:bodyPr lIns="0" bIns="360000" anchor="ctr" anchorCtr="0"/>
          <a:lstStyle>
            <a:lvl1pPr marL="0" indent="0">
              <a:buFont typeface="+mj-lt"/>
              <a:buNone/>
              <a:defRPr sz="440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N°. Titre</a:t>
            </a:r>
          </a:p>
        </p:txBody>
      </p: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4E5DC8BB-A03E-454C-8700-FA262A8A9059}"/>
              </a:ext>
            </a:extLst>
          </p:cNvPr>
          <p:cNvGrpSpPr/>
          <p:nvPr userDrawn="1"/>
        </p:nvGrpSpPr>
        <p:grpSpPr>
          <a:xfrm>
            <a:off x="10061357" y="512156"/>
            <a:ext cx="1592481" cy="198907"/>
            <a:chOff x="10061357" y="512156"/>
            <a:chExt cx="1592481" cy="198907"/>
          </a:xfrm>
        </p:grpSpPr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890A0559-75E3-4080-8330-FC675456C3C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189201" y="540544"/>
              <a:ext cx="464637" cy="170519"/>
            </a:xfrm>
            <a:custGeom>
              <a:avLst/>
              <a:gdLst>
                <a:gd name="connsiteX0" fmla="*/ 0 w 464637"/>
                <a:gd name="connsiteY0" fmla="*/ 0 h 170519"/>
                <a:gd name="connsiteX1" fmla="*/ 0 w 464637"/>
                <a:gd name="connsiteY1" fmla="*/ 82673 h 170519"/>
                <a:gd name="connsiteX2" fmla="*/ 381965 w 464637"/>
                <a:gd name="connsiteY2" fmla="*/ 82673 h 170519"/>
                <a:gd name="connsiteX3" fmla="*/ 381965 w 464637"/>
                <a:gd name="connsiteY3" fmla="*/ 170520 h 170519"/>
                <a:gd name="connsiteX4" fmla="*/ 464638 w 464637"/>
                <a:gd name="connsiteY4" fmla="*/ 170520 h 170519"/>
                <a:gd name="connsiteX5" fmla="*/ 464638 w 464637"/>
                <a:gd name="connsiteY5" fmla="*/ 0 h 170519"/>
                <a:gd name="connsiteX6" fmla="*/ 0 w 464637"/>
                <a:gd name="connsiteY6" fmla="*/ 0 h 170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4637" h="170519">
                  <a:moveTo>
                    <a:pt x="0" y="0"/>
                  </a:moveTo>
                  <a:lnTo>
                    <a:pt x="0" y="82673"/>
                  </a:lnTo>
                  <a:lnTo>
                    <a:pt x="381965" y="82673"/>
                  </a:lnTo>
                  <a:lnTo>
                    <a:pt x="381965" y="170520"/>
                  </a:lnTo>
                  <a:lnTo>
                    <a:pt x="464638" y="170520"/>
                  </a:lnTo>
                  <a:lnTo>
                    <a:pt x="46463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" name="ZoneTexte 20">
              <a:extLst>
                <a:ext uri="{FF2B5EF4-FFF2-40B4-BE49-F238E27FC236}">
                  <a16:creationId xmlns:a16="http://schemas.microsoft.com/office/drawing/2014/main" id="{31F459CB-ABA4-4666-AA94-812858220C6C}"/>
                </a:ext>
              </a:extLst>
            </p:cNvPr>
            <p:cNvSpPr txBox="1"/>
            <p:nvPr userDrawn="1"/>
          </p:nvSpPr>
          <p:spPr>
            <a:xfrm>
              <a:off x="10061357" y="512156"/>
              <a:ext cx="1102866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fr-FR" sz="900" b="1" cap="all" baseline="0" dirty="0">
                  <a:solidFill>
                    <a:schemeClr val="accent1"/>
                  </a:solidFill>
                </a:rPr>
                <a:t>Investir l’aveni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684995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. avec tit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0EFC01D8-57EE-4CE7-A41E-E8137515BD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2924" y="2533648"/>
            <a:ext cx="11110913" cy="3786190"/>
          </a:xfrm>
          <a:solidFill>
            <a:schemeClr val="bg2"/>
          </a:solidFill>
        </p:spPr>
        <p:txBody>
          <a:bodyPr lIns="540000" tIns="360000" rIns="540000" bIns="360000"/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1000"/>
              </a:spcAft>
              <a:defRPr sz="4000" cap="none" baseline="0">
                <a:solidFill>
                  <a:schemeClr val="tx1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defRPr sz="2400" b="1" cap="all" baseline="0"/>
            </a:lvl2pPr>
            <a:lvl3pPr marL="0" indent="0">
              <a:lnSpc>
                <a:spcPct val="85000"/>
              </a:lnSpc>
              <a:spcBef>
                <a:spcPts val="0"/>
              </a:spcBef>
              <a:spcAft>
                <a:spcPts val="1000"/>
              </a:spcAft>
              <a:buNone/>
              <a:defRPr sz="4000" b="1" cap="all" baseline="0"/>
            </a:lvl3pPr>
            <a:lvl4pPr marL="0" indent="0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defRPr sz="2400" b="1"/>
            </a:lvl4pPr>
            <a:lvl5pPr marL="0" indent="0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buNone/>
              <a:defRPr sz="1800" b="1">
                <a:solidFill>
                  <a:schemeClr val="tx1"/>
                </a:solidFill>
              </a:defRPr>
            </a:lvl5pPr>
            <a:lvl6pPr marL="0" indent="0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defRPr sz="1800" b="1">
                <a:solidFill>
                  <a:schemeClr val="tx1"/>
                </a:solidFill>
              </a:defRPr>
            </a:lvl6pPr>
            <a:lvl7pPr marL="0" indent="0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defRPr sz="1800" b="1">
                <a:solidFill>
                  <a:schemeClr val="tx1"/>
                </a:solidFill>
              </a:defRPr>
            </a:lvl7pPr>
            <a:lvl8pPr marL="0" indent="0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defRPr sz="1800" b="1">
                <a:solidFill>
                  <a:schemeClr val="tx1"/>
                </a:solidFill>
              </a:defRPr>
            </a:lvl8pPr>
            <a:lvl9pPr marL="0" indent="0">
              <a:lnSpc>
                <a:spcPct val="85000"/>
              </a:lnSpc>
              <a:spcBef>
                <a:spcPts val="0"/>
              </a:spcBef>
              <a:spcAft>
                <a:spcPts val="400"/>
              </a:spcAft>
              <a:defRPr sz="18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fr-FR" dirty="0"/>
              <a:t>Lorem ipsum </a:t>
            </a:r>
            <a:r>
              <a:rPr lang="fr-FR" dirty="0" err="1"/>
              <a:t>dolor</a:t>
            </a:r>
            <a:r>
              <a:rPr lang="fr-FR" dirty="0"/>
              <a:t> </a:t>
            </a:r>
            <a:r>
              <a:rPr lang="fr-FR" dirty="0" err="1"/>
              <a:t>sit</a:t>
            </a:r>
            <a:r>
              <a:rPr lang="fr-FR" dirty="0"/>
              <a:t> </a:t>
            </a:r>
            <a:br>
              <a:rPr lang="fr-FR" dirty="0"/>
            </a:br>
            <a:r>
              <a:rPr lang="fr-FR" dirty="0" err="1"/>
              <a:t>amet</a:t>
            </a:r>
            <a:r>
              <a:rPr lang="fr-FR" dirty="0"/>
              <a:t> consectetur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A52FDD7-76B5-4B8E-A008-DBC75B8F4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70BC306-EA7A-45FE-B0A8-C74C1DE09885}" type="datetime1">
              <a:rPr lang="fr-FR" smtClean="0"/>
              <a:t>22/11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02BE54F-4953-4F0A-AA2E-99A3D6292F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COMEX – 9 avril 2021 - POUR INFORMATION</a:t>
            </a:r>
            <a:endParaRPr lang="fr-FR">
              <a:solidFill>
                <a:schemeClr val="tx1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35E73AA-FFC7-4E68-A1E5-2653FA5B5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3598" y="6511056"/>
            <a:ext cx="650240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C02D038-4989-45BB-AD16-38E0E231338A}" type="slidenum">
              <a:rPr lang="fr-FR" smtClean="0"/>
              <a:pPr/>
              <a:t>‹N°›</a:t>
            </a:fld>
            <a:endParaRPr lang="fr-FR" dirty="0"/>
          </a:p>
        </p:txBody>
      </p:sp>
      <p:grpSp>
        <p:nvGrpSpPr>
          <p:cNvPr id="22" name="Graphique 2">
            <a:extLst>
              <a:ext uri="{FF2B5EF4-FFF2-40B4-BE49-F238E27FC236}">
                <a16:creationId xmlns:a16="http://schemas.microsoft.com/office/drawing/2014/main" id="{BAFCFACF-744B-41CF-9027-75F34070712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40000" y="540000"/>
            <a:ext cx="1311592" cy="1528762"/>
            <a:chOff x="269557" y="269557"/>
            <a:chExt cx="1311592" cy="1528762"/>
          </a:xfrm>
        </p:grpSpPr>
        <p:sp>
          <p:nvSpPr>
            <p:cNvPr id="23" name="Forme libre : forme 22">
              <a:extLst>
                <a:ext uri="{FF2B5EF4-FFF2-40B4-BE49-F238E27FC236}">
                  <a16:creationId xmlns:a16="http://schemas.microsoft.com/office/drawing/2014/main" id="{99F0D0AD-326D-4154-AAA7-DE4E8BD0CE08}"/>
                </a:ext>
              </a:extLst>
            </p:cNvPr>
            <p:cNvSpPr/>
            <p:nvPr/>
          </p:nvSpPr>
          <p:spPr>
            <a:xfrm>
              <a:off x="269557" y="1304925"/>
              <a:ext cx="693419" cy="493395"/>
            </a:xfrm>
            <a:custGeom>
              <a:avLst/>
              <a:gdLst>
                <a:gd name="connsiteX0" fmla="*/ 659130 w 693419"/>
                <a:gd name="connsiteY0" fmla="*/ 422910 h 493395"/>
                <a:gd name="connsiteX1" fmla="*/ 666750 w 693419"/>
                <a:gd name="connsiteY1" fmla="*/ 437197 h 493395"/>
                <a:gd name="connsiteX2" fmla="*/ 641033 w 693419"/>
                <a:gd name="connsiteY2" fmla="*/ 442913 h 493395"/>
                <a:gd name="connsiteX3" fmla="*/ 659130 w 693419"/>
                <a:gd name="connsiteY3" fmla="*/ 422910 h 493395"/>
                <a:gd name="connsiteX4" fmla="*/ 673418 w 693419"/>
                <a:gd name="connsiteY4" fmla="*/ 464820 h 493395"/>
                <a:gd name="connsiteX5" fmla="*/ 668655 w 693419"/>
                <a:gd name="connsiteY5" fmla="*/ 464820 h 493395"/>
                <a:gd name="connsiteX6" fmla="*/ 648653 w 693419"/>
                <a:gd name="connsiteY6" fmla="*/ 478155 h 493395"/>
                <a:gd name="connsiteX7" fmla="*/ 638175 w 693419"/>
                <a:gd name="connsiteY7" fmla="*/ 464820 h 493395"/>
                <a:gd name="connsiteX8" fmla="*/ 639128 w 693419"/>
                <a:gd name="connsiteY8" fmla="*/ 453390 h 493395"/>
                <a:gd name="connsiteX9" fmla="*/ 680085 w 693419"/>
                <a:gd name="connsiteY9" fmla="*/ 440055 h 493395"/>
                <a:gd name="connsiteX10" fmla="*/ 666750 w 693419"/>
                <a:gd name="connsiteY10" fmla="*/ 412433 h 493395"/>
                <a:gd name="connsiteX11" fmla="*/ 624840 w 693419"/>
                <a:gd name="connsiteY11" fmla="*/ 473392 h 493395"/>
                <a:gd name="connsiteX12" fmla="*/ 640080 w 693419"/>
                <a:gd name="connsiteY12" fmla="*/ 493395 h 493395"/>
                <a:gd name="connsiteX13" fmla="*/ 673418 w 693419"/>
                <a:gd name="connsiteY13" fmla="*/ 464820 h 493395"/>
                <a:gd name="connsiteX14" fmla="*/ 664845 w 693419"/>
                <a:gd name="connsiteY14" fmla="*/ 404813 h 493395"/>
                <a:gd name="connsiteX15" fmla="*/ 693420 w 693419"/>
                <a:gd name="connsiteY15" fmla="*/ 378142 h 493395"/>
                <a:gd name="connsiteX16" fmla="*/ 693420 w 693419"/>
                <a:gd name="connsiteY16" fmla="*/ 375285 h 493395"/>
                <a:gd name="connsiteX17" fmla="*/ 678180 w 693419"/>
                <a:gd name="connsiteY17" fmla="*/ 375285 h 493395"/>
                <a:gd name="connsiteX18" fmla="*/ 660083 w 693419"/>
                <a:gd name="connsiteY18" fmla="*/ 405765 h 493395"/>
                <a:gd name="connsiteX19" fmla="*/ 664845 w 693419"/>
                <a:gd name="connsiteY19" fmla="*/ 405765 h 493395"/>
                <a:gd name="connsiteX20" fmla="*/ 576263 w 693419"/>
                <a:gd name="connsiteY20" fmla="*/ 423863 h 493395"/>
                <a:gd name="connsiteX21" fmla="*/ 589598 w 693419"/>
                <a:gd name="connsiteY21" fmla="*/ 423863 h 493395"/>
                <a:gd name="connsiteX22" fmla="*/ 567690 w 693419"/>
                <a:gd name="connsiteY22" fmla="*/ 482917 h 493395"/>
                <a:gd name="connsiteX23" fmla="*/ 573405 w 693419"/>
                <a:gd name="connsiteY23" fmla="*/ 493395 h 493395"/>
                <a:gd name="connsiteX24" fmla="*/ 612458 w 693419"/>
                <a:gd name="connsiteY24" fmla="*/ 464820 h 493395"/>
                <a:gd name="connsiteX25" fmla="*/ 608648 w 693419"/>
                <a:gd name="connsiteY25" fmla="*/ 464820 h 493395"/>
                <a:gd name="connsiteX26" fmla="*/ 583883 w 693419"/>
                <a:gd name="connsiteY26" fmla="*/ 480060 h 493395"/>
                <a:gd name="connsiteX27" fmla="*/ 603885 w 693419"/>
                <a:gd name="connsiteY27" fmla="*/ 424815 h 493395"/>
                <a:gd name="connsiteX28" fmla="*/ 623888 w 693419"/>
                <a:gd name="connsiteY28" fmla="*/ 424815 h 493395"/>
                <a:gd name="connsiteX29" fmla="*/ 626745 w 693419"/>
                <a:gd name="connsiteY29" fmla="*/ 416242 h 493395"/>
                <a:gd name="connsiteX30" fmla="*/ 606743 w 693419"/>
                <a:gd name="connsiteY30" fmla="*/ 416242 h 493395"/>
                <a:gd name="connsiteX31" fmla="*/ 614363 w 693419"/>
                <a:gd name="connsiteY31" fmla="*/ 395288 h 493395"/>
                <a:gd name="connsiteX32" fmla="*/ 606743 w 693419"/>
                <a:gd name="connsiteY32" fmla="*/ 395288 h 493395"/>
                <a:gd name="connsiteX33" fmla="*/ 592455 w 693419"/>
                <a:gd name="connsiteY33" fmla="*/ 416242 h 493395"/>
                <a:gd name="connsiteX34" fmla="*/ 575310 w 693419"/>
                <a:gd name="connsiteY34" fmla="*/ 418147 h 493395"/>
                <a:gd name="connsiteX35" fmla="*/ 575310 w 693419"/>
                <a:gd name="connsiteY35" fmla="*/ 423863 h 493395"/>
                <a:gd name="connsiteX36" fmla="*/ 558165 w 693419"/>
                <a:gd name="connsiteY36" fmla="*/ 421005 h 493395"/>
                <a:gd name="connsiteX37" fmla="*/ 553403 w 693419"/>
                <a:gd name="connsiteY37" fmla="*/ 412433 h 493395"/>
                <a:gd name="connsiteX38" fmla="*/ 521970 w 693419"/>
                <a:gd name="connsiteY38" fmla="*/ 438150 h 493395"/>
                <a:gd name="connsiteX39" fmla="*/ 525780 w 693419"/>
                <a:gd name="connsiteY39" fmla="*/ 438150 h 493395"/>
                <a:gd name="connsiteX40" fmla="*/ 541973 w 693419"/>
                <a:gd name="connsiteY40" fmla="*/ 425767 h 493395"/>
                <a:gd name="connsiteX41" fmla="*/ 519113 w 693419"/>
                <a:gd name="connsiteY41" fmla="*/ 484822 h 493395"/>
                <a:gd name="connsiteX42" fmla="*/ 523875 w 693419"/>
                <a:gd name="connsiteY42" fmla="*/ 493395 h 493395"/>
                <a:gd name="connsiteX43" fmla="*/ 554355 w 693419"/>
                <a:gd name="connsiteY43" fmla="*/ 467678 h 493395"/>
                <a:gd name="connsiteX44" fmla="*/ 550545 w 693419"/>
                <a:gd name="connsiteY44" fmla="*/ 467678 h 493395"/>
                <a:gd name="connsiteX45" fmla="*/ 534353 w 693419"/>
                <a:gd name="connsiteY45" fmla="*/ 480060 h 493395"/>
                <a:gd name="connsiteX46" fmla="*/ 558165 w 693419"/>
                <a:gd name="connsiteY46" fmla="*/ 421005 h 493395"/>
                <a:gd name="connsiteX47" fmla="*/ 561975 w 693419"/>
                <a:gd name="connsiteY47" fmla="*/ 391478 h 493395"/>
                <a:gd name="connsiteX48" fmla="*/ 571500 w 693419"/>
                <a:gd name="connsiteY48" fmla="*/ 381953 h 493395"/>
                <a:gd name="connsiteX49" fmla="*/ 561975 w 693419"/>
                <a:gd name="connsiteY49" fmla="*/ 372428 h 493395"/>
                <a:gd name="connsiteX50" fmla="*/ 552450 w 693419"/>
                <a:gd name="connsiteY50" fmla="*/ 381953 h 493395"/>
                <a:gd name="connsiteX51" fmla="*/ 561975 w 693419"/>
                <a:gd name="connsiteY51" fmla="*/ 391478 h 493395"/>
                <a:gd name="connsiteX52" fmla="*/ 431483 w 693419"/>
                <a:gd name="connsiteY52" fmla="*/ 481965 h 493395"/>
                <a:gd name="connsiteX53" fmla="*/ 438150 w 693419"/>
                <a:gd name="connsiteY53" fmla="*/ 493395 h 493395"/>
                <a:gd name="connsiteX54" fmla="*/ 445770 w 693419"/>
                <a:gd name="connsiteY54" fmla="*/ 487680 h 493395"/>
                <a:gd name="connsiteX55" fmla="*/ 461963 w 693419"/>
                <a:gd name="connsiteY55" fmla="*/ 445770 h 493395"/>
                <a:gd name="connsiteX56" fmla="*/ 490538 w 693419"/>
                <a:gd name="connsiteY56" fmla="*/ 427672 h 493395"/>
                <a:gd name="connsiteX57" fmla="*/ 491490 w 693419"/>
                <a:gd name="connsiteY57" fmla="*/ 436245 h 493395"/>
                <a:gd name="connsiteX58" fmla="*/ 467678 w 693419"/>
                <a:gd name="connsiteY58" fmla="*/ 482917 h 493395"/>
                <a:gd name="connsiteX59" fmla="*/ 473393 w 693419"/>
                <a:gd name="connsiteY59" fmla="*/ 493395 h 493395"/>
                <a:gd name="connsiteX60" fmla="*/ 504825 w 693419"/>
                <a:gd name="connsiteY60" fmla="*/ 467678 h 493395"/>
                <a:gd name="connsiteX61" fmla="*/ 501015 w 693419"/>
                <a:gd name="connsiteY61" fmla="*/ 467678 h 493395"/>
                <a:gd name="connsiteX62" fmla="*/ 484822 w 693419"/>
                <a:gd name="connsiteY62" fmla="*/ 480060 h 493395"/>
                <a:gd name="connsiteX63" fmla="*/ 505778 w 693419"/>
                <a:gd name="connsiteY63" fmla="*/ 438150 h 493395"/>
                <a:gd name="connsiteX64" fmla="*/ 509588 w 693419"/>
                <a:gd name="connsiteY64" fmla="*/ 423863 h 493395"/>
                <a:gd name="connsiteX65" fmla="*/ 498158 w 693419"/>
                <a:gd name="connsiteY65" fmla="*/ 412433 h 493395"/>
                <a:gd name="connsiteX66" fmla="*/ 464820 w 693419"/>
                <a:gd name="connsiteY66" fmla="*/ 438150 h 493395"/>
                <a:gd name="connsiteX67" fmla="*/ 464820 w 693419"/>
                <a:gd name="connsiteY67" fmla="*/ 426720 h 493395"/>
                <a:gd name="connsiteX68" fmla="*/ 455295 w 693419"/>
                <a:gd name="connsiteY68" fmla="*/ 411480 h 493395"/>
                <a:gd name="connsiteX69" fmla="*/ 442913 w 693419"/>
                <a:gd name="connsiteY69" fmla="*/ 421005 h 493395"/>
                <a:gd name="connsiteX70" fmla="*/ 442913 w 693419"/>
                <a:gd name="connsiteY70" fmla="*/ 422910 h 493395"/>
                <a:gd name="connsiteX71" fmla="*/ 448628 w 693419"/>
                <a:gd name="connsiteY71" fmla="*/ 445770 h 493395"/>
                <a:gd name="connsiteX72" fmla="*/ 431483 w 693419"/>
                <a:gd name="connsiteY72" fmla="*/ 481965 h 493395"/>
                <a:gd name="connsiteX73" fmla="*/ 431483 w 693419"/>
                <a:gd name="connsiteY73" fmla="*/ 430530 h 493395"/>
                <a:gd name="connsiteX74" fmla="*/ 425768 w 693419"/>
                <a:gd name="connsiteY74" fmla="*/ 412433 h 493395"/>
                <a:gd name="connsiteX75" fmla="*/ 405765 w 693419"/>
                <a:gd name="connsiteY75" fmla="*/ 438150 h 493395"/>
                <a:gd name="connsiteX76" fmla="*/ 405765 w 693419"/>
                <a:gd name="connsiteY76" fmla="*/ 426720 h 493395"/>
                <a:gd name="connsiteX77" fmla="*/ 396240 w 693419"/>
                <a:gd name="connsiteY77" fmla="*/ 411480 h 493395"/>
                <a:gd name="connsiteX78" fmla="*/ 374333 w 693419"/>
                <a:gd name="connsiteY78" fmla="*/ 437197 h 493395"/>
                <a:gd name="connsiteX79" fmla="*/ 378143 w 693419"/>
                <a:gd name="connsiteY79" fmla="*/ 437197 h 493395"/>
                <a:gd name="connsiteX80" fmla="*/ 388620 w 693419"/>
                <a:gd name="connsiteY80" fmla="*/ 427672 h 493395"/>
                <a:gd name="connsiteX81" fmla="*/ 388620 w 693419"/>
                <a:gd name="connsiteY81" fmla="*/ 445770 h 493395"/>
                <a:gd name="connsiteX82" fmla="*/ 372428 w 693419"/>
                <a:gd name="connsiteY82" fmla="*/ 481013 h 493395"/>
                <a:gd name="connsiteX83" fmla="*/ 379095 w 693419"/>
                <a:gd name="connsiteY83" fmla="*/ 492442 h 493395"/>
                <a:gd name="connsiteX84" fmla="*/ 386715 w 693419"/>
                <a:gd name="connsiteY84" fmla="*/ 486728 h 493395"/>
                <a:gd name="connsiteX85" fmla="*/ 402908 w 693419"/>
                <a:gd name="connsiteY85" fmla="*/ 444817 h 493395"/>
                <a:gd name="connsiteX86" fmla="*/ 416243 w 693419"/>
                <a:gd name="connsiteY86" fmla="*/ 429578 h 493395"/>
                <a:gd name="connsiteX87" fmla="*/ 431483 w 693419"/>
                <a:gd name="connsiteY87" fmla="*/ 429578 h 493395"/>
                <a:gd name="connsiteX88" fmla="*/ 340043 w 693419"/>
                <a:gd name="connsiteY88" fmla="*/ 422910 h 493395"/>
                <a:gd name="connsiteX89" fmla="*/ 347663 w 693419"/>
                <a:gd name="connsiteY89" fmla="*/ 437197 h 493395"/>
                <a:gd name="connsiteX90" fmla="*/ 321945 w 693419"/>
                <a:gd name="connsiteY90" fmla="*/ 442913 h 493395"/>
                <a:gd name="connsiteX91" fmla="*/ 340043 w 693419"/>
                <a:gd name="connsiteY91" fmla="*/ 422910 h 493395"/>
                <a:gd name="connsiteX92" fmla="*/ 354330 w 693419"/>
                <a:gd name="connsiteY92" fmla="*/ 464820 h 493395"/>
                <a:gd name="connsiteX93" fmla="*/ 349568 w 693419"/>
                <a:gd name="connsiteY93" fmla="*/ 464820 h 493395"/>
                <a:gd name="connsiteX94" fmla="*/ 329565 w 693419"/>
                <a:gd name="connsiteY94" fmla="*/ 478155 h 493395"/>
                <a:gd name="connsiteX95" fmla="*/ 319088 w 693419"/>
                <a:gd name="connsiteY95" fmla="*/ 464820 h 493395"/>
                <a:gd name="connsiteX96" fmla="*/ 320040 w 693419"/>
                <a:gd name="connsiteY96" fmla="*/ 453390 h 493395"/>
                <a:gd name="connsiteX97" fmla="*/ 360997 w 693419"/>
                <a:gd name="connsiteY97" fmla="*/ 440055 h 493395"/>
                <a:gd name="connsiteX98" fmla="*/ 347663 w 693419"/>
                <a:gd name="connsiteY98" fmla="*/ 412433 h 493395"/>
                <a:gd name="connsiteX99" fmla="*/ 305753 w 693419"/>
                <a:gd name="connsiteY99" fmla="*/ 473392 h 493395"/>
                <a:gd name="connsiteX100" fmla="*/ 320993 w 693419"/>
                <a:gd name="connsiteY100" fmla="*/ 493395 h 493395"/>
                <a:gd name="connsiteX101" fmla="*/ 354330 w 693419"/>
                <a:gd name="connsiteY101" fmla="*/ 464820 h 493395"/>
                <a:gd name="connsiteX102" fmla="*/ 257175 w 693419"/>
                <a:gd name="connsiteY102" fmla="*/ 423863 h 493395"/>
                <a:gd name="connsiteX103" fmla="*/ 270510 w 693419"/>
                <a:gd name="connsiteY103" fmla="*/ 423863 h 493395"/>
                <a:gd name="connsiteX104" fmla="*/ 248603 w 693419"/>
                <a:gd name="connsiteY104" fmla="*/ 482917 h 493395"/>
                <a:gd name="connsiteX105" fmla="*/ 254318 w 693419"/>
                <a:gd name="connsiteY105" fmla="*/ 493395 h 493395"/>
                <a:gd name="connsiteX106" fmla="*/ 293370 w 693419"/>
                <a:gd name="connsiteY106" fmla="*/ 464820 h 493395"/>
                <a:gd name="connsiteX107" fmla="*/ 289560 w 693419"/>
                <a:gd name="connsiteY107" fmla="*/ 464820 h 493395"/>
                <a:gd name="connsiteX108" fmla="*/ 264795 w 693419"/>
                <a:gd name="connsiteY108" fmla="*/ 480060 h 493395"/>
                <a:gd name="connsiteX109" fmla="*/ 284798 w 693419"/>
                <a:gd name="connsiteY109" fmla="*/ 424815 h 493395"/>
                <a:gd name="connsiteX110" fmla="*/ 304800 w 693419"/>
                <a:gd name="connsiteY110" fmla="*/ 424815 h 493395"/>
                <a:gd name="connsiteX111" fmla="*/ 307658 w 693419"/>
                <a:gd name="connsiteY111" fmla="*/ 416242 h 493395"/>
                <a:gd name="connsiteX112" fmla="*/ 287655 w 693419"/>
                <a:gd name="connsiteY112" fmla="*/ 416242 h 493395"/>
                <a:gd name="connsiteX113" fmla="*/ 295275 w 693419"/>
                <a:gd name="connsiteY113" fmla="*/ 395288 h 493395"/>
                <a:gd name="connsiteX114" fmla="*/ 287655 w 693419"/>
                <a:gd name="connsiteY114" fmla="*/ 395288 h 493395"/>
                <a:gd name="connsiteX115" fmla="*/ 273368 w 693419"/>
                <a:gd name="connsiteY115" fmla="*/ 416242 h 493395"/>
                <a:gd name="connsiteX116" fmla="*/ 256223 w 693419"/>
                <a:gd name="connsiteY116" fmla="*/ 418147 h 493395"/>
                <a:gd name="connsiteX117" fmla="*/ 256223 w 693419"/>
                <a:gd name="connsiteY117" fmla="*/ 423863 h 493395"/>
                <a:gd name="connsiteX118" fmla="*/ 181928 w 693419"/>
                <a:gd name="connsiteY118" fmla="*/ 469583 h 493395"/>
                <a:gd name="connsiteX119" fmla="*/ 213360 w 693419"/>
                <a:gd name="connsiteY119" fmla="*/ 426720 h 493395"/>
                <a:gd name="connsiteX120" fmla="*/ 220028 w 693419"/>
                <a:gd name="connsiteY120" fmla="*/ 427672 h 493395"/>
                <a:gd name="connsiteX121" fmla="*/ 208598 w 693419"/>
                <a:gd name="connsiteY121" fmla="*/ 459105 h 493395"/>
                <a:gd name="connsiteX122" fmla="*/ 186690 w 693419"/>
                <a:gd name="connsiteY122" fmla="*/ 477203 h 493395"/>
                <a:gd name="connsiteX123" fmla="*/ 181928 w 693419"/>
                <a:gd name="connsiteY123" fmla="*/ 469583 h 493395"/>
                <a:gd name="connsiteX124" fmla="*/ 244793 w 693419"/>
                <a:gd name="connsiteY124" fmla="*/ 408622 h 493395"/>
                <a:gd name="connsiteX125" fmla="*/ 238125 w 693419"/>
                <a:gd name="connsiteY125" fmla="*/ 408622 h 493395"/>
                <a:gd name="connsiteX126" fmla="*/ 231458 w 693419"/>
                <a:gd name="connsiteY126" fmla="*/ 415290 h 493395"/>
                <a:gd name="connsiteX127" fmla="*/ 229553 w 693419"/>
                <a:gd name="connsiteY127" fmla="*/ 415290 h 493395"/>
                <a:gd name="connsiteX128" fmla="*/ 166688 w 693419"/>
                <a:gd name="connsiteY128" fmla="*/ 481013 h 493395"/>
                <a:gd name="connsiteX129" fmla="*/ 179070 w 693419"/>
                <a:gd name="connsiteY129" fmla="*/ 493395 h 493395"/>
                <a:gd name="connsiteX130" fmla="*/ 205740 w 693419"/>
                <a:gd name="connsiteY130" fmla="*/ 467678 h 493395"/>
                <a:gd name="connsiteX131" fmla="*/ 205740 w 693419"/>
                <a:gd name="connsiteY131" fmla="*/ 472440 h 493395"/>
                <a:gd name="connsiteX132" fmla="*/ 216218 w 693419"/>
                <a:gd name="connsiteY132" fmla="*/ 493395 h 493395"/>
                <a:gd name="connsiteX133" fmla="*/ 238125 w 693419"/>
                <a:gd name="connsiteY133" fmla="*/ 467678 h 493395"/>
                <a:gd name="connsiteX134" fmla="*/ 234315 w 693419"/>
                <a:gd name="connsiteY134" fmla="*/ 467678 h 493395"/>
                <a:gd name="connsiteX135" fmla="*/ 223838 w 693419"/>
                <a:gd name="connsiteY135" fmla="*/ 477203 h 493395"/>
                <a:gd name="connsiteX136" fmla="*/ 223838 w 693419"/>
                <a:gd name="connsiteY136" fmla="*/ 459105 h 493395"/>
                <a:gd name="connsiteX137" fmla="*/ 244793 w 693419"/>
                <a:gd name="connsiteY137" fmla="*/ 408622 h 493395"/>
                <a:gd name="connsiteX138" fmla="*/ 172403 w 693419"/>
                <a:gd name="connsiteY138" fmla="*/ 430530 h 493395"/>
                <a:gd name="connsiteX139" fmla="*/ 166688 w 693419"/>
                <a:gd name="connsiteY139" fmla="*/ 412433 h 493395"/>
                <a:gd name="connsiteX140" fmla="*/ 146685 w 693419"/>
                <a:gd name="connsiteY140" fmla="*/ 438150 h 493395"/>
                <a:gd name="connsiteX141" fmla="*/ 146685 w 693419"/>
                <a:gd name="connsiteY141" fmla="*/ 426720 h 493395"/>
                <a:gd name="connsiteX142" fmla="*/ 137160 w 693419"/>
                <a:gd name="connsiteY142" fmla="*/ 411480 h 493395"/>
                <a:gd name="connsiteX143" fmla="*/ 115253 w 693419"/>
                <a:gd name="connsiteY143" fmla="*/ 437197 h 493395"/>
                <a:gd name="connsiteX144" fmla="*/ 119063 w 693419"/>
                <a:gd name="connsiteY144" fmla="*/ 437197 h 493395"/>
                <a:gd name="connsiteX145" fmla="*/ 129540 w 693419"/>
                <a:gd name="connsiteY145" fmla="*/ 427672 h 493395"/>
                <a:gd name="connsiteX146" fmla="*/ 129540 w 693419"/>
                <a:gd name="connsiteY146" fmla="*/ 445770 h 493395"/>
                <a:gd name="connsiteX147" fmla="*/ 113348 w 693419"/>
                <a:gd name="connsiteY147" fmla="*/ 481013 h 493395"/>
                <a:gd name="connsiteX148" fmla="*/ 120015 w 693419"/>
                <a:gd name="connsiteY148" fmla="*/ 492442 h 493395"/>
                <a:gd name="connsiteX149" fmla="*/ 127635 w 693419"/>
                <a:gd name="connsiteY149" fmla="*/ 486728 h 493395"/>
                <a:gd name="connsiteX150" fmla="*/ 143828 w 693419"/>
                <a:gd name="connsiteY150" fmla="*/ 444817 h 493395"/>
                <a:gd name="connsiteX151" fmla="*/ 157163 w 693419"/>
                <a:gd name="connsiteY151" fmla="*/ 429578 h 493395"/>
                <a:gd name="connsiteX152" fmla="*/ 172403 w 693419"/>
                <a:gd name="connsiteY152" fmla="*/ 429578 h 493395"/>
                <a:gd name="connsiteX153" fmla="*/ 59055 w 693419"/>
                <a:gd name="connsiteY153" fmla="*/ 489585 h 493395"/>
                <a:gd name="connsiteX154" fmla="*/ 60960 w 693419"/>
                <a:gd name="connsiteY154" fmla="*/ 484822 h 493395"/>
                <a:gd name="connsiteX155" fmla="*/ 46673 w 693419"/>
                <a:gd name="connsiteY155" fmla="*/ 460058 h 493395"/>
                <a:gd name="connsiteX156" fmla="*/ 54293 w 693419"/>
                <a:gd name="connsiteY156" fmla="*/ 438150 h 493395"/>
                <a:gd name="connsiteX157" fmla="*/ 76200 w 693419"/>
                <a:gd name="connsiteY157" fmla="*/ 438150 h 493395"/>
                <a:gd name="connsiteX158" fmla="*/ 84773 w 693419"/>
                <a:gd name="connsiteY158" fmla="*/ 452438 h 493395"/>
                <a:gd name="connsiteX159" fmla="*/ 90488 w 693419"/>
                <a:gd name="connsiteY159" fmla="*/ 452438 h 493395"/>
                <a:gd name="connsiteX160" fmla="*/ 103823 w 693419"/>
                <a:gd name="connsiteY160" fmla="*/ 416242 h 493395"/>
                <a:gd name="connsiteX161" fmla="*/ 98107 w 693419"/>
                <a:gd name="connsiteY161" fmla="*/ 416242 h 493395"/>
                <a:gd name="connsiteX162" fmla="*/ 79057 w 693419"/>
                <a:gd name="connsiteY162" fmla="*/ 430530 h 493395"/>
                <a:gd name="connsiteX163" fmla="*/ 57150 w 693419"/>
                <a:gd name="connsiteY163" fmla="*/ 430530 h 493395"/>
                <a:gd name="connsiteX164" fmla="*/ 68580 w 693419"/>
                <a:gd name="connsiteY164" fmla="*/ 399097 h 493395"/>
                <a:gd name="connsiteX165" fmla="*/ 87630 w 693419"/>
                <a:gd name="connsiteY165" fmla="*/ 386715 h 493395"/>
                <a:gd name="connsiteX166" fmla="*/ 97155 w 693419"/>
                <a:gd name="connsiteY166" fmla="*/ 386715 h 493395"/>
                <a:gd name="connsiteX167" fmla="*/ 112395 w 693419"/>
                <a:gd name="connsiteY167" fmla="*/ 404813 h 493395"/>
                <a:gd name="connsiteX168" fmla="*/ 118110 w 693419"/>
                <a:gd name="connsiteY168" fmla="*/ 404813 h 493395"/>
                <a:gd name="connsiteX169" fmla="*/ 122873 w 693419"/>
                <a:gd name="connsiteY169" fmla="*/ 380047 h 493395"/>
                <a:gd name="connsiteX170" fmla="*/ 40957 w 693419"/>
                <a:gd name="connsiteY170" fmla="*/ 380047 h 493395"/>
                <a:gd name="connsiteX171" fmla="*/ 39053 w 693419"/>
                <a:gd name="connsiteY171" fmla="*/ 384810 h 493395"/>
                <a:gd name="connsiteX172" fmla="*/ 48578 w 693419"/>
                <a:gd name="connsiteY172" fmla="*/ 409575 h 493395"/>
                <a:gd name="connsiteX173" fmla="*/ 30480 w 693419"/>
                <a:gd name="connsiteY173" fmla="*/ 458153 h 493395"/>
                <a:gd name="connsiteX174" fmla="*/ 1905 w 693419"/>
                <a:gd name="connsiteY174" fmla="*/ 482917 h 493395"/>
                <a:gd name="connsiteX175" fmla="*/ 953 w 693419"/>
                <a:gd name="connsiteY175" fmla="*/ 487680 h 493395"/>
                <a:gd name="connsiteX176" fmla="*/ 59055 w 693419"/>
                <a:gd name="connsiteY176" fmla="*/ 487680 h 493395"/>
                <a:gd name="connsiteX177" fmla="*/ 460058 w 693419"/>
                <a:gd name="connsiteY177" fmla="*/ 238125 h 493395"/>
                <a:gd name="connsiteX178" fmla="*/ 467678 w 693419"/>
                <a:gd name="connsiteY178" fmla="*/ 252413 h 493395"/>
                <a:gd name="connsiteX179" fmla="*/ 441960 w 693419"/>
                <a:gd name="connsiteY179" fmla="*/ 258128 h 493395"/>
                <a:gd name="connsiteX180" fmla="*/ 460058 w 693419"/>
                <a:gd name="connsiteY180" fmla="*/ 238125 h 493395"/>
                <a:gd name="connsiteX181" fmla="*/ 474345 w 693419"/>
                <a:gd name="connsiteY181" fmla="*/ 279083 h 493395"/>
                <a:gd name="connsiteX182" fmla="*/ 469583 w 693419"/>
                <a:gd name="connsiteY182" fmla="*/ 279083 h 493395"/>
                <a:gd name="connsiteX183" fmla="*/ 449580 w 693419"/>
                <a:gd name="connsiteY183" fmla="*/ 292417 h 493395"/>
                <a:gd name="connsiteX184" fmla="*/ 439103 w 693419"/>
                <a:gd name="connsiteY184" fmla="*/ 279083 h 493395"/>
                <a:gd name="connsiteX185" fmla="*/ 440055 w 693419"/>
                <a:gd name="connsiteY185" fmla="*/ 267653 h 493395"/>
                <a:gd name="connsiteX186" fmla="*/ 481013 w 693419"/>
                <a:gd name="connsiteY186" fmla="*/ 254317 h 493395"/>
                <a:gd name="connsiteX187" fmla="*/ 467678 w 693419"/>
                <a:gd name="connsiteY187" fmla="*/ 226695 h 493395"/>
                <a:gd name="connsiteX188" fmla="*/ 425768 w 693419"/>
                <a:gd name="connsiteY188" fmla="*/ 287655 h 493395"/>
                <a:gd name="connsiteX189" fmla="*/ 441008 w 693419"/>
                <a:gd name="connsiteY189" fmla="*/ 307658 h 493395"/>
                <a:gd name="connsiteX190" fmla="*/ 474345 w 693419"/>
                <a:gd name="connsiteY190" fmla="*/ 279083 h 493395"/>
                <a:gd name="connsiteX191" fmla="*/ 466725 w 693419"/>
                <a:gd name="connsiteY191" fmla="*/ 219075 h 493395"/>
                <a:gd name="connsiteX192" fmla="*/ 495300 w 693419"/>
                <a:gd name="connsiteY192" fmla="*/ 192405 h 493395"/>
                <a:gd name="connsiteX193" fmla="*/ 495300 w 693419"/>
                <a:gd name="connsiteY193" fmla="*/ 189547 h 493395"/>
                <a:gd name="connsiteX194" fmla="*/ 480060 w 693419"/>
                <a:gd name="connsiteY194" fmla="*/ 189547 h 493395"/>
                <a:gd name="connsiteX195" fmla="*/ 461963 w 693419"/>
                <a:gd name="connsiteY195" fmla="*/ 220028 h 493395"/>
                <a:gd name="connsiteX196" fmla="*/ 466725 w 693419"/>
                <a:gd name="connsiteY196" fmla="*/ 220028 h 493395"/>
                <a:gd name="connsiteX197" fmla="*/ 378143 w 693419"/>
                <a:gd name="connsiteY197" fmla="*/ 238125 h 493395"/>
                <a:gd name="connsiteX198" fmla="*/ 391478 w 693419"/>
                <a:gd name="connsiteY198" fmla="*/ 238125 h 493395"/>
                <a:gd name="connsiteX199" fmla="*/ 369570 w 693419"/>
                <a:gd name="connsiteY199" fmla="*/ 297180 h 493395"/>
                <a:gd name="connsiteX200" fmla="*/ 375285 w 693419"/>
                <a:gd name="connsiteY200" fmla="*/ 307658 h 493395"/>
                <a:gd name="connsiteX201" fmla="*/ 414338 w 693419"/>
                <a:gd name="connsiteY201" fmla="*/ 279083 h 493395"/>
                <a:gd name="connsiteX202" fmla="*/ 410528 w 693419"/>
                <a:gd name="connsiteY202" fmla="*/ 279083 h 493395"/>
                <a:gd name="connsiteX203" fmla="*/ 385763 w 693419"/>
                <a:gd name="connsiteY203" fmla="*/ 294322 h 493395"/>
                <a:gd name="connsiteX204" fmla="*/ 405765 w 693419"/>
                <a:gd name="connsiteY204" fmla="*/ 239078 h 493395"/>
                <a:gd name="connsiteX205" fmla="*/ 425768 w 693419"/>
                <a:gd name="connsiteY205" fmla="*/ 239078 h 493395"/>
                <a:gd name="connsiteX206" fmla="*/ 428625 w 693419"/>
                <a:gd name="connsiteY206" fmla="*/ 230505 h 493395"/>
                <a:gd name="connsiteX207" fmla="*/ 408622 w 693419"/>
                <a:gd name="connsiteY207" fmla="*/ 230505 h 493395"/>
                <a:gd name="connsiteX208" fmla="*/ 416243 w 693419"/>
                <a:gd name="connsiteY208" fmla="*/ 209550 h 493395"/>
                <a:gd name="connsiteX209" fmla="*/ 408622 w 693419"/>
                <a:gd name="connsiteY209" fmla="*/ 209550 h 493395"/>
                <a:gd name="connsiteX210" fmla="*/ 394335 w 693419"/>
                <a:gd name="connsiteY210" fmla="*/ 230505 h 493395"/>
                <a:gd name="connsiteX211" fmla="*/ 377190 w 693419"/>
                <a:gd name="connsiteY211" fmla="*/ 232410 h 493395"/>
                <a:gd name="connsiteX212" fmla="*/ 377190 w 693419"/>
                <a:gd name="connsiteY212" fmla="*/ 238125 h 493395"/>
                <a:gd name="connsiteX213" fmla="*/ 359093 w 693419"/>
                <a:gd name="connsiteY213" fmla="*/ 235267 h 493395"/>
                <a:gd name="connsiteX214" fmla="*/ 354330 w 693419"/>
                <a:gd name="connsiteY214" fmla="*/ 226695 h 493395"/>
                <a:gd name="connsiteX215" fmla="*/ 322898 w 693419"/>
                <a:gd name="connsiteY215" fmla="*/ 252413 h 493395"/>
                <a:gd name="connsiteX216" fmla="*/ 326708 w 693419"/>
                <a:gd name="connsiteY216" fmla="*/ 252413 h 493395"/>
                <a:gd name="connsiteX217" fmla="*/ 342900 w 693419"/>
                <a:gd name="connsiteY217" fmla="*/ 240030 h 493395"/>
                <a:gd name="connsiteX218" fmla="*/ 320040 w 693419"/>
                <a:gd name="connsiteY218" fmla="*/ 299085 h 493395"/>
                <a:gd name="connsiteX219" fmla="*/ 324803 w 693419"/>
                <a:gd name="connsiteY219" fmla="*/ 307658 h 493395"/>
                <a:gd name="connsiteX220" fmla="*/ 355283 w 693419"/>
                <a:gd name="connsiteY220" fmla="*/ 281940 h 493395"/>
                <a:gd name="connsiteX221" fmla="*/ 351472 w 693419"/>
                <a:gd name="connsiteY221" fmla="*/ 281940 h 493395"/>
                <a:gd name="connsiteX222" fmla="*/ 335280 w 693419"/>
                <a:gd name="connsiteY222" fmla="*/ 294322 h 493395"/>
                <a:gd name="connsiteX223" fmla="*/ 359093 w 693419"/>
                <a:gd name="connsiteY223" fmla="*/ 235267 h 493395"/>
                <a:gd name="connsiteX224" fmla="*/ 363855 w 693419"/>
                <a:gd name="connsiteY224" fmla="*/ 205740 h 493395"/>
                <a:gd name="connsiteX225" fmla="*/ 373380 w 693419"/>
                <a:gd name="connsiteY225" fmla="*/ 196215 h 493395"/>
                <a:gd name="connsiteX226" fmla="*/ 363855 w 693419"/>
                <a:gd name="connsiteY226" fmla="*/ 186690 h 493395"/>
                <a:gd name="connsiteX227" fmla="*/ 354330 w 693419"/>
                <a:gd name="connsiteY227" fmla="*/ 196215 h 493395"/>
                <a:gd name="connsiteX228" fmla="*/ 363855 w 693419"/>
                <a:gd name="connsiteY228" fmla="*/ 205740 h 493395"/>
                <a:gd name="connsiteX229" fmla="*/ 284798 w 693419"/>
                <a:gd name="connsiteY229" fmla="*/ 294322 h 493395"/>
                <a:gd name="connsiteX230" fmla="*/ 325755 w 693419"/>
                <a:gd name="connsiteY230" fmla="*/ 185738 h 493395"/>
                <a:gd name="connsiteX231" fmla="*/ 324803 w 693419"/>
                <a:gd name="connsiteY231" fmla="*/ 183833 h 493395"/>
                <a:gd name="connsiteX232" fmla="*/ 299085 w 693419"/>
                <a:gd name="connsiteY232" fmla="*/ 186690 h 493395"/>
                <a:gd name="connsiteX233" fmla="*/ 299085 w 693419"/>
                <a:gd name="connsiteY233" fmla="*/ 189547 h 493395"/>
                <a:gd name="connsiteX234" fmla="*/ 303848 w 693419"/>
                <a:gd name="connsiteY234" fmla="*/ 193358 h 493395"/>
                <a:gd name="connsiteX235" fmla="*/ 302895 w 693419"/>
                <a:gd name="connsiteY235" fmla="*/ 211455 h 493395"/>
                <a:gd name="connsiteX236" fmla="*/ 270510 w 693419"/>
                <a:gd name="connsiteY236" fmla="*/ 296228 h 493395"/>
                <a:gd name="connsiteX237" fmla="*/ 276225 w 693419"/>
                <a:gd name="connsiteY237" fmla="*/ 306705 h 493395"/>
                <a:gd name="connsiteX238" fmla="*/ 306705 w 693419"/>
                <a:gd name="connsiteY238" fmla="*/ 280988 h 493395"/>
                <a:gd name="connsiteX239" fmla="*/ 302895 w 693419"/>
                <a:gd name="connsiteY239" fmla="*/ 280988 h 493395"/>
                <a:gd name="connsiteX240" fmla="*/ 284798 w 693419"/>
                <a:gd name="connsiteY240" fmla="*/ 294322 h 493395"/>
                <a:gd name="connsiteX241" fmla="*/ 205740 w 693419"/>
                <a:gd name="connsiteY241" fmla="*/ 284797 h 493395"/>
                <a:gd name="connsiteX242" fmla="*/ 237173 w 693419"/>
                <a:gd name="connsiteY242" fmla="*/ 241935 h 493395"/>
                <a:gd name="connsiteX243" fmla="*/ 243840 w 693419"/>
                <a:gd name="connsiteY243" fmla="*/ 242888 h 493395"/>
                <a:gd name="connsiteX244" fmla="*/ 232410 w 693419"/>
                <a:gd name="connsiteY244" fmla="*/ 274320 h 493395"/>
                <a:gd name="connsiteX245" fmla="*/ 210503 w 693419"/>
                <a:gd name="connsiteY245" fmla="*/ 292417 h 493395"/>
                <a:gd name="connsiteX246" fmla="*/ 205740 w 693419"/>
                <a:gd name="connsiteY246" fmla="*/ 284797 h 493395"/>
                <a:gd name="connsiteX247" fmla="*/ 268605 w 693419"/>
                <a:gd name="connsiteY247" fmla="*/ 223838 h 493395"/>
                <a:gd name="connsiteX248" fmla="*/ 261938 w 693419"/>
                <a:gd name="connsiteY248" fmla="*/ 223838 h 493395"/>
                <a:gd name="connsiteX249" fmla="*/ 255270 w 693419"/>
                <a:gd name="connsiteY249" fmla="*/ 230505 h 493395"/>
                <a:gd name="connsiteX250" fmla="*/ 253365 w 693419"/>
                <a:gd name="connsiteY250" fmla="*/ 230505 h 493395"/>
                <a:gd name="connsiteX251" fmla="*/ 190500 w 693419"/>
                <a:gd name="connsiteY251" fmla="*/ 296228 h 493395"/>
                <a:gd name="connsiteX252" fmla="*/ 202883 w 693419"/>
                <a:gd name="connsiteY252" fmla="*/ 308610 h 493395"/>
                <a:gd name="connsiteX253" fmla="*/ 229553 w 693419"/>
                <a:gd name="connsiteY253" fmla="*/ 282892 h 493395"/>
                <a:gd name="connsiteX254" fmla="*/ 229553 w 693419"/>
                <a:gd name="connsiteY254" fmla="*/ 287655 h 493395"/>
                <a:gd name="connsiteX255" fmla="*/ 240030 w 693419"/>
                <a:gd name="connsiteY255" fmla="*/ 308610 h 493395"/>
                <a:gd name="connsiteX256" fmla="*/ 261938 w 693419"/>
                <a:gd name="connsiteY256" fmla="*/ 282892 h 493395"/>
                <a:gd name="connsiteX257" fmla="*/ 258128 w 693419"/>
                <a:gd name="connsiteY257" fmla="*/ 282892 h 493395"/>
                <a:gd name="connsiteX258" fmla="*/ 247650 w 693419"/>
                <a:gd name="connsiteY258" fmla="*/ 292417 h 493395"/>
                <a:gd name="connsiteX259" fmla="*/ 247650 w 693419"/>
                <a:gd name="connsiteY259" fmla="*/ 274320 h 493395"/>
                <a:gd name="connsiteX260" fmla="*/ 268605 w 693419"/>
                <a:gd name="connsiteY260" fmla="*/ 223838 h 493395"/>
                <a:gd name="connsiteX261" fmla="*/ 117157 w 693419"/>
                <a:gd name="connsiteY261" fmla="*/ 321945 h 493395"/>
                <a:gd name="connsiteX262" fmla="*/ 135255 w 693419"/>
                <a:gd name="connsiteY262" fmla="*/ 304800 h 493395"/>
                <a:gd name="connsiteX263" fmla="*/ 151448 w 693419"/>
                <a:gd name="connsiteY263" fmla="*/ 310515 h 493395"/>
                <a:gd name="connsiteX264" fmla="*/ 166688 w 693419"/>
                <a:gd name="connsiteY264" fmla="*/ 319088 h 493395"/>
                <a:gd name="connsiteX265" fmla="*/ 137160 w 693419"/>
                <a:gd name="connsiteY265" fmla="*/ 331470 h 493395"/>
                <a:gd name="connsiteX266" fmla="*/ 117157 w 693419"/>
                <a:gd name="connsiteY266" fmla="*/ 321945 h 493395"/>
                <a:gd name="connsiteX267" fmla="*/ 147638 w 693419"/>
                <a:gd name="connsiteY267" fmla="*/ 274320 h 493395"/>
                <a:gd name="connsiteX268" fmla="*/ 140970 w 693419"/>
                <a:gd name="connsiteY268" fmla="*/ 265747 h 493395"/>
                <a:gd name="connsiteX269" fmla="*/ 159068 w 693419"/>
                <a:gd name="connsiteY269" fmla="*/ 233363 h 493395"/>
                <a:gd name="connsiteX270" fmla="*/ 165735 w 693419"/>
                <a:gd name="connsiteY270" fmla="*/ 241935 h 493395"/>
                <a:gd name="connsiteX271" fmla="*/ 147638 w 693419"/>
                <a:gd name="connsiteY271" fmla="*/ 274320 h 493395"/>
                <a:gd name="connsiteX272" fmla="*/ 180023 w 693419"/>
                <a:gd name="connsiteY272" fmla="*/ 314325 h 493395"/>
                <a:gd name="connsiteX273" fmla="*/ 158115 w 693419"/>
                <a:gd name="connsiteY273" fmla="*/ 297180 h 493395"/>
                <a:gd name="connsiteX274" fmla="*/ 140970 w 693419"/>
                <a:gd name="connsiteY274" fmla="*/ 288608 h 493395"/>
                <a:gd name="connsiteX275" fmla="*/ 148590 w 693419"/>
                <a:gd name="connsiteY275" fmla="*/ 279083 h 493395"/>
                <a:gd name="connsiteX276" fmla="*/ 180975 w 693419"/>
                <a:gd name="connsiteY276" fmla="*/ 245745 h 493395"/>
                <a:gd name="connsiteX277" fmla="*/ 179070 w 693419"/>
                <a:gd name="connsiteY277" fmla="*/ 237172 h 493395"/>
                <a:gd name="connsiteX278" fmla="*/ 195263 w 693419"/>
                <a:gd name="connsiteY278" fmla="*/ 237172 h 493395"/>
                <a:gd name="connsiteX279" fmla="*/ 198120 w 693419"/>
                <a:gd name="connsiteY279" fmla="*/ 228600 h 493395"/>
                <a:gd name="connsiteX280" fmla="*/ 172403 w 693419"/>
                <a:gd name="connsiteY280" fmla="*/ 228600 h 493395"/>
                <a:gd name="connsiteX281" fmla="*/ 161925 w 693419"/>
                <a:gd name="connsiteY281" fmla="*/ 225742 h 493395"/>
                <a:gd name="connsiteX282" fmla="*/ 127635 w 693419"/>
                <a:gd name="connsiteY282" fmla="*/ 258128 h 493395"/>
                <a:gd name="connsiteX283" fmla="*/ 143828 w 693419"/>
                <a:gd name="connsiteY283" fmla="*/ 278130 h 493395"/>
                <a:gd name="connsiteX284" fmla="*/ 128588 w 693419"/>
                <a:gd name="connsiteY284" fmla="*/ 293370 h 493395"/>
                <a:gd name="connsiteX285" fmla="*/ 132398 w 693419"/>
                <a:gd name="connsiteY285" fmla="*/ 300990 h 493395"/>
                <a:gd name="connsiteX286" fmla="*/ 100965 w 693419"/>
                <a:gd name="connsiteY286" fmla="*/ 325755 h 493395"/>
                <a:gd name="connsiteX287" fmla="*/ 130493 w 693419"/>
                <a:gd name="connsiteY287" fmla="*/ 340042 h 493395"/>
                <a:gd name="connsiteX288" fmla="*/ 180023 w 693419"/>
                <a:gd name="connsiteY288" fmla="*/ 314325 h 493395"/>
                <a:gd name="connsiteX289" fmla="*/ 76200 w 693419"/>
                <a:gd name="connsiteY289" fmla="*/ 251460 h 493395"/>
                <a:gd name="connsiteX290" fmla="*/ 84773 w 693419"/>
                <a:gd name="connsiteY290" fmla="*/ 265747 h 493395"/>
                <a:gd name="connsiteX291" fmla="*/ 90488 w 693419"/>
                <a:gd name="connsiteY291" fmla="*/ 265747 h 493395"/>
                <a:gd name="connsiteX292" fmla="*/ 103823 w 693419"/>
                <a:gd name="connsiteY292" fmla="*/ 229553 h 493395"/>
                <a:gd name="connsiteX293" fmla="*/ 98107 w 693419"/>
                <a:gd name="connsiteY293" fmla="*/ 229553 h 493395"/>
                <a:gd name="connsiteX294" fmla="*/ 79057 w 693419"/>
                <a:gd name="connsiteY294" fmla="*/ 243840 h 493395"/>
                <a:gd name="connsiteX295" fmla="*/ 57150 w 693419"/>
                <a:gd name="connsiteY295" fmla="*/ 243840 h 493395"/>
                <a:gd name="connsiteX296" fmla="*/ 67628 w 693419"/>
                <a:gd name="connsiteY296" fmla="*/ 214313 h 493395"/>
                <a:gd name="connsiteX297" fmla="*/ 86678 w 693419"/>
                <a:gd name="connsiteY297" fmla="*/ 202883 h 493395"/>
                <a:gd name="connsiteX298" fmla="*/ 96203 w 693419"/>
                <a:gd name="connsiteY298" fmla="*/ 202883 h 493395"/>
                <a:gd name="connsiteX299" fmla="*/ 111443 w 693419"/>
                <a:gd name="connsiteY299" fmla="*/ 220028 h 493395"/>
                <a:gd name="connsiteX300" fmla="*/ 117157 w 693419"/>
                <a:gd name="connsiteY300" fmla="*/ 220028 h 493395"/>
                <a:gd name="connsiteX301" fmla="*/ 121920 w 693419"/>
                <a:gd name="connsiteY301" fmla="*/ 195263 h 493395"/>
                <a:gd name="connsiteX302" fmla="*/ 40005 w 693419"/>
                <a:gd name="connsiteY302" fmla="*/ 195263 h 493395"/>
                <a:gd name="connsiteX303" fmla="*/ 38100 w 693419"/>
                <a:gd name="connsiteY303" fmla="*/ 200025 h 493395"/>
                <a:gd name="connsiteX304" fmla="*/ 47625 w 693419"/>
                <a:gd name="connsiteY304" fmla="*/ 224790 h 493395"/>
                <a:gd name="connsiteX305" fmla="*/ 29528 w 693419"/>
                <a:gd name="connsiteY305" fmla="*/ 273367 h 493395"/>
                <a:gd name="connsiteX306" fmla="*/ 953 w 693419"/>
                <a:gd name="connsiteY306" fmla="*/ 298133 h 493395"/>
                <a:gd name="connsiteX307" fmla="*/ 0 w 693419"/>
                <a:gd name="connsiteY307" fmla="*/ 302895 h 493395"/>
                <a:gd name="connsiteX308" fmla="*/ 91440 w 693419"/>
                <a:gd name="connsiteY308" fmla="*/ 302895 h 493395"/>
                <a:gd name="connsiteX309" fmla="*/ 107632 w 693419"/>
                <a:gd name="connsiteY309" fmla="*/ 277178 h 493395"/>
                <a:gd name="connsiteX310" fmla="*/ 101918 w 693419"/>
                <a:gd name="connsiteY310" fmla="*/ 277178 h 493395"/>
                <a:gd name="connsiteX311" fmla="*/ 60007 w 693419"/>
                <a:gd name="connsiteY311" fmla="*/ 296228 h 493395"/>
                <a:gd name="connsiteX312" fmla="*/ 45720 w 693419"/>
                <a:gd name="connsiteY312" fmla="*/ 273367 h 493395"/>
                <a:gd name="connsiteX313" fmla="*/ 54293 w 693419"/>
                <a:gd name="connsiteY313" fmla="*/ 249555 h 493395"/>
                <a:gd name="connsiteX314" fmla="*/ 76200 w 693419"/>
                <a:gd name="connsiteY314" fmla="*/ 249555 h 493395"/>
                <a:gd name="connsiteX315" fmla="*/ 88582 w 693419"/>
                <a:gd name="connsiteY315" fmla="*/ 188595 h 493395"/>
                <a:gd name="connsiteX316" fmla="*/ 117157 w 693419"/>
                <a:gd name="connsiteY316" fmla="*/ 168592 h 493395"/>
                <a:gd name="connsiteX317" fmla="*/ 117157 w 693419"/>
                <a:gd name="connsiteY317" fmla="*/ 165735 h 493395"/>
                <a:gd name="connsiteX318" fmla="*/ 100013 w 693419"/>
                <a:gd name="connsiteY318" fmla="*/ 165735 h 493395"/>
                <a:gd name="connsiteX319" fmla="*/ 83820 w 693419"/>
                <a:gd name="connsiteY319" fmla="*/ 188595 h 493395"/>
                <a:gd name="connsiteX320" fmla="*/ 88582 w 693419"/>
                <a:gd name="connsiteY320" fmla="*/ 188595 h 493395"/>
                <a:gd name="connsiteX321" fmla="*/ 450533 w 693419"/>
                <a:gd name="connsiteY321" fmla="*/ 52388 h 493395"/>
                <a:gd name="connsiteX322" fmla="*/ 458153 w 693419"/>
                <a:gd name="connsiteY322" fmla="*/ 66675 h 493395"/>
                <a:gd name="connsiteX323" fmla="*/ 432435 w 693419"/>
                <a:gd name="connsiteY323" fmla="*/ 72390 h 493395"/>
                <a:gd name="connsiteX324" fmla="*/ 450533 w 693419"/>
                <a:gd name="connsiteY324" fmla="*/ 52388 h 493395"/>
                <a:gd name="connsiteX325" fmla="*/ 464820 w 693419"/>
                <a:gd name="connsiteY325" fmla="*/ 93345 h 493395"/>
                <a:gd name="connsiteX326" fmla="*/ 460058 w 693419"/>
                <a:gd name="connsiteY326" fmla="*/ 93345 h 493395"/>
                <a:gd name="connsiteX327" fmla="*/ 440055 w 693419"/>
                <a:gd name="connsiteY327" fmla="*/ 106680 h 493395"/>
                <a:gd name="connsiteX328" fmla="*/ 429578 w 693419"/>
                <a:gd name="connsiteY328" fmla="*/ 93345 h 493395"/>
                <a:gd name="connsiteX329" fmla="*/ 430530 w 693419"/>
                <a:gd name="connsiteY329" fmla="*/ 81915 h 493395"/>
                <a:gd name="connsiteX330" fmla="*/ 471488 w 693419"/>
                <a:gd name="connsiteY330" fmla="*/ 68580 h 493395"/>
                <a:gd name="connsiteX331" fmla="*/ 458153 w 693419"/>
                <a:gd name="connsiteY331" fmla="*/ 40958 h 493395"/>
                <a:gd name="connsiteX332" fmla="*/ 416243 w 693419"/>
                <a:gd name="connsiteY332" fmla="*/ 101917 h 493395"/>
                <a:gd name="connsiteX333" fmla="*/ 431483 w 693419"/>
                <a:gd name="connsiteY333" fmla="*/ 121920 h 493395"/>
                <a:gd name="connsiteX334" fmla="*/ 464820 w 693419"/>
                <a:gd name="connsiteY334" fmla="*/ 93345 h 493395"/>
                <a:gd name="connsiteX335" fmla="*/ 457200 w 693419"/>
                <a:gd name="connsiteY335" fmla="*/ 33338 h 493395"/>
                <a:gd name="connsiteX336" fmla="*/ 485775 w 693419"/>
                <a:gd name="connsiteY336" fmla="*/ 6667 h 493395"/>
                <a:gd name="connsiteX337" fmla="*/ 485775 w 693419"/>
                <a:gd name="connsiteY337" fmla="*/ 3810 h 493395"/>
                <a:gd name="connsiteX338" fmla="*/ 470535 w 693419"/>
                <a:gd name="connsiteY338" fmla="*/ 3810 h 493395"/>
                <a:gd name="connsiteX339" fmla="*/ 452438 w 693419"/>
                <a:gd name="connsiteY339" fmla="*/ 34290 h 493395"/>
                <a:gd name="connsiteX340" fmla="*/ 457200 w 693419"/>
                <a:gd name="connsiteY340" fmla="*/ 34290 h 493395"/>
                <a:gd name="connsiteX341" fmla="*/ 371475 w 693419"/>
                <a:gd name="connsiteY341" fmla="*/ 52388 h 493395"/>
                <a:gd name="connsiteX342" fmla="*/ 381953 w 693419"/>
                <a:gd name="connsiteY342" fmla="*/ 52388 h 493395"/>
                <a:gd name="connsiteX343" fmla="*/ 360045 w 693419"/>
                <a:gd name="connsiteY343" fmla="*/ 111442 h 493395"/>
                <a:gd name="connsiteX344" fmla="*/ 365760 w 693419"/>
                <a:gd name="connsiteY344" fmla="*/ 121920 h 493395"/>
                <a:gd name="connsiteX345" fmla="*/ 404813 w 693419"/>
                <a:gd name="connsiteY345" fmla="*/ 93345 h 493395"/>
                <a:gd name="connsiteX346" fmla="*/ 401003 w 693419"/>
                <a:gd name="connsiteY346" fmla="*/ 93345 h 493395"/>
                <a:gd name="connsiteX347" fmla="*/ 376238 w 693419"/>
                <a:gd name="connsiteY347" fmla="*/ 108585 h 493395"/>
                <a:gd name="connsiteX348" fmla="*/ 396240 w 693419"/>
                <a:gd name="connsiteY348" fmla="*/ 53340 h 493395"/>
                <a:gd name="connsiteX349" fmla="*/ 416243 w 693419"/>
                <a:gd name="connsiteY349" fmla="*/ 53340 h 493395"/>
                <a:gd name="connsiteX350" fmla="*/ 419100 w 693419"/>
                <a:gd name="connsiteY350" fmla="*/ 44767 h 493395"/>
                <a:gd name="connsiteX351" fmla="*/ 399097 w 693419"/>
                <a:gd name="connsiteY351" fmla="*/ 44767 h 493395"/>
                <a:gd name="connsiteX352" fmla="*/ 406718 w 693419"/>
                <a:gd name="connsiteY352" fmla="*/ 23813 h 493395"/>
                <a:gd name="connsiteX353" fmla="*/ 399097 w 693419"/>
                <a:gd name="connsiteY353" fmla="*/ 23813 h 493395"/>
                <a:gd name="connsiteX354" fmla="*/ 384810 w 693419"/>
                <a:gd name="connsiteY354" fmla="*/ 44767 h 493395"/>
                <a:gd name="connsiteX355" fmla="*/ 370522 w 693419"/>
                <a:gd name="connsiteY355" fmla="*/ 46672 h 493395"/>
                <a:gd name="connsiteX356" fmla="*/ 370522 w 693419"/>
                <a:gd name="connsiteY356" fmla="*/ 52388 h 493395"/>
                <a:gd name="connsiteX357" fmla="*/ 360997 w 693419"/>
                <a:gd name="connsiteY357" fmla="*/ 59055 h 493395"/>
                <a:gd name="connsiteX358" fmla="*/ 355283 w 693419"/>
                <a:gd name="connsiteY358" fmla="*/ 40958 h 493395"/>
                <a:gd name="connsiteX359" fmla="*/ 335280 w 693419"/>
                <a:gd name="connsiteY359" fmla="*/ 66675 h 493395"/>
                <a:gd name="connsiteX360" fmla="*/ 335280 w 693419"/>
                <a:gd name="connsiteY360" fmla="*/ 55245 h 493395"/>
                <a:gd name="connsiteX361" fmla="*/ 325755 w 693419"/>
                <a:gd name="connsiteY361" fmla="*/ 40005 h 493395"/>
                <a:gd name="connsiteX362" fmla="*/ 303848 w 693419"/>
                <a:gd name="connsiteY362" fmla="*/ 65722 h 493395"/>
                <a:gd name="connsiteX363" fmla="*/ 307658 w 693419"/>
                <a:gd name="connsiteY363" fmla="*/ 65722 h 493395"/>
                <a:gd name="connsiteX364" fmla="*/ 318135 w 693419"/>
                <a:gd name="connsiteY364" fmla="*/ 56197 h 493395"/>
                <a:gd name="connsiteX365" fmla="*/ 318135 w 693419"/>
                <a:gd name="connsiteY365" fmla="*/ 74295 h 493395"/>
                <a:gd name="connsiteX366" fmla="*/ 301943 w 693419"/>
                <a:gd name="connsiteY366" fmla="*/ 109538 h 493395"/>
                <a:gd name="connsiteX367" fmla="*/ 308610 w 693419"/>
                <a:gd name="connsiteY367" fmla="*/ 120967 h 493395"/>
                <a:gd name="connsiteX368" fmla="*/ 316230 w 693419"/>
                <a:gd name="connsiteY368" fmla="*/ 115253 h 493395"/>
                <a:gd name="connsiteX369" fmla="*/ 332423 w 693419"/>
                <a:gd name="connsiteY369" fmla="*/ 73342 h 493395"/>
                <a:gd name="connsiteX370" fmla="*/ 345758 w 693419"/>
                <a:gd name="connsiteY370" fmla="*/ 58103 h 493395"/>
                <a:gd name="connsiteX371" fmla="*/ 360997 w 693419"/>
                <a:gd name="connsiteY371" fmla="*/ 58103 h 493395"/>
                <a:gd name="connsiteX372" fmla="*/ 269558 w 693419"/>
                <a:gd name="connsiteY372" fmla="*/ 52388 h 493395"/>
                <a:gd name="connsiteX373" fmla="*/ 277178 w 693419"/>
                <a:gd name="connsiteY373" fmla="*/ 66675 h 493395"/>
                <a:gd name="connsiteX374" fmla="*/ 251460 w 693419"/>
                <a:gd name="connsiteY374" fmla="*/ 72390 h 493395"/>
                <a:gd name="connsiteX375" fmla="*/ 269558 w 693419"/>
                <a:gd name="connsiteY375" fmla="*/ 52388 h 493395"/>
                <a:gd name="connsiteX376" fmla="*/ 283845 w 693419"/>
                <a:gd name="connsiteY376" fmla="*/ 93345 h 493395"/>
                <a:gd name="connsiteX377" fmla="*/ 279083 w 693419"/>
                <a:gd name="connsiteY377" fmla="*/ 93345 h 493395"/>
                <a:gd name="connsiteX378" fmla="*/ 259080 w 693419"/>
                <a:gd name="connsiteY378" fmla="*/ 106680 h 493395"/>
                <a:gd name="connsiteX379" fmla="*/ 248603 w 693419"/>
                <a:gd name="connsiteY379" fmla="*/ 93345 h 493395"/>
                <a:gd name="connsiteX380" fmla="*/ 249555 w 693419"/>
                <a:gd name="connsiteY380" fmla="*/ 81915 h 493395"/>
                <a:gd name="connsiteX381" fmla="*/ 290513 w 693419"/>
                <a:gd name="connsiteY381" fmla="*/ 68580 h 493395"/>
                <a:gd name="connsiteX382" fmla="*/ 277178 w 693419"/>
                <a:gd name="connsiteY382" fmla="*/ 40958 h 493395"/>
                <a:gd name="connsiteX383" fmla="*/ 235268 w 693419"/>
                <a:gd name="connsiteY383" fmla="*/ 101917 h 493395"/>
                <a:gd name="connsiteX384" fmla="*/ 250508 w 693419"/>
                <a:gd name="connsiteY384" fmla="*/ 121920 h 493395"/>
                <a:gd name="connsiteX385" fmla="*/ 283845 w 693419"/>
                <a:gd name="connsiteY385" fmla="*/ 93345 h 493395"/>
                <a:gd name="connsiteX386" fmla="*/ 182880 w 693419"/>
                <a:gd name="connsiteY386" fmla="*/ 110490 h 493395"/>
                <a:gd name="connsiteX387" fmla="*/ 173355 w 693419"/>
                <a:gd name="connsiteY387" fmla="*/ 103822 h 493395"/>
                <a:gd name="connsiteX388" fmla="*/ 177165 w 693419"/>
                <a:gd name="connsiteY388" fmla="*/ 92392 h 493395"/>
                <a:gd name="connsiteX389" fmla="*/ 183833 w 693419"/>
                <a:gd name="connsiteY389" fmla="*/ 74295 h 493395"/>
                <a:gd name="connsiteX390" fmla="*/ 207645 w 693419"/>
                <a:gd name="connsiteY390" fmla="*/ 57150 h 493395"/>
                <a:gd name="connsiteX391" fmla="*/ 214313 w 693419"/>
                <a:gd name="connsiteY391" fmla="*/ 64770 h 493395"/>
                <a:gd name="connsiteX392" fmla="*/ 182880 w 693419"/>
                <a:gd name="connsiteY392" fmla="*/ 110490 h 493395"/>
                <a:gd name="connsiteX393" fmla="*/ 230505 w 693419"/>
                <a:gd name="connsiteY393" fmla="*/ 58103 h 493395"/>
                <a:gd name="connsiteX394" fmla="*/ 218123 w 693419"/>
                <a:gd name="connsiteY394" fmla="*/ 41910 h 493395"/>
                <a:gd name="connsiteX395" fmla="*/ 188595 w 693419"/>
                <a:gd name="connsiteY395" fmla="*/ 66675 h 493395"/>
                <a:gd name="connsiteX396" fmla="*/ 213360 w 693419"/>
                <a:gd name="connsiteY396" fmla="*/ 1905 h 493395"/>
                <a:gd name="connsiteX397" fmla="*/ 212408 w 693419"/>
                <a:gd name="connsiteY397" fmla="*/ 0 h 493395"/>
                <a:gd name="connsiteX398" fmla="*/ 186690 w 693419"/>
                <a:gd name="connsiteY398" fmla="*/ 2858 h 493395"/>
                <a:gd name="connsiteX399" fmla="*/ 186690 w 693419"/>
                <a:gd name="connsiteY399" fmla="*/ 5715 h 493395"/>
                <a:gd name="connsiteX400" fmla="*/ 191453 w 693419"/>
                <a:gd name="connsiteY400" fmla="*/ 9525 h 493395"/>
                <a:gd name="connsiteX401" fmla="*/ 190500 w 693419"/>
                <a:gd name="connsiteY401" fmla="*/ 27622 h 493395"/>
                <a:gd name="connsiteX402" fmla="*/ 163830 w 693419"/>
                <a:gd name="connsiteY402" fmla="*/ 96203 h 493395"/>
                <a:gd name="connsiteX403" fmla="*/ 159068 w 693419"/>
                <a:gd name="connsiteY403" fmla="*/ 108585 h 493395"/>
                <a:gd name="connsiteX404" fmla="*/ 177165 w 693419"/>
                <a:gd name="connsiteY404" fmla="*/ 121920 h 493395"/>
                <a:gd name="connsiteX405" fmla="*/ 230505 w 693419"/>
                <a:gd name="connsiteY405" fmla="*/ 58103 h 493395"/>
                <a:gd name="connsiteX406" fmla="*/ 149543 w 693419"/>
                <a:gd name="connsiteY406" fmla="*/ 49530 h 493395"/>
                <a:gd name="connsiteX407" fmla="*/ 144780 w 693419"/>
                <a:gd name="connsiteY407" fmla="*/ 40958 h 493395"/>
                <a:gd name="connsiteX408" fmla="*/ 113348 w 693419"/>
                <a:gd name="connsiteY408" fmla="*/ 66675 h 493395"/>
                <a:gd name="connsiteX409" fmla="*/ 117157 w 693419"/>
                <a:gd name="connsiteY409" fmla="*/ 66675 h 493395"/>
                <a:gd name="connsiteX410" fmla="*/ 133350 w 693419"/>
                <a:gd name="connsiteY410" fmla="*/ 54292 h 493395"/>
                <a:gd name="connsiteX411" fmla="*/ 110490 w 693419"/>
                <a:gd name="connsiteY411" fmla="*/ 113347 h 493395"/>
                <a:gd name="connsiteX412" fmla="*/ 115253 w 693419"/>
                <a:gd name="connsiteY412" fmla="*/ 121920 h 493395"/>
                <a:gd name="connsiteX413" fmla="*/ 145733 w 693419"/>
                <a:gd name="connsiteY413" fmla="*/ 96203 h 493395"/>
                <a:gd name="connsiteX414" fmla="*/ 141923 w 693419"/>
                <a:gd name="connsiteY414" fmla="*/ 96203 h 493395"/>
                <a:gd name="connsiteX415" fmla="*/ 125730 w 693419"/>
                <a:gd name="connsiteY415" fmla="*/ 108585 h 493395"/>
                <a:gd name="connsiteX416" fmla="*/ 149543 w 693419"/>
                <a:gd name="connsiteY416" fmla="*/ 49530 h 493395"/>
                <a:gd name="connsiteX417" fmla="*/ 153353 w 693419"/>
                <a:gd name="connsiteY417" fmla="*/ 20003 h 493395"/>
                <a:gd name="connsiteX418" fmla="*/ 162878 w 693419"/>
                <a:gd name="connsiteY418" fmla="*/ 10478 h 493395"/>
                <a:gd name="connsiteX419" fmla="*/ 153353 w 693419"/>
                <a:gd name="connsiteY419" fmla="*/ 953 h 493395"/>
                <a:gd name="connsiteX420" fmla="*/ 143828 w 693419"/>
                <a:gd name="connsiteY420" fmla="*/ 10478 h 493395"/>
                <a:gd name="connsiteX421" fmla="*/ 153353 w 693419"/>
                <a:gd name="connsiteY421" fmla="*/ 20003 h 493395"/>
                <a:gd name="connsiteX422" fmla="*/ 93345 w 693419"/>
                <a:gd name="connsiteY422" fmla="*/ 10478 h 493395"/>
                <a:gd name="connsiteX423" fmla="*/ 39053 w 693419"/>
                <a:gd name="connsiteY423" fmla="*/ 10478 h 493395"/>
                <a:gd name="connsiteX424" fmla="*/ 37148 w 693419"/>
                <a:gd name="connsiteY424" fmla="*/ 15240 h 493395"/>
                <a:gd name="connsiteX425" fmla="*/ 46673 w 693419"/>
                <a:gd name="connsiteY425" fmla="*/ 40005 h 493395"/>
                <a:gd name="connsiteX426" fmla="*/ 29528 w 693419"/>
                <a:gd name="connsiteY426" fmla="*/ 88583 h 493395"/>
                <a:gd name="connsiteX427" fmla="*/ 953 w 693419"/>
                <a:gd name="connsiteY427" fmla="*/ 113347 h 493395"/>
                <a:gd name="connsiteX428" fmla="*/ 0 w 693419"/>
                <a:gd name="connsiteY428" fmla="*/ 118110 h 493395"/>
                <a:gd name="connsiteX429" fmla="*/ 82868 w 693419"/>
                <a:gd name="connsiteY429" fmla="*/ 118110 h 493395"/>
                <a:gd name="connsiteX430" fmla="*/ 100965 w 693419"/>
                <a:gd name="connsiteY430" fmla="*/ 86678 h 493395"/>
                <a:gd name="connsiteX431" fmla="*/ 94298 w 693419"/>
                <a:gd name="connsiteY431" fmla="*/ 86678 h 493395"/>
                <a:gd name="connsiteX432" fmla="*/ 54293 w 693419"/>
                <a:gd name="connsiteY432" fmla="*/ 111442 h 493395"/>
                <a:gd name="connsiteX433" fmla="*/ 46673 w 693419"/>
                <a:gd name="connsiteY433" fmla="*/ 88583 h 493395"/>
                <a:gd name="connsiteX434" fmla="*/ 63818 w 693419"/>
                <a:gd name="connsiteY434" fmla="*/ 40005 h 493395"/>
                <a:gd name="connsiteX435" fmla="*/ 92393 w 693419"/>
                <a:gd name="connsiteY435" fmla="*/ 15240 h 493395"/>
                <a:gd name="connsiteX436" fmla="*/ 93345 w 693419"/>
                <a:gd name="connsiteY436" fmla="*/ 10478 h 49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</a:cxnLst>
              <a:rect l="l" t="t" r="r" b="b"/>
              <a:pathLst>
                <a:path w="693419" h="493395">
                  <a:moveTo>
                    <a:pt x="659130" y="422910"/>
                  </a:moveTo>
                  <a:cubicBezTo>
                    <a:pt x="664845" y="422910"/>
                    <a:pt x="669608" y="426720"/>
                    <a:pt x="666750" y="437197"/>
                  </a:cubicBezTo>
                  <a:lnTo>
                    <a:pt x="641033" y="442913"/>
                  </a:lnTo>
                  <a:cubicBezTo>
                    <a:pt x="645795" y="432435"/>
                    <a:pt x="653415" y="422910"/>
                    <a:pt x="659130" y="422910"/>
                  </a:cubicBezTo>
                  <a:moveTo>
                    <a:pt x="673418" y="464820"/>
                  </a:moveTo>
                  <a:lnTo>
                    <a:pt x="668655" y="464820"/>
                  </a:lnTo>
                  <a:cubicBezTo>
                    <a:pt x="661988" y="472440"/>
                    <a:pt x="655320" y="478155"/>
                    <a:pt x="648653" y="478155"/>
                  </a:cubicBezTo>
                  <a:cubicBezTo>
                    <a:pt x="641985" y="478155"/>
                    <a:pt x="638175" y="474345"/>
                    <a:pt x="638175" y="464820"/>
                  </a:cubicBezTo>
                  <a:cubicBezTo>
                    <a:pt x="638175" y="461010"/>
                    <a:pt x="638175" y="457200"/>
                    <a:pt x="639128" y="453390"/>
                  </a:cubicBezTo>
                  <a:lnTo>
                    <a:pt x="680085" y="440055"/>
                  </a:lnTo>
                  <a:cubicBezTo>
                    <a:pt x="687705" y="421005"/>
                    <a:pt x="678180" y="412433"/>
                    <a:pt x="666750" y="412433"/>
                  </a:cubicBezTo>
                  <a:cubicBezTo>
                    <a:pt x="647700" y="412433"/>
                    <a:pt x="624840" y="444817"/>
                    <a:pt x="624840" y="473392"/>
                  </a:cubicBezTo>
                  <a:cubicBezTo>
                    <a:pt x="624840" y="485775"/>
                    <a:pt x="630555" y="493395"/>
                    <a:pt x="640080" y="493395"/>
                  </a:cubicBezTo>
                  <a:cubicBezTo>
                    <a:pt x="652463" y="493395"/>
                    <a:pt x="663893" y="481965"/>
                    <a:pt x="673418" y="464820"/>
                  </a:cubicBezTo>
                  <a:moveTo>
                    <a:pt x="664845" y="404813"/>
                  </a:moveTo>
                  <a:lnTo>
                    <a:pt x="693420" y="378142"/>
                  </a:lnTo>
                  <a:lnTo>
                    <a:pt x="693420" y="375285"/>
                  </a:lnTo>
                  <a:lnTo>
                    <a:pt x="678180" y="375285"/>
                  </a:lnTo>
                  <a:lnTo>
                    <a:pt x="660083" y="405765"/>
                  </a:lnTo>
                  <a:lnTo>
                    <a:pt x="664845" y="405765"/>
                  </a:lnTo>
                  <a:close/>
                  <a:moveTo>
                    <a:pt x="576263" y="423863"/>
                  </a:moveTo>
                  <a:lnTo>
                    <a:pt x="589598" y="423863"/>
                  </a:lnTo>
                  <a:lnTo>
                    <a:pt x="567690" y="482917"/>
                  </a:lnTo>
                  <a:cubicBezTo>
                    <a:pt x="565785" y="487680"/>
                    <a:pt x="568643" y="493395"/>
                    <a:pt x="573405" y="493395"/>
                  </a:cubicBezTo>
                  <a:cubicBezTo>
                    <a:pt x="585788" y="493395"/>
                    <a:pt x="605790" y="481013"/>
                    <a:pt x="612458" y="464820"/>
                  </a:cubicBezTo>
                  <a:lnTo>
                    <a:pt x="608648" y="464820"/>
                  </a:lnTo>
                  <a:cubicBezTo>
                    <a:pt x="602933" y="470535"/>
                    <a:pt x="592455" y="478155"/>
                    <a:pt x="583883" y="480060"/>
                  </a:cubicBezTo>
                  <a:lnTo>
                    <a:pt x="603885" y="424815"/>
                  </a:lnTo>
                  <a:lnTo>
                    <a:pt x="623888" y="424815"/>
                  </a:lnTo>
                  <a:lnTo>
                    <a:pt x="626745" y="416242"/>
                  </a:lnTo>
                  <a:lnTo>
                    <a:pt x="606743" y="416242"/>
                  </a:lnTo>
                  <a:lnTo>
                    <a:pt x="614363" y="395288"/>
                  </a:lnTo>
                  <a:lnTo>
                    <a:pt x="606743" y="395288"/>
                  </a:lnTo>
                  <a:lnTo>
                    <a:pt x="592455" y="416242"/>
                  </a:lnTo>
                  <a:lnTo>
                    <a:pt x="575310" y="418147"/>
                  </a:lnTo>
                  <a:lnTo>
                    <a:pt x="575310" y="423863"/>
                  </a:lnTo>
                  <a:close/>
                  <a:moveTo>
                    <a:pt x="558165" y="421005"/>
                  </a:moveTo>
                  <a:cubicBezTo>
                    <a:pt x="560070" y="415290"/>
                    <a:pt x="556260" y="412433"/>
                    <a:pt x="553403" y="412433"/>
                  </a:cubicBezTo>
                  <a:cubicBezTo>
                    <a:pt x="541973" y="412433"/>
                    <a:pt x="527685" y="422910"/>
                    <a:pt x="521970" y="438150"/>
                  </a:cubicBezTo>
                  <a:lnTo>
                    <a:pt x="525780" y="438150"/>
                  </a:lnTo>
                  <a:cubicBezTo>
                    <a:pt x="529590" y="432435"/>
                    <a:pt x="536258" y="426720"/>
                    <a:pt x="541973" y="425767"/>
                  </a:cubicBezTo>
                  <a:lnTo>
                    <a:pt x="519113" y="484822"/>
                  </a:lnTo>
                  <a:cubicBezTo>
                    <a:pt x="517208" y="490538"/>
                    <a:pt x="521018" y="493395"/>
                    <a:pt x="523875" y="493395"/>
                  </a:cubicBezTo>
                  <a:cubicBezTo>
                    <a:pt x="535305" y="493395"/>
                    <a:pt x="548640" y="482917"/>
                    <a:pt x="554355" y="467678"/>
                  </a:cubicBezTo>
                  <a:lnTo>
                    <a:pt x="550545" y="467678"/>
                  </a:lnTo>
                  <a:cubicBezTo>
                    <a:pt x="546735" y="473392"/>
                    <a:pt x="540068" y="479108"/>
                    <a:pt x="534353" y="480060"/>
                  </a:cubicBezTo>
                  <a:lnTo>
                    <a:pt x="558165" y="421005"/>
                  </a:lnTo>
                  <a:close/>
                  <a:moveTo>
                    <a:pt x="561975" y="391478"/>
                  </a:moveTo>
                  <a:cubicBezTo>
                    <a:pt x="567690" y="391478"/>
                    <a:pt x="571500" y="386715"/>
                    <a:pt x="571500" y="381953"/>
                  </a:cubicBezTo>
                  <a:cubicBezTo>
                    <a:pt x="571500" y="376238"/>
                    <a:pt x="566738" y="372428"/>
                    <a:pt x="561975" y="372428"/>
                  </a:cubicBezTo>
                  <a:cubicBezTo>
                    <a:pt x="556260" y="372428"/>
                    <a:pt x="552450" y="377190"/>
                    <a:pt x="552450" y="381953"/>
                  </a:cubicBezTo>
                  <a:cubicBezTo>
                    <a:pt x="552450" y="386715"/>
                    <a:pt x="556260" y="391478"/>
                    <a:pt x="561975" y="391478"/>
                  </a:cubicBezTo>
                  <a:moveTo>
                    <a:pt x="431483" y="481965"/>
                  </a:moveTo>
                  <a:cubicBezTo>
                    <a:pt x="428625" y="488633"/>
                    <a:pt x="431483" y="493395"/>
                    <a:pt x="438150" y="493395"/>
                  </a:cubicBezTo>
                  <a:cubicBezTo>
                    <a:pt x="441960" y="493395"/>
                    <a:pt x="443865" y="492442"/>
                    <a:pt x="445770" y="487680"/>
                  </a:cubicBezTo>
                  <a:lnTo>
                    <a:pt x="461963" y="445770"/>
                  </a:lnTo>
                  <a:cubicBezTo>
                    <a:pt x="469583" y="437197"/>
                    <a:pt x="483870" y="427672"/>
                    <a:pt x="490538" y="427672"/>
                  </a:cubicBezTo>
                  <a:cubicBezTo>
                    <a:pt x="495300" y="427672"/>
                    <a:pt x="494347" y="431483"/>
                    <a:pt x="491490" y="436245"/>
                  </a:cubicBezTo>
                  <a:lnTo>
                    <a:pt x="467678" y="482917"/>
                  </a:lnTo>
                  <a:cubicBezTo>
                    <a:pt x="465772" y="487680"/>
                    <a:pt x="468630" y="493395"/>
                    <a:pt x="473393" y="493395"/>
                  </a:cubicBezTo>
                  <a:cubicBezTo>
                    <a:pt x="484822" y="493395"/>
                    <a:pt x="499110" y="482917"/>
                    <a:pt x="504825" y="467678"/>
                  </a:cubicBezTo>
                  <a:lnTo>
                    <a:pt x="501015" y="467678"/>
                  </a:lnTo>
                  <a:cubicBezTo>
                    <a:pt x="497205" y="473392"/>
                    <a:pt x="490538" y="479108"/>
                    <a:pt x="484822" y="480060"/>
                  </a:cubicBezTo>
                  <a:lnTo>
                    <a:pt x="505778" y="438150"/>
                  </a:lnTo>
                  <a:cubicBezTo>
                    <a:pt x="508635" y="432435"/>
                    <a:pt x="509588" y="427672"/>
                    <a:pt x="509588" y="423863"/>
                  </a:cubicBezTo>
                  <a:cubicBezTo>
                    <a:pt x="509588" y="417195"/>
                    <a:pt x="505778" y="412433"/>
                    <a:pt x="498158" y="412433"/>
                  </a:cubicBezTo>
                  <a:cubicBezTo>
                    <a:pt x="487680" y="412433"/>
                    <a:pt x="477203" y="423863"/>
                    <a:pt x="464820" y="438150"/>
                  </a:cubicBezTo>
                  <a:lnTo>
                    <a:pt x="464820" y="426720"/>
                  </a:lnTo>
                  <a:cubicBezTo>
                    <a:pt x="464820" y="419100"/>
                    <a:pt x="461963" y="411480"/>
                    <a:pt x="455295" y="411480"/>
                  </a:cubicBezTo>
                  <a:cubicBezTo>
                    <a:pt x="450533" y="411480"/>
                    <a:pt x="446722" y="415290"/>
                    <a:pt x="442913" y="421005"/>
                  </a:cubicBezTo>
                  <a:lnTo>
                    <a:pt x="442913" y="422910"/>
                  </a:lnTo>
                  <a:cubicBezTo>
                    <a:pt x="450533" y="422910"/>
                    <a:pt x="454343" y="434340"/>
                    <a:pt x="448628" y="445770"/>
                  </a:cubicBezTo>
                  <a:lnTo>
                    <a:pt x="431483" y="481965"/>
                  </a:lnTo>
                  <a:close/>
                  <a:moveTo>
                    <a:pt x="431483" y="430530"/>
                  </a:moveTo>
                  <a:cubicBezTo>
                    <a:pt x="434340" y="421005"/>
                    <a:pt x="432435" y="412433"/>
                    <a:pt x="425768" y="412433"/>
                  </a:cubicBezTo>
                  <a:cubicBezTo>
                    <a:pt x="417195" y="412433"/>
                    <a:pt x="414338" y="419100"/>
                    <a:pt x="405765" y="438150"/>
                  </a:cubicBezTo>
                  <a:lnTo>
                    <a:pt x="405765" y="426720"/>
                  </a:lnTo>
                  <a:cubicBezTo>
                    <a:pt x="405765" y="419100"/>
                    <a:pt x="402908" y="411480"/>
                    <a:pt x="396240" y="411480"/>
                  </a:cubicBezTo>
                  <a:cubicBezTo>
                    <a:pt x="387668" y="411480"/>
                    <a:pt x="380047" y="424815"/>
                    <a:pt x="374333" y="437197"/>
                  </a:cubicBezTo>
                  <a:lnTo>
                    <a:pt x="378143" y="437197"/>
                  </a:lnTo>
                  <a:cubicBezTo>
                    <a:pt x="381953" y="431483"/>
                    <a:pt x="385763" y="427672"/>
                    <a:pt x="388620" y="427672"/>
                  </a:cubicBezTo>
                  <a:cubicBezTo>
                    <a:pt x="392430" y="427672"/>
                    <a:pt x="394335" y="433388"/>
                    <a:pt x="388620" y="445770"/>
                  </a:cubicBezTo>
                  <a:lnTo>
                    <a:pt x="372428" y="481013"/>
                  </a:lnTo>
                  <a:cubicBezTo>
                    <a:pt x="369570" y="487680"/>
                    <a:pt x="372428" y="492442"/>
                    <a:pt x="379095" y="492442"/>
                  </a:cubicBezTo>
                  <a:cubicBezTo>
                    <a:pt x="382905" y="492442"/>
                    <a:pt x="384810" y="491490"/>
                    <a:pt x="386715" y="486728"/>
                  </a:cubicBezTo>
                  <a:lnTo>
                    <a:pt x="402908" y="444817"/>
                  </a:lnTo>
                  <a:cubicBezTo>
                    <a:pt x="407670" y="439103"/>
                    <a:pt x="411480" y="434340"/>
                    <a:pt x="416243" y="429578"/>
                  </a:cubicBezTo>
                  <a:lnTo>
                    <a:pt x="431483" y="429578"/>
                  </a:lnTo>
                  <a:close/>
                  <a:moveTo>
                    <a:pt x="340043" y="422910"/>
                  </a:moveTo>
                  <a:cubicBezTo>
                    <a:pt x="345758" y="422910"/>
                    <a:pt x="350520" y="426720"/>
                    <a:pt x="347663" y="437197"/>
                  </a:cubicBezTo>
                  <a:lnTo>
                    <a:pt x="321945" y="442913"/>
                  </a:lnTo>
                  <a:cubicBezTo>
                    <a:pt x="326708" y="432435"/>
                    <a:pt x="334328" y="422910"/>
                    <a:pt x="340043" y="422910"/>
                  </a:cubicBezTo>
                  <a:moveTo>
                    <a:pt x="354330" y="464820"/>
                  </a:moveTo>
                  <a:lnTo>
                    <a:pt x="349568" y="464820"/>
                  </a:lnTo>
                  <a:cubicBezTo>
                    <a:pt x="342900" y="472440"/>
                    <a:pt x="336233" y="478155"/>
                    <a:pt x="329565" y="478155"/>
                  </a:cubicBezTo>
                  <a:cubicBezTo>
                    <a:pt x="322898" y="478155"/>
                    <a:pt x="319088" y="474345"/>
                    <a:pt x="319088" y="464820"/>
                  </a:cubicBezTo>
                  <a:cubicBezTo>
                    <a:pt x="319088" y="461010"/>
                    <a:pt x="319088" y="457200"/>
                    <a:pt x="320040" y="453390"/>
                  </a:cubicBezTo>
                  <a:lnTo>
                    <a:pt x="360997" y="440055"/>
                  </a:lnTo>
                  <a:cubicBezTo>
                    <a:pt x="368618" y="421005"/>
                    <a:pt x="359093" y="412433"/>
                    <a:pt x="347663" y="412433"/>
                  </a:cubicBezTo>
                  <a:cubicBezTo>
                    <a:pt x="328613" y="412433"/>
                    <a:pt x="305753" y="444817"/>
                    <a:pt x="305753" y="473392"/>
                  </a:cubicBezTo>
                  <a:cubicBezTo>
                    <a:pt x="305753" y="485775"/>
                    <a:pt x="311468" y="493395"/>
                    <a:pt x="320993" y="493395"/>
                  </a:cubicBezTo>
                  <a:cubicBezTo>
                    <a:pt x="333375" y="493395"/>
                    <a:pt x="344805" y="481965"/>
                    <a:pt x="354330" y="464820"/>
                  </a:cubicBezTo>
                  <a:moveTo>
                    <a:pt x="257175" y="423863"/>
                  </a:moveTo>
                  <a:lnTo>
                    <a:pt x="270510" y="423863"/>
                  </a:lnTo>
                  <a:lnTo>
                    <a:pt x="248603" y="482917"/>
                  </a:lnTo>
                  <a:cubicBezTo>
                    <a:pt x="246698" y="487680"/>
                    <a:pt x="249555" y="493395"/>
                    <a:pt x="254318" y="493395"/>
                  </a:cubicBezTo>
                  <a:cubicBezTo>
                    <a:pt x="266700" y="493395"/>
                    <a:pt x="286703" y="481013"/>
                    <a:pt x="293370" y="464820"/>
                  </a:cubicBezTo>
                  <a:lnTo>
                    <a:pt x="289560" y="464820"/>
                  </a:lnTo>
                  <a:cubicBezTo>
                    <a:pt x="283845" y="470535"/>
                    <a:pt x="273368" y="478155"/>
                    <a:pt x="264795" y="480060"/>
                  </a:cubicBezTo>
                  <a:lnTo>
                    <a:pt x="284798" y="424815"/>
                  </a:lnTo>
                  <a:lnTo>
                    <a:pt x="304800" y="424815"/>
                  </a:lnTo>
                  <a:lnTo>
                    <a:pt x="307658" y="416242"/>
                  </a:lnTo>
                  <a:lnTo>
                    <a:pt x="287655" y="416242"/>
                  </a:lnTo>
                  <a:lnTo>
                    <a:pt x="295275" y="395288"/>
                  </a:lnTo>
                  <a:lnTo>
                    <a:pt x="287655" y="395288"/>
                  </a:lnTo>
                  <a:lnTo>
                    <a:pt x="273368" y="416242"/>
                  </a:lnTo>
                  <a:lnTo>
                    <a:pt x="256223" y="418147"/>
                  </a:lnTo>
                  <a:lnTo>
                    <a:pt x="256223" y="423863"/>
                  </a:lnTo>
                  <a:close/>
                  <a:moveTo>
                    <a:pt x="181928" y="469583"/>
                  </a:moveTo>
                  <a:cubicBezTo>
                    <a:pt x="181928" y="451485"/>
                    <a:pt x="201930" y="426720"/>
                    <a:pt x="213360" y="426720"/>
                  </a:cubicBezTo>
                  <a:cubicBezTo>
                    <a:pt x="216218" y="426720"/>
                    <a:pt x="218123" y="426720"/>
                    <a:pt x="220028" y="427672"/>
                  </a:cubicBezTo>
                  <a:lnTo>
                    <a:pt x="208598" y="459105"/>
                  </a:lnTo>
                  <a:cubicBezTo>
                    <a:pt x="201930" y="467678"/>
                    <a:pt x="191453" y="477203"/>
                    <a:pt x="186690" y="477203"/>
                  </a:cubicBezTo>
                  <a:cubicBezTo>
                    <a:pt x="183833" y="478155"/>
                    <a:pt x="181928" y="475297"/>
                    <a:pt x="181928" y="469583"/>
                  </a:cubicBezTo>
                  <a:moveTo>
                    <a:pt x="244793" y="408622"/>
                  </a:moveTo>
                  <a:lnTo>
                    <a:pt x="238125" y="408622"/>
                  </a:lnTo>
                  <a:lnTo>
                    <a:pt x="231458" y="415290"/>
                  </a:lnTo>
                  <a:lnTo>
                    <a:pt x="229553" y="415290"/>
                  </a:lnTo>
                  <a:cubicBezTo>
                    <a:pt x="195263" y="415290"/>
                    <a:pt x="166688" y="453390"/>
                    <a:pt x="166688" y="481013"/>
                  </a:cubicBezTo>
                  <a:cubicBezTo>
                    <a:pt x="166688" y="488633"/>
                    <a:pt x="171450" y="493395"/>
                    <a:pt x="179070" y="493395"/>
                  </a:cubicBezTo>
                  <a:cubicBezTo>
                    <a:pt x="187643" y="493395"/>
                    <a:pt x="196215" y="481013"/>
                    <a:pt x="205740" y="467678"/>
                  </a:cubicBezTo>
                  <a:lnTo>
                    <a:pt x="205740" y="472440"/>
                  </a:lnTo>
                  <a:cubicBezTo>
                    <a:pt x="204788" y="485775"/>
                    <a:pt x="208598" y="493395"/>
                    <a:pt x="216218" y="493395"/>
                  </a:cubicBezTo>
                  <a:cubicBezTo>
                    <a:pt x="224790" y="493395"/>
                    <a:pt x="232410" y="480060"/>
                    <a:pt x="238125" y="467678"/>
                  </a:cubicBezTo>
                  <a:lnTo>
                    <a:pt x="234315" y="467678"/>
                  </a:lnTo>
                  <a:cubicBezTo>
                    <a:pt x="230505" y="473392"/>
                    <a:pt x="226695" y="477203"/>
                    <a:pt x="223838" y="477203"/>
                  </a:cubicBezTo>
                  <a:cubicBezTo>
                    <a:pt x="220980" y="477203"/>
                    <a:pt x="218123" y="471488"/>
                    <a:pt x="223838" y="459105"/>
                  </a:cubicBezTo>
                  <a:lnTo>
                    <a:pt x="244793" y="408622"/>
                  </a:lnTo>
                  <a:close/>
                  <a:moveTo>
                    <a:pt x="172403" y="430530"/>
                  </a:moveTo>
                  <a:cubicBezTo>
                    <a:pt x="175260" y="421005"/>
                    <a:pt x="173355" y="412433"/>
                    <a:pt x="166688" y="412433"/>
                  </a:cubicBezTo>
                  <a:cubicBezTo>
                    <a:pt x="158115" y="412433"/>
                    <a:pt x="155258" y="419100"/>
                    <a:pt x="146685" y="438150"/>
                  </a:cubicBezTo>
                  <a:lnTo>
                    <a:pt x="146685" y="426720"/>
                  </a:lnTo>
                  <a:cubicBezTo>
                    <a:pt x="146685" y="419100"/>
                    <a:pt x="143828" y="411480"/>
                    <a:pt x="137160" y="411480"/>
                  </a:cubicBezTo>
                  <a:cubicBezTo>
                    <a:pt x="128588" y="411480"/>
                    <a:pt x="120968" y="424815"/>
                    <a:pt x="115253" y="437197"/>
                  </a:cubicBezTo>
                  <a:lnTo>
                    <a:pt x="119063" y="437197"/>
                  </a:lnTo>
                  <a:cubicBezTo>
                    <a:pt x="122873" y="431483"/>
                    <a:pt x="126682" y="427672"/>
                    <a:pt x="129540" y="427672"/>
                  </a:cubicBezTo>
                  <a:cubicBezTo>
                    <a:pt x="133350" y="427672"/>
                    <a:pt x="135255" y="433388"/>
                    <a:pt x="129540" y="445770"/>
                  </a:cubicBezTo>
                  <a:lnTo>
                    <a:pt x="113348" y="481013"/>
                  </a:lnTo>
                  <a:cubicBezTo>
                    <a:pt x="110490" y="487680"/>
                    <a:pt x="113348" y="492442"/>
                    <a:pt x="120015" y="492442"/>
                  </a:cubicBezTo>
                  <a:cubicBezTo>
                    <a:pt x="123825" y="492442"/>
                    <a:pt x="125730" y="491490"/>
                    <a:pt x="127635" y="486728"/>
                  </a:cubicBezTo>
                  <a:lnTo>
                    <a:pt x="143828" y="444817"/>
                  </a:lnTo>
                  <a:cubicBezTo>
                    <a:pt x="148590" y="439103"/>
                    <a:pt x="152400" y="434340"/>
                    <a:pt x="157163" y="429578"/>
                  </a:cubicBezTo>
                  <a:lnTo>
                    <a:pt x="172403" y="429578"/>
                  </a:lnTo>
                  <a:close/>
                  <a:moveTo>
                    <a:pt x="59055" y="489585"/>
                  </a:moveTo>
                  <a:lnTo>
                    <a:pt x="60960" y="484822"/>
                  </a:lnTo>
                  <a:cubicBezTo>
                    <a:pt x="40957" y="481013"/>
                    <a:pt x="39053" y="481013"/>
                    <a:pt x="46673" y="460058"/>
                  </a:cubicBezTo>
                  <a:lnTo>
                    <a:pt x="54293" y="438150"/>
                  </a:lnTo>
                  <a:lnTo>
                    <a:pt x="76200" y="438150"/>
                  </a:lnTo>
                  <a:cubicBezTo>
                    <a:pt x="85725" y="438150"/>
                    <a:pt x="85725" y="441960"/>
                    <a:pt x="84773" y="452438"/>
                  </a:cubicBezTo>
                  <a:lnTo>
                    <a:pt x="90488" y="452438"/>
                  </a:lnTo>
                  <a:lnTo>
                    <a:pt x="103823" y="416242"/>
                  </a:lnTo>
                  <a:lnTo>
                    <a:pt x="98107" y="416242"/>
                  </a:lnTo>
                  <a:cubicBezTo>
                    <a:pt x="93345" y="424815"/>
                    <a:pt x="89535" y="430530"/>
                    <a:pt x="79057" y="430530"/>
                  </a:cubicBezTo>
                  <a:lnTo>
                    <a:pt x="57150" y="430530"/>
                  </a:lnTo>
                  <a:lnTo>
                    <a:pt x="68580" y="399097"/>
                  </a:lnTo>
                  <a:cubicBezTo>
                    <a:pt x="72390" y="389572"/>
                    <a:pt x="74295" y="386715"/>
                    <a:pt x="87630" y="386715"/>
                  </a:cubicBezTo>
                  <a:lnTo>
                    <a:pt x="97155" y="386715"/>
                  </a:lnTo>
                  <a:cubicBezTo>
                    <a:pt x="110490" y="386715"/>
                    <a:pt x="112395" y="390525"/>
                    <a:pt x="112395" y="404813"/>
                  </a:cubicBezTo>
                  <a:lnTo>
                    <a:pt x="118110" y="404813"/>
                  </a:lnTo>
                  <a:lnTo>
                    <a:pt x="122873" y="380047"/>
                  </a:lnTo>
                  <a:lnTo>
                    <a:pt x="40957" y="380047"/>
                  </a:lnTo>
                  <a:lnTo>
                    <a:pt x="39053" y="384810"/>
                  </a:lnTo>
                  <a:cubicBezTo>
                    <a:pt x="55245" y="387667"/>
                    <a:pt x="56198" y="389572"/>
                    <a:pt x="48578" y="409575"/>
                  </a:cubicBezTo>
                  <a:lnTo>
                    <a:pt x="30480" y="458153"/>
                  </a:lnTo>
                  <a:cubicBezTo>
                    <a:pt x="22860" y="478155"/>
                    <a:pt x="20003" y="480060"/>
                    <a:pt x="1905" y="482917"/>
                  </a:cubicBezTo>
                  <a:lnTo>
                    <a:pt x="953" y="487680"/>
                  </a:lnTo>
                  <a:lnTo>
                    <a:pt x="59055" y="487680"/>
                  </a:lnTo>
                  <a:close/>
                  <a:moveTo>
                    <a:pt x="460058" y="238125"/>
                  </a:moveTo>
                  <a:cubicBezTo>
                    <a:pt x="465772" y="238125"/>
                    <a:pt x="470535" y="241935"/>
                    <a:pt x="467678" y="252413"/>
                  </a:cubicBezTo>
                  <a:lnTo>
                    <a:pt x="441960" y="258128"/>
                  </a:lnTo>
                  <a:cubicBezTo>
                    <a:pt x="446722" y="246697"/>
                    <a:pt x="454343" y="238125"/>
                    <a:pt x="460058" y="238125"/>
                  </a:cubicBezTo>
                  <a:moveTo>
                    <a:pt x="474345" y="279083"/>
                  </a:moveTo>
                  <a:lnTo>
                    <a:pt x="469583" y="279083"/>
                  </a:lnTo>
                  <a:cubicBezTo>
                    <a:pt x="462915" y="286703"/>
                    <a:pt x="456247" y="292417"/>
                    <a:pt x="449580" y="292417"/>
                  </a:cubicBezTo>
                  <a:cubicBezTo>
                    <a:pt x="442913" y="292417"/>
                    <a:pt x="439103" y="288608"/>
                    <a:pt x="439103" y="279083"/>
                  </a:cubicBezTo>
                  <a:cubicBezTo>
                    <a:pt x="439103" y="275272"/>
                    <a:pt x="439103" y="271463"/>
                    <a:pt x="440055" y="267653"/>
                  </a:cubicBezTo>
                  <a:lnTo>
                    <a:pt x="481013" y="254317"/>
                  </a:lnTo>
                  <a:cubicBezTo>
                    <a:pt x="488633" y="235267"/>
                    <a:pt x="479108" y="226695"/>
                    <a:pt x="467678" y="226695"/>
                  </a:cubicBezTo>
                  <a:cubicBezTo>
                    <a:pt x="448628" y="226695"/>
                    <a:pt x="425768" y="259080"/>
                    <a:pt x="425768" y="287655"/>
                  </a:cubicBezTo>
                  <a:cubicBezTo>
                    <a:pt x="425768" y="300038"/>
                    <a:pt x="431483" y="307658"/>
                    <a:pt x="441008" y="307658"/>
                  </a:cubicBezTo>
                  <a:cubicBezTo>
                    <a:pt x="453390" y="307658"/>
                    <a:pt x="464820" y="297180"/>
                    <a:pt x="474345" y="279083"/>
                  </a:cubicBezTo>
                  <a:moveTo>
                    <a:pt x="466725" y="219075"/>
                  </a:moveTo>
                  <a:lnTo>
                    <a:pt x="495300" y="192405"/>
                  </a:lnTo>
                  <a:lnTo>
                    <a:pt x="495300" y="189547"/>
                  </a:lnTo>
                  <a:lnTo>
                    <a:pt x="480060" y="189547"/>
                  </a:lnTo>
                  <a:lnTo>
                    <a:pt x="461963" y="220028"/>
                  </a:lnTo>
                  <a:lnTo>
                    <a:pt x="466725" y="220028"/>
                  </a:lnTo>
                  <a:close/>
                  <a:moveTo>
                    <a:pt x="378143" y="238125"/>
                  </a:moveTo>
                  <a:lnTo>
                    <a:pt x="391478" y="238125"/>
                  </a:lnTo>
                  <a:lnTo>
                    <a:pt x="369570" y="297180"/>
                  </a:lnTo>
                  <a:cubicBezTo>
                    <a:pt x="367665" y="301942"/>
                    <a:pt x="370522" y="307658"/>
                    <a:pt x="375285" y="307658"/>
                  </a:cubicBezTo>
                  <a:cubicBezTo>
                    <a:pt x="387668" y="307658"/>
                    <a:pt x="407670" y="295275"/>
                    <a:pt x="414338" y="279083"/>
                  </a:cubicBezTo>
                  <a:lnTo>
                    <a:pt x="410528" y="279083"/>
                  </a:lnTo>
                  <a:cubicBezTo>
                    <a:pt x="404813" y="284797"/>
                    <a:pt x="394335" y="292417"/>
                    <a:pt x="385763" y="294322"/>
                  </a:cubicBezTo>
                  <a:lnTo>
                    <a:pt x="405765" y="239078"/>
                  </a:lnTo>
                  <a:lnTo>
                    <a:pt x="425768" y="239078"/>
                  </a:lnTo>
                  <a:lnTo>
                    <a:pt x="428625" y="230505"/>
                  </a:lnTo>
                  <a:lnTo>
                    <a:pt x="408622" y="230505"/>
                  </a:lnTo>
                  <a:lnTo>
                    <a:pt x="416243" y="209550"/>
                  </a:lnTo>
                  <a:lnTo>
                    <a:pt x="408622" y="209550"/>
                  </a:lnTo>
                  <a:lnTo>
                    <a:pt x="394335" y="230505"/>
                  </a:lnTo>
                  <a:lnTo>
                    <a:pt x="377190" y="232410"/>
                  </a:lnTo>
                  <a:lnTo>
                    <a:pt x="377190" y="238125"/>
                  </a:lnTo>
                  <a:close/>
                  <a:moveTo>
                    <a:pt x="359093" y="235267"/>
                  </a:moveTo>
                  <a:cubicBezTo>
                    <a:pt x="360997" y="229553"/>
                    <a:pt x="357188" y="226695"/>
                    <a:pt x="354330" y="226695"/>
                  </a:cubicBezTo>
                  <a:cubicBezTo>
                    <a:pt x="342900" y="226695"/>
                    <a:pt x="328613" y="237172"/>
                    <a:pt x="322898" y="252413"/>
                  </a:cubicBezTo>
                  <a:lnTo>
                    <a:pt x="326708" y="252413"/>
                  </a:lnTo>
                  <a:cubicBezTo>
                    <a:pt x="330518" y="246697"/>
                    <a:pt x="337185" y="240983"/>
                    <a:pt x="342900" y="240030"/>
                  </a:cubicBezTo>
                  <a:lnTo>
                    <a:pt x="320040" y="299085"/>
                  </a:lnTo>
                  <a:cubicBezTo>
                    <a:pt x="318135" y="304800"/>
                    <a:pt x="321945" y="307658"/>
                    <a:pt x="324803" y="307658"/>
                  </a:cubicBezTo>
                  <a:cubicBezTo>
                    <a:pt x="336233" y="307658"/>
                    <a:pt x="349568" y="297180"/>
                    <a:pt x="355283" y="281940"/>
                  </a:cubicBezTo>
                  <a:lnTo>
                    <a:pt x="351472" y="281940"/>
                  </a:lnTo>
                  <a:cubicBezTo>
                    <a:pt x="347663" y="287655"/>
                    <a:pt x="340995" y="293370"/>
                    <a:pt x="335280" y="294322"/>
                  </a:cubicBezTo>
                  <a:lnTo>
                    <a:pt x="359093" y="235267"/>
                  </a:lnTo>
                  <a:close/>
                  <a:moveTo>
                    <a:pt x="363855" y="205740"/>
                  </a:moveTo>
                  <a:cubicBezTo>
                    <a:pt x="369570" y="205740"/>
                    <a:pt x="373380" y="200978"/>
                    <a:pt x="373380" y="196215"/>
                  </a:cubicBezTo>
                  <a:cubicBezTo>
                    <a:pt x="373380" y="190500"/>
                    <a:pt x="368618" y="186690"/>
                    <a:pt x="363855" y="186690"/>
                  </a:cubicBezTo>
                  <a:cubicBezTo>
                    <a:pt x="358140" y="186690"/>
                    <a:pt x="354330" y="191453"/>
                    <a:pt x="354330" y="196215"/>
                  </a:cubicBezTo>
                  <a:cubicBezTo>
                    <a:pt x="353378" y="201930"/>
                    <a:pt x="358140" y="205740"/>
                    <a:pt x="363855" y="205740"/>
                  </a:cubicBezTo>
                  <a:moveTo>
                    <a:pt x="284798" y="294322"/>
                  </a:moveTo>
                  <a:lnTo>
                    <a:pt x="325755" y="185738"/>
                  </a:lnTo>
                  <a:lnTo>
                    <a:pt x="324803" y="183833"/>
                  </a:lnTo>
                  <a:lnTo>
                    <a:pt x="299085" y="186690"/>
                  </a:lnTo>
                  <a:lnTo>
                    <a:pt x="299085" y="189547"/>
                  </a:lnTo>
                  <a:lnTo>
                    <a:pt x="303848" y="193358"/>
                  </a:lnTo>
                  <a:cubicBezTo>
                    <a:pt x="308610" y="197167"/>
                    <a:pt x="306705" y="200025"/>
                    <a:pt x="302895" y="211455"/>
                  </a:cubicBezTo>
                  <a:lnTo>
                    <a:pt x="270510" y="296228"/>
                  </a:lnTo>
                  <a:cubicBezTo>
                    <a:pt x="268605" y="300990"/>
                    <a:pt x="271463" y="306705"/>
                    <a:pt x="276225" y="306705"/>
                  </a:cubicBezTo>
                  <a:cubicBezTo>
                    <a:pt x="287655" y="306705"/>
                    <a:pt x="300990" y="296228"/>
                    <a:pt x="306705" y="280988"/>
                  </a:cubicBezTo>
                  <a:lnTo>
                    <a:pt x="302895" y="280988"/>
                  </a:lnTo>
                  <a:cubicBezTo>
                    <a:pt x="299085" y="287655"/>
                    <a:pt x="290513" y="293370"/>
                    <a:pt x="284798" y="294322"/>
                  </a:cubicBezTo>
                  <a:moveTo>
                    <a:pt x="205740" y="284797"/>
                  </a:moveTo>
                  <a:cubicBezTo>
                    <a:pt x="205740" y="266700"/>
                    <a:pt x="225743" y="241935"/>
                    <a:pt x="237173" y="241935"/>
                  </a:cubicBezTo>
                  <a:cubicBezTo>
                    <a:pt x="240030" y="241935"/>
                    <a:pt x="241935" y="241935"/>
                    <a:pt x="243840" y="242888"/>
                  </a:cubicBezTo>
                  <a:lnTo>
                    <a:pt x="232410" y="274320"/>
                  </a:lnTo>
                  <a:cubicBezTo>
                    <a:pt x="225743" y="282892"/>
                    <a:pt x="215265" y="292417"/>
                    <a:pt x="210503" y="292417"/>
                  </a:cubicBezTo>
                  <a:cubicBezTo>
                    <a:pt x="207645" y="292417"/>
                    <a:pt x="205740" y="289560"/>
                    <a:pt x="205740" y="284797"/>
                  </a:cubicBezTo>
                  <a:moveTo>
                    <a:pt x="268605" y="223838"/>
                  </a:moveTo>
                  <a:lnTo>
                    <a:pt x="261938" y="223838"/>
                  </a:lnTo>
                  <a:lnTo>
                    <a:pt x="255270" y="230505"/>
                  </a:lnTo>
                  <a:lnTo>
                    <a:pt x="253365" y="230505"/>
                  </a:lnTo>
                  <a:cubicBezTo>
                    <a:pt x="219075" y="230505"/>
                    <a:pt x="190500" y="268605"/>
                    <a:pt x="190500" y="296228"/>
                  </a:cubicBezTo>
                  <a:cubicBezTo>
                    <a:pt x="190500" y="303847"/>
                    <a:pt x="195263" y="308610"/>
                    <a:pt x="202883" y="308610"/>
                  </a:cubicBezTo>
                  <a:cubicBezTo>
                    <a:pt x="211455" y="308610"/>
                    <a:pt x="220028" y="296228"/>
                    <a:pt x="229553" y="282892"/>
                  </a:cubicBezTo>
                  <a:lnTo>
                    <a:pt x="229553" y="287655"/>
                  </a:lnTo>
                  <a:cubicBezTo>
                    <a:pt x="228600" y="300990"/>
                    <a:pt x="232410" y="308610"/>
                    <a:pt x="240030" y="308610"/>
                  </a:cubicBezTo>
                  <a:cubicBezTo>
                    <a:pt x="248603" y="308610"/>
                    <a:pt x="256223" y="295275"/>
                    <a:pt x="261938" y="282892"/>
                  </a:cubicBezTo>
                  <a:lnTo>
                    <a:pt x="258128" y="282892"/>
                  </a:lnTo>
                  <a:cubicBezTo>
                    <a:pt x="254318" y="288608"/>
                    <a:pt x="250508" y="292417"/>
                    <a:pt x="247650" y="292417"/>
                  </a:cubicBezTo>
                  <a:cubicBezTo>
                    <a:pt x="244793" y="292417"/>
                    <a:pt x="241935" y="286703"/>
                    <a:pt x="247650" y="274320"/>
                  </a:cubicBezTo>
                  <a:lnTo>
                    <a:pt x="268605" y="223838"/>
                  </a:lnTo>
                  <a:close/>
                  <a:moveTo>
                    <a:pt x="117157" y="321945"/>
                  </a:moveTo>
                  <a:cubicBezTo>
                    <a:pt x="117157" y="314325"/>
                    <a:pt x="124778" y="309563"/>
                    <a:pt x="135255" y="304800"/>
                  </a:cubicBezTo>
                  <a:cubicBezTo>
                    <a:pt x="139065" y="306705"/>
                    <a:pt x="143828" y="308610"/>
                    <a:pt x="151448" y="310515"/>
                  </a:cubicBezTo>
                  <a:cubicBezTo>
                    <a:pt x="162878" y="314325"/>
                    <a:pt x="166688" y="315278"/>
                    <a:pt x="166688" y="319088"/>
                  </a:cubicBezTo>
                  <a:cubicBezTo>
                    <a:pt x="166688" y="326708"/>
                    <a:pt x="154305" y="331470"/>
                    <a:pt x="137160" y="331470"/>
                  </a:cubicBezTo>
                  <a:cubicBezTo>
                    <a:pt x="123825" y="332422"/>
                    <a:pt x="117157" y="329565"/>
                    <a:pt x="117157" y="321945"/>
                  </a:cubicBezTo>
                  <a:moveTo>
                    <a:pt x="147638" y="274320"/>
                  </a:moveTo>
                  <a:cubicBezTo>
                    <a:pt x="142875" y="274320"/>
                    <a:pt x="140970" y="270510"/>
                    <a:pt x="140970" y="265747"/>
                  </a:cubicBezTo>
                  <a:cubicBezTo>
                    <a:pt x="140970" y="252413"/>
                    <a:pt x="147638" y="233363"/>
                    <a:pt x="159068" y="233363"/>
                  </a:cubicBezTo>
                  <a:cubicBezTo>
                    <a:pt x="163830" y="233363"/>
                    <a:pt x="165735" y="237172"/>
                    <a:pt x="165735" y="241935"/>
                  </a:cubicBezTo>
                  <a:cubicBezTo>
                    <a:pt x="166688" y="254317"/>
                    <a:pt x="159068" y="274320"/>
                    <a:pt x="147638" y="274320"/>
                  </a:cubicBezTo>
                  <a:moveTo>
                    <a:pt x="180023" y="314325"/>
                  </a:moveTo>
                  <a:cubicBezTo>
                    <a:pt x="180023" y="304800"/>
                    <a:pt x="171450" y="300990"/>
                    <a:pt x="158115" y="297180"/>
                  </a:cubicBezTo>
                  <a:cubicBezTo>
                    <a:pt x="146685" y="293370"/>
                    <a:pt x="140970" y="292417"/>
                    <a:pt x="140970" y="288608"/>
                  </a:cubicBezTo>
                  <a:cubicBezTo>
                    <a:pt x="140970" y="285750"/>
                    <a:pt x="143828" y="281940"/>
                    <a:pt x="148590" y="279083"/>
                  </a:cubicBezTo>
                  <a:cubicBezTo>
                    <a:pt x="167640" y="278130"/>
                    <a:pt x="180975" y="260985"/>
                    <a:pt x="180975" y="245745"/>
                  </a:cubicBezTo>
                  <a:cubicBezTo>
                    <a:pt x="180975" y="242888"/>
                    <a:pt x="180023" y="240030"/>
                    <a:pt x="179070" y="237172"/>
                  </a:cubicBezTo>
                  <a:lnTo>
                    <a:pt x="195263" y="237172"/>
                  </a:lnTo>
                  <a:lnTo>
                    <a:pt x="198120" y="228600"/>
                  </a:lnTo>
                  <a:lnTo>
                    <a:pt x="172403" y="228600"/>
                  </a:lnTo>
                  <a:cubicBezTo>
                    <a:pt x="169545" y="226695"/>
                    <a:pt x="165735" y="225742"/>
                    <a:pt x="161925" y="225742"/>
                  </a:cubicBezTo>
                  <a:cubicBezTo>
                    <a:pt x="140970" y="225742"/>
                    <a:pt x="127635" y="243840"/>
                    <a:pt x="127635" y="258128"/>
                  </a:cubicBezTo>
                  <a:cubicBezTo>
                    <a:pt x="127635" y="269558"/>
                    <a:pt x="134303" y="276225"/>
                    <a:pt x="143828" y="278130"/>
                  </a:cubicBezTo>
                  <a:cubicBezTo>
                    <a:pt x="134303" y="282892"/>
                    <a:pt x="128588" y="287655"/>
                    <a:pt x="128588" y="293370"/>
                  </a:cubicBezTo>
                  <a:cubicBezTo>
                    <a:pt x="128588" y="297180"/>
                    <a:pt x="129540" y="299085"/>
                    <a:pt x="132398" y="300990"/>
                  </a:cubicBezTo>
                  <a:cubicBezTo>
                    <a:pt x="110490" y="307658"/>
                    <a:pt x="100965" y="315278"/>
                    <a:pt x="100965" y="325755"/>
                  </a:cubicBezTo>
                  <a:cubicBezTo>
                    <a:pt x="100965" y="336233"/>
                    <a:pt x="114300" y="340042"/>
                    <a:pt x="130493" y="340042"/>
                  </a:cubicBezTo>
                  <a:cubicBezTo>
                    <a:pt x="157163" y="341947"/>
                    <a:pt x="180023" y="326708"/>
                    <a:pt x="180023" y="314325"/>
                  </a:cubicBezTo>
                  <a:moveTo>
                    <a:pt x="76200" y="251460"/>
                  </a:moveTo>
                  <a:cubicBezTo>
                    <a:pt x="85725" y="251460"/>
                    <a:pt x="85725" y="255270"/>
                    <a:pt x="84773" y="265747"/>
                  </a:cubicBezTo>
                  <a:lnTo>
                    <a:pt x="90488" y="265747"/>
                  </a:lnTo>
                  <a:lnTo>
                    <a:pt x="103823" y="229553"/>
                  </a:lnTo>
                  <a:lnTo>
                    <a:pt x="98107" y="229553"/>
                  </a:lnTo>
                  <a:cubicBezTo>
                    <a:pt x="93345" y="238125"/>
                    <a:pt x="89535" y="243840"/>
                    <a:pt x="79057" y="243840"/>
                  </a:cubicBezTo>
                  <a:lnTo>
                    <a:pt x="57150" y="243840"/>
                  </a:lnTo>
                  <a:lnTo>
                    <a:pt x="67628" y="214313"/>
                  </a:lnTo>
                  <a:cubicBezTo>
                    <a:pt x="71438" y="204788"/>
                    <a:pt x="73343" y="202883"/>
                    <a:pt x="86678" y="202883"/>
                  </a:cubicBezTo>
                  <a:lnTo>
                    <a:pt x="96203" y="202883"/>
                  </a:lnTo>
                  <a:cubicBezTo>
                    <a:pt x="109538" y="202883"/>
                    <a:pt x="111443" y="206692"/>
                    <a:pt x="111443" y="220028"/>
                  </a:cubicBezTo>
                  <a:lnTo>
                    <a:pt x="117157" y="220028"/>
                  </a:lnTo>
                  <a:lnTo>
                    <a:pt x="121920" y="195263"/>
                  </a:lnTo>
                  <a:lnTo>
                    <a:pt x="40005" y="195263"/>
                  </a:lnTo>
                  <a:lnTo>
                    <a:pt x="38100" y="200025"/>
                  </a:lnTo>
                  <a:cubicBezTo>
                    <a:pt x="54293" y="202883"/>
                    <a:pt x="55245" y="204788"/>
                    <a:pt x="47625" y="224790"/>
                  </a:cubicBezTo>
                  <a:lnTo>
                    <a:pt x="29528" y="273367"/>
                  </a:lnTo>
                  <a:cubicBezTo>
                    <a:pt x="21908" y="293370"/>
                    <a:pt x="19050" y="295275"/>
                    <a:pt x="953" y="298133"/>
                  </a:cubicBezTo>
                  <a:lnTo>
                    <a:pt x="0" y="302895"/>
                  </a:lnTo>
                  <a:lnTo>
                    <a:pt x="91440" y="302895"/>
                  </a:lnTo>
                  <a:lnTo>
                    <a:pt x="107632" y="277178"/>
                  </a:lnTo>
                  <a:lnTo>
                    <a:pt x="101918" y="277178"/>
                  </a:lnTo>
                  <a:cubicBezTo>
                    <a:pt x="91440" y="286703"/>
                    <a:pt x="78105" y="296228"/>
                    <a:pt x="60007" y="296228"/>
                  </a:cubicBezTo>
                  <a:cubicBezTo>
                    <a:pt x="36195" y="296228"/>
                    <a:pt x="38100" y="295275"/>
                    <a:pt x="45720" y="273367"/>
                  </a:cubicBezTo>
                  <a:lnTo>
                    <a:pt x="54293" y="249555"/>
                  </a:lnTo>
                  <a:lnTo>
                    <a:pt x="76200" y="249555"/>
                  </a:lnTo>
                  <a:close/>
                  <a:moveTo>
                    <a:pt x="88582" y="188595"/>
                  </a:moveTo>
                  <a:lnTo>
                    <a:pt x="117157" y="168592"/>
                  </a:lnTo>
                  <a:lnTo>
                    <a:pt x="117157" y="165735"/>
                  </a:lnTo>
                  <a:lnTo>
                    <a:pt x="100013" y="165735"/>
                  </a:lnTo>
                  <a:lnTo>
                    <a:pt x="83820" y="188595"/>
                  </a:lnTo>
                  <a:lnTo>
                    <a:pt x="88582" y="188595"/>
                  </a:lnTo>
                  <a:close/>
                  <a:moveTo>
                    <a:pt x="450533" y="52388"/>
                  </a:moveTo>
                  <a:cubicBezTo>
                    <a:pt x="456247" y="52388"/>
                    <a:pt x="461010" y="56197"/>
                    <a:pt x="458153" y="66675"/>
                  </a:cubicBezTo>
                  <a:lnTo>
                    <a:pt x="432435" y="72390"/>
                  </a:lnTo>
                  <a:cubicBezTo>
                    <a:pt x="437197" y="60960"/>
                    <a:pt x="444818" y="52388"/>
                    <a:pt x="450533" y="52388"/>
                  </a:cubicBezTo>
                  <a:moveTo>
                    <a:pt x="464820" y="93345"/>
                  </a:moveTo>
                  <a:lnTo>
                    <a:pt x="460058" y="93345"/>
                  </a:lnTo>
                  <a:cubicBezTo>
                    <a:pt x="453390" y="100965"/>
                    <a:pt x="446722" y="106680"/>
                    <a:pt x="440055" y="106680"/>
                  </a:cubicBezTo>
                  <a:cubicBezTo>
                    <a:pt x="433388" y="106680"/>
                    <a:pt x="429578" y="102870"/>
                    <a:pt x="429578" y="93345"/>
                  </a:cubicBezTo>
                  <a:cubicBezTo>
                    <a:pt x="429578" y="89535"/>
                    <a:pt x="429578" y="85725"/>
                    <a:pt x="430530" y="81915"/>
                  </a:cubicBezTo>
                  <a:lnTo>
                    <a:pt x="471488" y="68580"/>
                  </a:lnTo>
                  <a:cubicBezTo>
                    <a:pt x="479108" y="49530"/>
                    <a:pt x="469583" y="40958"/>
                    <a:pt x="458153" y="40958"/>
                  </a:cubicBezTo>
                  <a:cubicBezTo>
                    <a:pt x="439103" y="40958"/>
                    <a:pt x="416243" y="73342"/>
                    <a:pt x="416243" y="101917"/>
                  </a:cubicBezTo>
                  <a:cubicBezTo>
                    <a:pt x="416243" y="114300"/>
                    <a:pt x="421958" y="121920"/>
                    <a:pt x="431483" y="121920"/>
                  </a:cubicBezTo>
                  <a:cubicBezTo>
                    <a:pt x="443865" y="121920"/>
                    <a:pt x="455295" y="111442"/>
                    <a:pt x="464820" y="93345"/>
                  </a:cubicBezTo>
                  <a:moveTo>
                    <a:pt x="457200" y="33338"/>
                  </a:moveTo>
                  <a:lnTo>
                    <a:pt x="485775" y="6667"/>
                  </a:lnTo>
                  <a:lnTo>
                    <a:pt x="485775" y="3810"/>
                  </a:lnTo>
                  <a:lnTo>
                    <a:pt x="470535" y="3810"/>
                  </a:lnTo>
                  <a:lnTo>
                    <a:pt x="452438" y="34290"/>
                  </a:lnTo>
                  <a:lnTo>
                    <a:pt x="457200" y="34290"/>
                  </a:lnTo>
                  <a:close/>
                  <a:moveTo>
                    <a:pt x="371475" y="52388"/>
                  </a:moveTo>
                  <a:lnTo>
                    <a:pt x="381953" y="52388"/>
                  </a:lnTo>
                  <a:lnTo>
                    <a:pt x="360045" y="111442"/>
                  </a:lnTo>
                  <a:cubicBezTo>
                    <a:pt x="358140" y="116205"/>
                    <a:pt x="360997" y="121920"/>
                    <a:pt x="365760" y="121920"/>
                  </a:cubicBezTo>
                  <a:cubicBezTo>
                    <a:pt x="378143" y="121920"/>
                    <a:pt x="398145" y="109538"/>
                    <a:pt x="404813" y="93345"/>
                  </a:cubicBezTo>
                  <a:lnTo>
                    <a:pt x="401003" y="93345"/>
                  </a:lnTo>
                  <a:cubicBezTo>
                    <a:pt x="395288" y="99060"/>
                    <a:pt x="384810" y="106680"/>
                    <a:pt x="376238" y="108585"/>
                  </a:cubicBezTo>
                  <a:lnTo>
                    <a:pt x="396240" y="53340"/>
                  </a:lnTo>
                  <a:lnTo>
                    <a:pt x="416243" y="53340"/>
                  </a:lnTo>
                  <a:lnTo>
                    <a:pt x="419100" y="44767"/>
                  </a:lnTo>
                  <a:lnTo>
                    <a:pt x="399097" y="44767"/>
                  </a:lnTo>
                  <a:lnTo>
                    <a:pt x="406718" y="23813"/>
                  </a:lnTo>
                  <a:lnTo>
                    <a:pt x="399097" y="23813"/>
                  </a:lnTo>
                  <a:lnTo>
                    <a:pt x="384810" y="44767"/>
                  </a:lnTo>
                  <a:lnTo>
                    <a:pt x="370522" y="46672"/>
                  </a:lnTo>
                  <a:lnTo>
                    <a:pt x="370522" y="52388"/>
                  </a:lnTo>
                  <a:close/>
                  <a:moveTo>
                    <a:pt x="360997" y="59055"/>
                  </a:moveTo>
                  <a:cubicBezTo>
                    <a:pt x="363855" y="49530"/>
                    <a:pt x="361950" y="40958"/>
                    <a:pt x="355283" y="40958"/>
                  </a:cubicBezTo>
                  <a:cubicBezTo>
                    <a:pt x="346710" y="40958"/>
                    <a:pt x="343853" y="47625"/>
                    <a:pt x="335280" y="66675"/>
                  </a:cubicBezTo>
                  <a:lnTo>
                    <a:pt x="335280" y="55245"/>
                  </a:lnTo>
                  <a:cubicBezTo>
                    <a:pt x="335280" y="47625"/>
                    <a:pt x="332423" y="40005"/>
                    <a:pt x="325755" y="40005"/>
                  </a:cubicBezTo>
                  <a:cubicBezTo>
                    <a:pt x="317183" y="40005"/>
                    <a:pt x="309563" y="53340"/>
                    <a:pt x="303848" y="65722"/>
                  </a:cubicBezTo>
                  <a:lnTo>
                    <a:pt x="307658" y="65722"/>
                  </a:lnTo>
                  <a:cubicBezTo>
                    <a:pt x="311468" y="60008"/>
                    <a:pt x="315278" y="56197"/>
                    <a:pt x="318135" y="56197"/>
                  </a:cubicBezTo>
                  <a:cubicBezTo>
                    <a:pt x="321945" y="56197"/>
                    <a:pt x="323850" y="61913"/>
                    <a:pt x="318135" y="74295"/>
                  </a:cubicBezTo>
                  <a:lnTo>
                    <a:pt x="301943" y="109538"/>
                  </a:lnTo>
                  <a:cubicBezTo>
                    <a:pt x="299085" y="116205"/>
                    <a:pt x="301943" y="120967"/>
                    <a:pt x="308610" y="120967"/>
                  </a:cubicBezTo>
                  <a:cubicBezTo>
                    <a:pt x="312420" y="120967"/>
                    <a:pt x="314325" y="120015"/>
                    <a:pt x="316230" y="115253"/>
                  </a:cubicBezTo>
                  <a:lnTo>
                    <a:pt x="332423" y="73342"/>
                  </a:lnTo>
                  <a:cubicBezTo>
                    <a:pt x="337185" y="67628"/>
                    <a:pt x="340995" y="62865"/>
                    <a:pt x="345758" y="58103"/>
                  </a:cubicBezTo>
                  <a:lnTo>
                    <a:pt x="360997" y="58103"/>
                  </a:lnTo>
                  <a:close/>
                  <a:moveTo>
                    <a:pt x="269558" y="52388"/>
                  </a:moveTo>
                  <a:cubicBezTo>
                    <a:pt x="275273" y="52388"/>
                    <a:pt x="280035" y="56197"/>
                    <a:pt x="277178" y="66675"/>
                  </a:cubicBezTo>
                  <a:lnTo>
                    <a:pt x="251460" y="72390"/>
                  </a:lnTo>
                  <a:cubicBezTo>
                    <a:pt x="256223" y="60960"/>
                    <a:pt x="263843" y="52388"/>
                    <a:pt x="269558" y="52388"/>
                  </a:cubicBezTo>
                  <a:moveTo>
                    <a:pt x="283845" y="93345"/>
                  </a:moveTo>
                  <a:lnTo>
                    <a:pt x="279083" y="93345"/>
                  </a:lnTo>
                  <a:cubicBezTo>
                    <a:pt x="272415" y="100965"/>
                    <a:pt x="265748" y="106680"/>
                    <a:pt x="259080" y="106680"/>
                  </a:cubicBezTo>
                  <a:cubicBezTo>
                    <a:pt x="252413" y="106680"/>
                    <a:pt x="248603" y="102870"/>
                    <a:pt x="248603" y="93345"/>
                  </a:cubicBezTo>
                  <a:cubicBezTo>
                    <a:pt x="248603" y="89535"/>
                    <a:pt x="248603" y="85725"/>
                    <a:pt x="249555" y="81915"/>
                  </a:cubicBezTo>
                  <a:lnTo>
                    <a:pt x="290513" y="68580"/>
                  </a:lnTo>
                  <a:cubicBezTo>
                    <a:pt x="298133" y="49530"/>
                    <a:pt x="288608" y="40958"/>
                    <a:pt x="277178" y="40958"/>
                  </a:cubicBezTo>
                  <a:cubicBezTo>
                    <a:pt x="258128" y="40958"/>
                    <a:pt x="235268" y="73342"/>
                    <a:pt x="235268" y="101917"/>
                  </a:cubicBezTo>
                  <a:cubicBezTo>
                    <a:pt x="235268" y="114300"/>
                    <a:pt x="240983" y="121920"/>
                    <a:pt x="250508" y="121920"/>
                  </a:cubicBezTo>
                  <a:cubicBezTo>
                    <a:pt x="262890" y="121920"/>
                    <a:pt x="274320" y="111442"/>
                    <a:pt x="283845" y="93345"/>
                  </a:cubicBezTo>
                  <a:moveTo>
                    <a:pt x="182880" y="110490"/>
                  </a:moveTo>
                  <a:cubicBezTo>
                    <a:pt x="179070" y="110490"/>
                    <a:pt x="173355" y="106680"/>
                    <a:pt x="173355" y="103822"/>
                  </a:cubicBezTo>
                  <a:cubicBezTo>
                    <a:pt x="173355" y="102870"/>
                    <a:pt x="175260" y="98108"/>
                    <a:pt x="177165" y="92392"/>
                  </a:cubicBezTo>
                  <a:lnTo>
                    <a:pt x="183833" y="74295"/>
                  </a:lnTo>
                  <a:cubicBezTo>
                    <a:pt x="190500" y="65722"/>
                    <a:pt x="201930" y="57150"/>
                    <a:pt x="207645" y="57150"/>
                  </a:cubicBezTo>
                  <a:cubicBezTo>
                    <a:pt x="211455" y="57150"/>
                    <a:pt x="214313" y="59055"/>
                    <a:pt x="214313" y="64770"/>
                  </a:cubicBezTo>
                  <a:cubicBezTo>
                    <a:pt x="215265" y="80963"/>
                    <a:pt x="200025" y="110490"/>
                    <a:pt x="182880" y="110490"/>
                  </a:cubicBezTo>
                  <a:moveTo>
                    <a:pt x="230505" y="58103"/>
                  </a:moveTo>
                  <a:cubicBezTo>
                    <a:pt x="230505" y="45720"/>
                    <a:pt x="225743" y="41910"/>
                    <a:pt x="218123" y="41910"/>
                  </a:cubicBezTo>
                  <a:cubicBezTo>
                    <a:pt x="207645" y="41910"/>
                    <a:pt x="198120" y="53340"/>
                    <a:pt x="188595" y="66675"/>
                  </a:cubicBezTo>
                  <a:lnTo>
                    <a:pt x="213360" y="1905"/>
                  </a:lnTo>
                  <a:lnTo>
                    <a:pt x="212408" y="0"/>
                  </a:lnTo>
                  <a:lnTo>
                    <a:pt x="186690" y="2858"/>
                  </a:lnTo>
                  <a:lnTo>
                    <a:pt x="186690" y="5715"/>
                  </a:lnTo>
                  <a:lnTo>
                    <a:pt x="191453" y="9525"/>
                  </a:lnTo>
                  <a:cubicBezTo>
                    <a:pt x="196215" y="13335"/>
                    <a:pt x="194310" y="17145"/>
                    <a:pt x="190500" y="27622"/>
                  </a:cubicBezTo>
                  <a:lnTo>
                    <a:pt x="163830" y="96203"/>
                  </a:lnTo>
                  <a:cubicBezTo>
                    <a:pt x="161925" y="100965"/>
                    <a:pt x="159068" y="107633"/>
                    <a:pt x="159068" y="108585"/>
                  </a:cubicBezTo>
                  <a:cubicBezTo>
                    <a:pt x="159068" y="115253"/>
                    <a:pt x="168593" y="121920"/>
                    <a:pt x="177165" y="121920"/>
                  </a:cubicBezTo>
                  <a:cubicBezTo>
                    <a:pt x="196215" y="121920"/>
                    <a:pt x="230505" y="85725"/>
                    <a:pt x="230505" y="58103"/>
                  </a:cubicBezTo>
                  <a:moveTo>
                    <a:pt x="149543" y="49530"/>
                  </a:moveTo>
                  <a:cubicBezTo>
                    <a:pt x="151448" y="43815"/>
                    <a:pt x="147638" y="40958"/>
                    <a:pt x="144780" y="40958"/>
                  </a:cubicBezTo>
                  <a:cubicBezTo>
                    <a:pt x="133350" y="40958"/>
                    <a:pt x="119063" y="51435"/>
                    <a:pt x="113348" y="66675"/>
                  </a:cubicBezTo>
                  <a:lnTo>
                    <a:pt x="117157" y="66675"/>
                  </a:lnTo>
                  <a:cubicBezTo>
                    <a:pt x="120968" y="60960"/>
                    <a:pt x="127635" y="55245"/>
                    <a:pt x="133350" y="54292"/>
                  </a:cubicBezTo>
                  <a:lnTo>
                    <a:pt x="110490" y="113347"/>
                  </a:lnTo>
                  <a:cubicBezTo>
                    <a:pt x="108585" y="119063"/>
                    <a:pt x="112395" y="121920"/>
                    <a:pt x="115253" y="121920"/>
                  </a:cubicBezTo>
                  <a:cubicBezTo>
                    <a:pt x="126682" y="121920"/>
                    <a:pt x="140018" y="111442"/>
                    <a:pt x="145733" y="96203"/>
                  </a:cubicBezTo>
                  <a:lnTo>
                    <a:pt x="141923" y="96203"/>
                  </a:lnTo>
                  <a:cubicBezTo>
                    <a:pt x="138113" y="101917"/>
                    <a:pt x="131445" y="107633"/>
                    <a:pt x="125730" y="108585"/>
                  </a:cubicBezTo>
                  <a:lnTo>
                    <a:pt x="149543" y="49530"/>
                  </a:lnTo>
                  <a:close/>
                  <a:moveTo>
                    <a:pt x="153353" y="20003"/>
                  </a:moveTo>
                  <a:cubicBezTo>
                    <a:pt x="159068" y="20003"/>
                    <a:pt x="162878" y="15240"/>
                    <a:pt x="162878" y="10478"/>
                  </a:cubicBezTo>
                  <a:cubicBezTo>
                    <a:pt x="162878" y="4763"/>
                    <a:pt x="158115" y="953"/>
                    <a:pt x="153353" y="953"/>
                  </a:cubicBezTo>
                  <a:cubicBezTo>
                    <a:pt x="147638" y="953"/>
                    <a:pt x="143828" y="5715"/>
                    <a:pt x="143828" y="10478"/>
                  </a:cubicBezTo>
                  <a:cubicBezTo>
                    <a:pt x="143828" y="16192"/>
                    <a:pt x="147638" y="20003"/>
                    <a:pt x="153353" y="20003"/>
                  </a:cubicBezTo>
                  <a:moveTo>
                    <a:pt x="93345" y="10478"/>
                  </a:moveTo>
                  <a:lnTo>
                    <a:pt x="39053" y="10478"/>
                  </a:lnTo>
                  <a:lnTo>
                    <a:pt x="37148" y="15240"/>
                  </a:lnTo>
                  <a:cubicBezTo>
                    <a:pt x="53340" y="18097"/>
                    <a:pt x="54293" y="20003"/>
                    <a:pt x="46673" y="40005"/>
                  </a:cubicBezTo>
                  <a:lnTo>
                    <a:pt x="29528" y="88583"/>
                  </a:lnTo>
                  <a:cubicBezTo>
                    <a:pt x="21908" y="108585"/>
                    <a:pt x="19050" y="110490"/>
                    <a:pt x="953" y="113347"/>
                  </a:cubicBezTo>
                  <a:lnTo>
                    <a:pt x="0" y="118110"/>
                  </a:lnTo>
                  <a:lnTo>
                    <a:pt x="82868" y="118110"/>
                  </a:lnTo>
                  <a:lnTo>
                    <a:pt x="100965" y="86678"/>
                  </a:lnTo>
                  <a:lnTo>
                    <a:pt x="94298" y="86678"/>
                  </a:lnTo>
                  <a:cubicBezTo>
                    <a:pt x="83820" y="98108"/>
                    <a:pt x="72390" y="111442"/>
                    <a:pt x="54293" y="111442"/>
                  </a:cubicBezTo>
                  <a:cubicBezTo>
                    <a:pt x="40957" y="111442"/>
                    <a:pt x="39053" y="109538"/>
                    <a:pt x="46673" y="88583"/>
                  </a:cubicBezTo>
                  <a:lnTo>
                    <a:pt x="63818" y="40005"/>
                  </a:lnTo>
                  <a:cubicBezTo>
                    <a:pt x="71438" y="20003"/>
                    <a:pt x="74295" y="18097"/>
                    <a:pt x="92393" y="15240"/>
                  </a:cubicBezTo>
                  <a:lnTo>
                    <a:pt x="93345" y="1047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4" name="Forme libre : forme 23">
              <a:extLst>
                <a:ext uri="{FF2B5EF4-FFF2-40B4-BE49-F238E27FC236}">
                  <a16:creationId xmlns:a16="http://schemas.microsoft.com/office/drawing/2014/main" id="{997DA47D-4E0B-443C-93DE-3C42349D39AA}"/>
                </a:ext>
              </a:extLst>
            </p:cNvPr>
            <p:cNvSpPr/>
            <p:nvPr/>
          </p:nvSpPr>
          <p:spPr>
            <a:xfrm>
              <a:off x="270509" y="675322"/>
              <a:ext cx="1310640" cy="498157"/>
            </a:xfrm>
            <a:custGeom>
              <a:avLst/>
              <a:gdLst>
                <a:gd name="connsiteX0" fmla="*/ 0 w 1310640"/>
                <a:gd name="connsiteY0" fmla="*/ 196215 h 498157"/>
                <a:gd name="connsiteX1" fmla="*/ 0 w 1310640"/>
                <a:gd name="connsiteY1" fmla="*/ 0 h 498157"/>
                <a:gd name="connsiteX2" fmla="*/ 64770 w 1310640"/>
                <a:gd name="connsiteY2" fmla="*/ 0 h 498157"/>
                <a:gd name="connsiteX3" fmla="*/ 116205 w 1310640"/>
                <a:gd name="connsiteY3" fmla="*/ 16192 h 498157"/>
                <a:gd name="connsiteX4" fmla="*/ 135255 w 1310640"/>
                <a:gd name="connsiteY4" fmla="*/ 59055 h 498157"/>
                <a:gd name="connsiteX5" fmla="*/ 116205 w 1310640"/>
                <a:gd name="connsiteY5" fmla="*/ 101917 h 498157"/>
                <a:gd name="connsiteX6" fmla="*/ 64770 w 1310640"/>
                <a:gd name="connsiteY6" fmla="*/ 118110 h 498157"/>
                <a:gd name="connsiteX7" fmla="*/ 40005 w 1310640"/>
                <a:gd name="connsiteY7" fmla="*/ 118110 h 498157"/>
                <a:gd name="connsiteX8" fmla="*/ 40005 w 1310640"/>
                <a:gd name="connsiteY8" fmla="*/ 197167 h 498157"/>
                <a:gd name="connsiteX9" fmla="*/ 0 w 1310640"/>
                <a:gd name="connsiteY9" fmla="*/ 197167 h 498157"/>
                <a:gd name="connsiteX10" fmla="*/ 65723 w 1310640"/>
                <a:gd name="connsiteY10" fmla="*/ 33338 h 498157"/>
                <a:gd name="connsiteX11" fmla="*/ 39053 w 1310640"/>
                <a:gd name="connsiteY11" fmla="*/ 33338 h 498157"/>
                <a:gd name="connsiteX12" fmla="*/ 39053 w 1310640"/>
                <a:gd name="connsiteY12" fmla="*/ 82867 h 498157"/>
                <a:gd name="connsiteX13" fmla="*/ 65723 w 1310640"/>
                <a:gd name="connsiteY13" fmla="*/ 82867 h 498157"/>
                <a:gd name="connsiteX14" fmla="*/ 85725 w 1310640"/>
                <a:gd name="connsiteY14" fmla="*/ 76200 h 498157"/>
                <a:gd name="connsiteX15" fmla="*/ 93345 w 1310640"/>
                <a:gd name="connsiteY15" fmla="*/ 58102 h 498157"/>
                <a:gd name="connsiteX16" fmla="*/ 85725 w 1310640"/>
                <a:gd name="connsiteY16" fmla="*/ 40005 h 498157"/>
                <a:gd name="connsiteX17" fmla="*/ 65723 w 1310640"/>
                <a:gd name="connsiteY17" fmla="*/ 33338 h 498157"/>
                <a:gd name="connsiteX18" fmla="*/ 166688 w 1310640"/>
                <a:gd name="connsiteY18" fmla="*/ 196215 h 498157"/>
                <a:gd name="connsiteX19" fmla="*/ 166688 w 1310640"/>
                <a:gd name="connsiteY19" fmla="*/ 0 h 498157"/>
                <a:gd name="connsiteX20" fmla="*/ 226695 w 1310640"/>
                <a:gd name="connsiteY20" fmla="*/ 0 h 498157"/>
                <a:gd name="connsiteX21" fmla="*/ 278130 w 1310640"/>
                <a:gd name="connsiteY21" fmla="*/ 16192 h 498157"/>
                <a:gd name="connsiteX22" fmla="*/ 297180 w 1310640"/>
                <a:gd name="connsiteY22" fmla="*/ 59055 h 498157"/>
                <a:gd name="connsiteX23" fmla="*/ 288608 w 1310640"/>
                <a:gd name="connsiteY23" fmla="*/ 89535 h 498157"/>
                <a:gd name="connsiteX24" fmla="*/ 265748 w 1310640"/>
                <a:gd name="connsiteY24" fmla="*/ 109538 h 498157"/>
                <a:gd name="connsiteX25" fmla="*/ 327660 w 1310640"/>
                <a:gd name="connsiteY25" fmla="*/ 196215 h 498157"/>
                <a:gd name="connsiteX26" fmla="*/ 280035 w 1310640"/>
                <a:gd name="connsiteY26" fmla="*/ 196215 h 498157"/>
                <a:gd name="connsiteX27" fmla="*/ 227648 w 1310640"/>
                <a:gd name="connsiteY27" fmla="*/ 117157 h 498157"/>
                <a:gd name="connsiteX28" fmla="*/ 206692 w 1310640"/>
                <a:gd name="connsiteY28" fmla="*/ 117157 h 498157"/>
                <a:gd name="connsiteX29" fmla="*/ 206692 w 1310640"/>
                <a:gd name="connsiteY29" fmla="*/ 196215 h 498157"/>
                <a:gd name="connsiteX30" fmla="*/ 166688 w 1310640"/>
                <a:gd name="connsiteY30" fmla="*/ 196215 h 498157"/>
                <a:gd name="connsiteX31" fmla="*/ 229553 w 1310640"/>
                <a:gd name="connsiteY31" fmla="*/ 33338 h 498157"/>
                <a:gd name="connsiteX32" fmla="*/ 206692 w 1310640"/>
                <a:gd name="connsiteY32" fmla="*/ 33338 h 498157"/>
                <a:gd name="connsiteX33" fmla="*/ 206692 w 1310640"/>
                <a:gd name="connsiteY33" fmla="*/ 82867 h 498157"/>
                <a:gd name="connsiteX34" fmla="*/ 229553 w 1310640"/>
                <a:gd name="connsiteY34" fmla="*/ 82867 h 498157"/>
                <a:gd name="connsiteX35" fmla="*/ 249555 w 1310640"/>
                <a:gd name="connsiteY35" fmla="*/ 76200 h 498157"/>
                <a:gd name="connsiteX36" fmla="*/ 256223 w 1310640"/>
                <a:gd name="connsiteY36" fmla="*/ 58102 h 498157"/>
                <a:gd name="connsiteX37" fmla="*/ 249555 w 1310640"/>
                <a:gd name="connsiteY37" fmla="*/ 40005 h 498157"/>
                <a:gd name="connsiteX38" fmla="*/ 229553 w 1310640"/>
                <a:gd name="connsiteY38" fmla="*/ 33338 h 498157"/>
                <a:gd name="connsiteX39" fmla="*/ 352425 w 1310640"/>
                <a:gd name="connsiteY39" fmla="*/ 196215 h 498157"/>
                <a:gd name="connsiteX40" fmla="*/ 352425 w 1310640"/>
                <a:gd name="connsiteY40" fmla="*/ 0 h 498157"/>
                <a:gd name="connsiteX41" fmla="*/ 466725 w 1310640"/>
                <a:gd name="connsiteY41" fmla="*/ 0 h 498157"/>
                <a:gd name="connsiteX42" fmla="*/ 466725 w 1310640"/>
                <a:gd name="connsiteY42" fmla="*/ 34290 h 498157"/>
                <a:gd name="connsiteX43" fmla="*/ 392430 w 1310640"/>
                <a:gd name="connsiteY43" fmla="*/ 34290 h 498157"/>
                <a:gd name="connsiteX44" fmla="*/ 392430 w 1310640"/>
                <a:gd name="connsiteY44" fmla="*/ 80010 h 498157"/>
                <a:gd name="connsiteX45" fmla="*/ 456248 w 1310640"/>
                <a:gd name="connsiteY45" fmla="*/ 80010 h 498157"/>
                <a:gd name="connsiteX46" fmla="*/ 456248 w 1310640"/>
                <a:gd name="connsiteY46" fmla="*/ 114300 h 498157"/>
                <a:gd name="connsiteX47" fmla="*/ 392430 w 1310640"/>
                <a:gd name="connsiteY47" fmla="*/ 114300 h 498157"/>
                <a:gd name="connsiteX48" fmla="*/ 392430 w 1310640"/>
                <a:gd name="connsiteY48" fmla="*/ 163830 h 498157"/>
                <a:gd name="connsiteX49" fmla="*/ 466725 w 1310640"/>
                <a:gd name="connsiteY49" fmla="*/ 163830 h 498157"/>
                <a:gd name="connsiteX50" fmla="*/ 466725 w 1310640"/>
                <a:gd name="connsiteY50" fmla="*/ 198120 h 498157"/>
                <a:gd name="connsiteX51" fmla="*/ 352425 w 1310640"/>
                <a:gd name="connsiteY51" fmla="*/ 198120 h 498157"/>
                <a:gd name="connsiteX52" fmla="*/ 513398 w 1310640"/>
                <a:gd name="connsiteY52" fmla="*/ 196215 h 498157"/>
                <a:gd name="connsiteX53" fmla="*/ 513398 w 1310640"/>
                <a:gd name="connsiteY53" fmla="*/ 0 h 498157"/>
                <a:gd name="connsiteX54" fmla="*/ 563880 w 1310640"/>
                <a:gd name="connsiteY54" fmla="*/ 0 h 498157"/>
                <a:gd name="connsiteX55" fmla="*/ 611505 w 1310640"/>
                <a:gd name="connsiteY55" fmla="*/ 80963 h 498157"/>
                <a:gd name="connsiteX56" fmla="*/ 659130 w 1310640"/>
                <a:gd name="connsiteY56" fmla="*/ 0 h 498157"/>
                <a:gd name="connsiteX57" fmla="*/ 709613 w 1310640"/>
                <a:gd name="connsiteY57" fmla="*/ 0 h 498157"/>
                <a:gd name="connsiteX58" fmla="*/ 709613 w 1310640"/>
                <a:gd name="connsiteY58" fmla="*/ 197167 h 498157"/>
                <a:gd name="connsiteX59" fmla="*/ 669608 w 1310640"/>
                <a:gd name="connsiteY59" fmla="*/ 197167 h 498157"/>
                <a:gd name="connsiteX60" fmla="*/ 669608 w 1310640"/>
                <a:gd name="connsiteY60" fmla="*/ 56198 h 498157"/>
                <a:gd name="connsiteX61" fmla="*/ 624840 w 1310640"/>
                <a:gd name="connsiteY61" fmla="*/ 128588 h 498157"/>
                <a:gd name="connsiteX62" fmla="*/ 596265 w 1310640"/>
                <a:gd name="connsiteY62" fmla="*/ 128588 h 498157"/>
                <a:gd name="connsiteX63" fmla="*/ 552450 w 1310640"/>
                <a:gd name="connsiteY63" fmla="*/ 56198 h 498157"/>
                <a:gd name="connsiteX64" fmla="*/ 552450 w 1310640"/>
                <a:gd name="connsiteY64" fmla="*/ 196215 h 498157"/>
                <a:gd name="connsiteX65" fmla="*/ 513398 w 1310640"/>
                <a:gd name="connsiteY65" fmla="*/ 196215 h 498157"/>
                <a:gd name="connsiteX66" fmla="*/ 763905 w 1310640"/>
                <a:gd name="connsiteY66" fmla="*/ 196215 h 498157"/>
                <a:gd name="connsiteX67" fmla="*/ 763905 w 1310640"/>
                <a:gd name="connsiteY67" fmla="*/ 0 h 498157"/>
                <a:gd name="connsiteX68" fmla="*/ 803910 w 1310640"/>
                <a:gd name="connsiteY68" fmla="*/ 0 h 498157"/>
                <a:gd name="connsiteX69" fmla="*/ 803910 w 1310640"/>
                <a:gd name="connsiteY69" fmla="*/ 197167 h 498157"/>
                <a:gd name="connsiteX70" fmla="*/ 763905 w 1310640"/>
                <a:gd name="connsiteY70" fmla="*/ 197167 h 498157"/>
                <a:gd name="connsiteX71" fmla="*/ 858203 w 1310640"/>
                <a:gd name="connsiteY71" fmla="*/ 196215 h 498157"/>
                <a:gd name="connsiteX72" fmla="*/ 858203 w 1310640"/>
                <a:gd name="connsiteY72" fmla="*/ 0 h 498157"/>
                <a:gd name="connsiteX73" fmla="*/ 972503 w 1310640"/>
                <a:gd name="connsiteY73" fmla="*/ 0 h 498157"/>
                <a:gd name="connsiteX74" fmla="*/ 972503 w 1310640"/>
                <a:gd name="connsiteY74" fmla="*/ 34290 h 498157"/>
                <a:gd name="connsiteX75" fmla="*/ 898208 w 1310640"/>
                <a:gd name="connsiteY75" fmla="*/ 34290 h 498157"/>
                <a:gd name="connsiteX76" fmla="*/ 898208 w 1310640"/>
                <a:gd name="connsiteY76" fmla="*/ 80010 h 498157"/>
                <a:gd name="connsiteX77" fmla="*/ 962025 w 1310640"/>
                <a:gd name="connsiteY77" fmla="*/ 80010 h 498157"/>
                <a:gd name="connsiteX78" fmla="*/ 962025 w 1310640"/>
                <a:gd name="connsiteY78" fmla="*/ 114300 h 498157"/>
                <a:gd name="connsiteX79" fmla="*/ 898208 w 1310640"/>
                <a:gd name="connsiteY79" fmla="*/ 114300 h 498157"/>
                <a:gd name="connsiteX80" fmla="*/ 898208 w 1310640"/>
                <a:gd name="connsiteY80" fmla="*/ 163830 h 498157"/>
                <a:gd name="connsiteX81" fmla="*/ 972503 w 1310640"/>
                <a:gd name="connsiteY81" fmla="*/ 163830 h 498157"/>
                <a:gd name="connsiteX82" fmla="*/ 972503 w 1310640"/>
                <a:gd name="connsiteY82" fmla="*/ 198120 h 498157"/>
                <a:gd name="connsiteX83" fmla="*/ 858203 w 1310640"/>
                <a:gd name="connsiteY83" fmla="*/ 198120 h 498157"/>
                <a:gd name="connsiteX84" fmla="*/ 1019175 w 1310640"/>
                <a:gd name="connsiteY84" fmla="*/ 196215 h 498157"/>
                <a:gd name="connsiteX85" fmla="*/ 1019175 w 1310640"/>
                <a:gd name="connsiteY85" fmla="*/ 0 h 498157"/>
                <a:gd name="connsiteX86" fmla="*/ 1079183 w 1310640"/>
                <a:gd name="connsiteY86" fmla="*/ 0 h 498157"/>
                <a:gd name="connsiteX87" fmla="*/ 1130618 w 1310640"/>
                <a:gd name="connsiteY87" fmla="*/ 16192 h 498157"/>
                <a:gd name="connsiteX88" fmla="*/ 1149668 w 1310640"/>
                <a:gd name="connsiteY88" fmla="*/ 59055 h 498157"/>
                <a:gd name="connsiteX89" fmla="*/ 1141095 w 1310640"/>
                <a:gd name="connsiteY89" fmla="*/ 89535 h 498157"/>
                <a:gd name="connsiteX90" fmla="*/ 1118235 w 1310640"/>
                <a:gd name="connsiteY90" fmla="*/ 109538 h 498157"/>
                <a:gd name="connsiteX91" fmla="*/ 1180148 w 1310640"/>
                <a:gd name="connsiteY91" fmla="*/ 196215 h 498157"/>
                <a:gd name="connsiteX92" fmla="*/ 1132523 w 1310640"/>
                <a:gd name="connsiteY92" fmla="*/ 196215 h 498157"/>
                <a:gd name="connsiteX93" fmla="*/ 1080135 w 1310640"/>
                <a:gd name="connsiteY93" fmla="*/ 117157 h 498157"/>
                <a:gd name="connsiteX94" fmla="*/ 1059180 w 1310640"/>
                <a:gd name="connsiteY94" fmla="*/ 117157 h 498157"/>
                <a:gd name="connsiteX95" fmla="*/ 1059180 w 1310640"/>
                <a:gd name="connsiteY95" fmla="*/ 196215 h 498157"/>
                <a:gd name="connsiteX96" fmla="*/ 1019175 w 1310640"/>
                <a:gd name="connsiteY96" fmla="*/ 196215 h 498157"/>
                <a:gd name="connsiteX97" fmla="*/ 1082040 w 1310640"/>
                <a:gd name="connsiteY97" fmla="*/ 33338 h 498157"/>
                <a:gd name="connsiteX98" fmla="*/ 1059180 w 1310640"/>
                <a:gd name="connsiteY98" fmla="*/ 33338 h 498157"/>
                <a:gd name="connsiteX99" fmla="*/ 1059180 w 1310640"/>
                <a:gd name="connsiteY99" fmla="*/ 82867 h 498157"/>
                <a:gd name="connsiteX100" fmla="*/ 1082040 w 1310640"/>
                <a:gd name="connsiteY100" fmla="*/ 82867 h 498157"/>
                <a:gd name="connsiteX101" fmla="*/ 1102043 w 1310640"/>
                <a:gd name="connsiteY101" fmla="*/ 76200 h 498157"/>
                <a:gd name="connsiteX102" fmla="*/ 1108710 w 1310640"/>
                <a:gd name="connsiteY102" fmla="*/ 58102 h 498157"/>
                <a:gd name="connsiteX103" fmla="*/ 1102043 w 1310640"/>
                <a:gd name="connsiteY103" fmla="*/ 40005 h 498157"/>
                <a:gd name="connsiteX104" fmla="*/ 1082040 w 1310640"/>
                <a:gd name="connsiteY104" fmla="*/ 33338 h 498157"/>
                <a:gd name="connsiteX105" fmla="*/ 0 w 1310640"/>
                <a:gd name="connsiteY105" fmla="*/ 493395 h 498157"/>
                <a:gd name="connsiteX106" fmla="*/ 0 w 1310640"/>
                <a:gd name="connsiteY106" fmla="*/ 296228 h 498157"/>
                <a:gd name="connsiteX107" fmla="*/ 50483 w 1310640"/>
                <a:gd name="connsiteY107" fmla="*/ 296228 h 498157"/>
                <a:gd name="connsiteX108" fmla="*/ 98108 w 1310640"/>
                <a:gd name="connsiteY108" fmla="*/ 377190 h 498157"/>
                <a:gd name="connsiteX109" fmla="*/ 145733 w 1310640"/>
                <a:gd name="connsiteY109" fmla="*/ 296228 h 498157"/>
                <a:gd name="connsiteX110" fmla="*/ 196215 w 1310640"/>
                <a:gd name="connsiteY110" fmla="*/ 296228 h 498157"/>
                <a:gd name="connsiteX111" fmla="*/ 196215 w 1310640"/>
                <a:gd name="connsiteY111" fmla="*/ 493395 h 498157"/>
                <a:gd name="connsiteX112" fmla="*/ 156210 w 1310640"/>
                <a:gd name="connsiteY112" fmla="*/ 493395 h 498157"/>
                <a:gd name="connsiteX113" fmla="*/ 156210 w 1310640"/>
                <a:gd name="connsiteY113" fmla="*/ 353378 h 498157"/>
                <a:gd name="connsiteX114" fmla="*/ 112395 w 1310640"/>
                <a:gd name="connsiteY114" fmla="*/ 425767 h 498157"/>
                <a:gd name="connsiteX115" fmla="*/ 84773 w 1310640"/>
                <a:gd name="connsiteY115" fmla="*/ 425767 h 498157"/>
                <a:gd name="connsiteX116" fmla="*/ 40958 w 1310640"/>
                <a:gd name="connsiteY116" fmla="*/ 353378 h 498157"/>
                <a:gd name="connsiteX117" fmla="*/ 40958 w 1310640"/>
                <a:gd name="connsiteY117" fmla="*/ 493395 h 498157"/>
                <a:gd name="connsiteX118" fmla="*/ 0 w 1310640"/>
                <a:gd name="connsiteY118" fmla="*/ 493395 h 498157"/>
                <a:gd name="connsiteX119" fmla="*/ 249555 w 1310640"/>
                <a:gd name="connsiteY119" fmla="*/ 493395 h 498157"/>
                <a:gd name="connsiteX120" fmla="*/ 249555 w 1310640"/>
                <a:gd name="connsiteY120" fmla="*/ 296228 h 498157"/>
                <a:gd name="connsiteX121" fmla="*/ 289560 w 1310640"/>
                <a:gd name="connsiteY121" fmla="*/ 296228 h 498157"/>
                <a:gd name="connsiteX122" fmla="*/ 289560 w 1310640"/>
                <a:gd name="connsiteY122" fmla="*/ 493395 h 498157"/>
                <a:gd name="connsiteX123" fmla="*/ 249555 w 1310640"/>
                <a:gd name="connsiteY123" fmla="*/ 493395 h 498157"/>
                <a:gd name="connsiteX124" fmla="*/ 344805 w 1310640"/>
                <a:gd name="connsiteY124" fmla="*/ 493395 h 498157"/>
                <a:gd name="connsiteX125" fmla="*/ 344805 w 1310640"/>
                <a:gd name="connsiteY125" fmla="*/ 296228 h 498157"/>
                <a:gd name="connsiteX126" fmla="*/ 396240 w 1310640"/>
                <a:gd name="connsiteY126" fmla="*/ 296228 h 498157"/>
                <a:gd name="connsiteX127" fmla="*/ 483870 w 1310640"/>
                <a:gd name="connsiteY127" fmla="*/ 437198 h 498157"/>
                <a:gd name="connsiteX128" fmla="*/ 483870 w 1310640"/>
                <a:gd name="connsiteY128" fmla="*/ 296228 h 498157"/>
                <a:gd name="connsiteX129" fmla="*/ 523875 w 1310640"/>
                <a:gd name="connsiteY129" fmla="*/ 296228 h 498157"/>
                <a:gd name="connsiteX130" fmla="*/ 523875 w 1310640"/>
                <a:gd name="connsiteY130" fmla="*/ 493395 h 498157"/>
                <a:gd name="connsiteX131" fmla="*/ 472440 w 1310640"/>
                <a:gd name="connsiteY131" fmla="*/ 493395 h 498157"/>
                <a:gd name="connsiteX132" fmla="*/ 384810 w 1310640"/>
                <a:gd name="connsiteY132" fmla="*/ 352425 h 498157"/>
                <a:gd name="connsiteX133" fmla="*/ 384810 w 1310640"/>
                <a:gd name="connsiteY133" fmla="*/ 493395 h 498157"/>
                <a:gd name="connsiteX134" fmla="*/ 344805 w 1310640"/>
                <a:gd name="connsiteY134" fmla="*/ 493395 h 498157"/>
                <a:gd name="connsiteX135" fmla="*/ 579120 w 1310640"/>
                <a:gd name="connsiteY135" fmla="*/ 493395 h 498157"/>
                <a:gd name="connsiteX136" fmla="*/ 579120 w 1310640"/>
                <a:gd name="connsiteY136" fmla="*/ 296228 h 498157"/>
                <a:gd name="connsiteX137" fmla="*/ 619125 w 1310640"/>
                <a:gd name="connsiteY137" fmla="*/ 296228 h 498157"/>
                <a:gd name="connsiteX138" fmla="*/ 619125 w 1310640"/>
                <a:gd name="connsiteY138" fmla="*/ 493395 h 498157"/>
                <a:gd name="connsiteX139" fmla="*/ 579120 w 1310640"/>
                <a:gd name="connsiteY139" fmla="*/ 493395 h 498157"/>
                <a:gd name="connsiteX140" fmla="*/ 656273 w 1310640"/>
                <a:gd name="connsiteY140" fmla="*/ 466725 h 498157"/>
                <a:gd name="connsiteX141" fmla="*/ 684848 w 1310640"/>
                <a:gd name="connsiteY141" fmla="*/ 440055 h 498157"/>
                <a:gd name="connsiteX142" fmla="*/ 704850 w 1310640"/>
                <a:gd name="connsiteY142" fmla="*/ 458153 h 498157"/>
                <a:gd name="connsiteX143" fmla="*/ 728663 w 1310640"/>
                <a:gd name="connsiteY143" fmla="*/ 464820 h 498157"/>
                <a:gd name="connsiteX144" fmla="*/ 746760 w 1310640"/>
                <a:gd name="connsiteY144" fmla="*/ 459105 h 498157"/>
                <a:gd name="connsiteX145" fmla="*/ 753428 w 1310640"/>
                <a:gd name="connsiteY145" fmla="*/ 441960 h 498157"/>
                <a:gd name="connsiteX146" fmla="*/ 739140 w 1310640"/>
                <a:gd name="connsiteY146" fmla="*/ 421957 h 498157"/>
                <a:gd name="connsiteX147" fmla="*/ 708660 w 1310640"/>
                <a:gd name="connsiteY147" fmla="*/ 406717 h 498157"/>
                <a:gd name="connsiteX148" fmla="*/ 678180 w 1310640"/>
                <a:gd name="connsiteY148" fmla="*/ 385763 h 498157"/>
                <a:gd name="connsiteX149" fmla="*/ 663893 w 1310640"/>
                <a:gd name="connsiteY149" fmla="*/ 348615 h 498157"/>
                <a:gd name="connsiteX150" fmla="*/ 668655 w 1310640"/>
                <a:gd name="connsiteY150" fmla="*/ 326707 h 498157"/>
                <a:gd name="connsiteX151" fmla="*/ 681990 w 1310640"/>
                <a:gd name="connsiteY151" fmla="*/ 308610 h 498157"/>
                <a:gd name="connsiteX152" fmla="*/ 701993 w 1310640"/>
                <a:gd name="connsiteY152" fmla="*/ 296228 h 498157"/>
                <a:gd name="connsiteX153" fmla="*/ 727710 w 1310640"/>
                <a:gd name="connsiteY153" fmla="*/ 291465 h 498157"/>
                <a:gd name="connsiteX154" fmla="*/ 766763 w 1310640"/>
                <a:gd name="connsiteY154" fmla="*/ 300990 h 498157"/>
                <a:gd name="connsiteX155" fmla="*/ 796290 w 1310640"/>
                <a:gd name="connsiteY155" fmla="*/ 324803 h 498157"/>
                <a:gd name="connsiteX156" fmla="*/ 766763 w 1310640"/>
                <a:gd name="connsiteY156" fmla="*/ 350520 h 498157"/>
                <a:gd name="connsiteX157" fmla="*/ 748665 w 1310640"/>
                <a:gd name="connsiteY157" fmla="*/ 332423 h 498157"/>
                <a:gd name="connsiteX158" fmla="*/ 727710 w 1310640"/>
                <a:gd name="connsiteY158" fmla="*/ 325755 h 498157"/>
                <a:gd name="connsiteX159" fmla="*/ 711518 w 1310640"/>
                <a:gd name="connsiteY159" fmla="*/ 331470 h 498157"/>
                <a:gd name="connsiteX160" fmla="*/ 705803 w 1310640"/>
                <a:gd name="connsiteY160" fmla="*/ 345757 h 498157"/>
                <a:gd name="connsiteX161" fmla="*/ 720090 w 1310640"/>
                <a:gd name="connsiteY161" fmla="*/ 365760 h 498157"/>
                <a:gd name="connsiteX162" fmla="*/ 750570 w 1310640"/>
                <a:gd name="connsiteY162" fmla="*/ 381000 h 498157"/>
                <a:gd name="connsiteX163" fmla="*/ 781050 w 1310640"/>
                <a:gd name="connsiteY163" fmla="*/ 401955 h 498157"/>
                <a:gd name="connsiteX164" fmla="*/ 795338 w 1310640"/>
                <a:gd name="connsiteY164" fmla="*/ 440055 h 498157"/>
                <a:gd name="connsiteX165" fmla="*/ 789623 w 1310640"/>
                <a:gd name="connsiteY165" fmla="*/ 464820 h 498157"/>
                <a:gd name="connsiteX166" fmla="*/ 775335 w 1310640"/>
                <a:gd name="connsiteY166" fmla="*/ 482917 h 498157"/>
                <a:gd name="connsiteX167" fmla="*/ 754380 w 1310640"/>
                <a:gd name="connsiteY167" fmla="*/ 494348 h 498157"/>
                <a:gd name="connsiteX168" fmla="*/ 728663 w 1310640"/>
                <a:gd name="connsiteY168" fmla="*/ 498157 h 498157"/>
                <a:gd name="connsiteX169" fmla="*/ 685800 w 1310640"/>
                <a:gd name="connsiteY169" fmla="*/ 489585 h 498157"/>
                <a:gd name="connsiteX170" fmla="*/ 656273 w 1310640"/>
                <a:gd name="connsiteY170" fmla="*/ 466725 h 498157"/>
                <a:gd name="connsiteX171" fmla="*/ 814388 w 1310640"/>
                <a:gd name="connsiteY171" fmla="*/ 333375 h 498157"/>
                <a:gd name="connsiteX172" fmla="*/ 814388 w 1310640"/>
                <a:gd name="connsiteY172" fmla="*/ 297180 h 498157"/>
                <a:gd name="connsiteX173" fmla="*/ 975360 w 1310640"/>
                <a:gd name="connsiteY173" fmla="*/ 297180 h 498157"/>
                <a:gd name="connsiteX174" fmla="*/ 975360 w 1310640"/>
                <a:gd name="connsiteY174" fmla="*/ 333375 h 498157"/>
                <a:gd name="connsiteX175" fmla="*/ 914400 w 1310640"/>
                <a:gd name="connsiteY175" fmla="*/ 333375 h 498157"/>
                <a:gd name="connsiteX176" fmla="*/ 914400 w 1310640"/>
                <a:gd name="connsiteY176" fmla="*/ 493395 h 498157"/>
                <a:gd name="connsiteX177" fmla="*/ 874395 w 1310640"/>
                <a:gd name="connsiteY177" fmla="*/ 493395 h 498157"/>
                <a:gd name="connsiteX178" fmla="*/ 874395 w 1310640"/>
                <a:gd name="connsiteY178" fmla="*/ 333375 h 498157"/>
                <a:gd name="connsiteX179" fmla="*/ 814388 w 1310640"/>
                <a:gd name="connsiteY179" fmla="*/ 333375 h 498157"/>
                <a:gd name="connsiteX180" fmla="*/ 1011555 w 1310640"/>
                <a:gd name="connsiteY180" fmla="*/ 493395 h 498157"/>
                <a:gd name="connsiteX181" fmla="*/ 1011555 w 1310640"/>
                <a:gd name="connsiteY181" fmla="*/ 296228 h 498157"/>
                <a:gd name="connsiteX182" fmla="*/ 1071563 w 1310640"/>
                <a:gd name="connsiteY182" fmla="*/ 296228 h 498157"/>
                <a:gd name="connsiteX183" fmla="*/ 1122998 w 1310640"/>
                <a:gd name="connsiteY183" fmla="*/ 312420 h 498157"/>
                <a:gd name="connsiteX184" fmla="*/ 1142048 w 1310640"/>
                <a:gd name="connsiteY184" fmla="*/ 355282 h 498157"/>
                <a:gd name="connsiteX185" fmla="*/ 1133475 w 1310640"/>
                <a:gd name="connsiteY185" fmla="*/ 385763 h 498157"/>
                <a:gd name="connsiteX186" fmla="*/ 1110615 w 1310640"/>
                <a:gd name="connsiteY186" fmla="*/ 405765 h 498157"/>
                <a:gd name="connsiteX187" fmla="*/ 1172528 w 1310640"/>
                <a:gd name="connsiteY187" fmla="*/ 492442 h 498157"/>
                <a:gd name="connsiteX188" fmla="*/ 1124903 w 1310640"/>
                <a:gd name="connsiteY188" fmla="*/ 492442 h 498157"/>
                <a:gd name="connsiteX189" fmla="*/ 1072515 w 1310640"/>
                <a:gd name="connsiteY189" fmla="*/ 413385 h 498157"/>
                <a:gd name="connsiteX190" fmla="*/ 1051560 w 1310640"/>
                <a:gd name="connsiteY190" fmla="*/ 413385 h 498157"/>
                <a:gd name="connsiteX191" fmla="*/ 1051560 w 1310640"/>
                <a:gd name="connsiteY191" fmla="*/ 492442 h 498157"/>
                <a:gd name="connsiteX192" fmla="*/ 1011555 w 1310640"/>
                <a:gd name="connsiteY192" fmla="*/ 492442 h 498157"/>
                <a:gd name="connsiteX193" fmla="*/ 1073468 w 1310640"/>
                <a:gd name="connsiteY193" fmla="*/ 330517 h 498157"/>
                <a:gd name="connsiteX194" fmla="*/ 1050608 w 1310640"/>
                <a:gd name="connsiteY194" fmla="*/ 330517 h 498157"/>
                <a:gd name="connsiteX195" fmla="*/ 1050608 w 1310640"/>
                <a:gd name="connsiteY195" fmla="*/ 380048 h 498157"/>
                <a:gd name="connsiteX196" fmla="*/ 1073468 w 1310640"/>
                <a:gd name="connsiteY196" fmla="*/ 380048 h 498157"/>
                <a:gd name="connsiteX197" fmla="*/ 1093470 w 1310640"/>
                <a:gd name="connsiteY197" fmla="*/ 373380 h 498157"/>
                <a:gd name="connsiteX198" fmla="*/ 1100138 w 1310640"/>
                <a:gd name="connsiteY198" fmla="*/ 355282 h 498157"/>
                <a:gd name="connsiteX199" fmla="*/ 1093470 w 1310640"/>
                <a:gd name="connsiteY199" fmla="*/ 337185 h 498157"/>
                <a:gd name="connsiteX200" fmla="*/ 1073468 w 1310640"/>
                <a:gd name="connsiteY200" fmla="*/ 330517 h 498157"/>
                <a:gd name="connsiteX201" fmla="*/ 1196340 w 1310640"/>
                <a:gd name="connsiteY201" fmla="*/ 493395 h 498157"/>
                <a:gd name="connsiteX202" fmla="*/ 1196340 w 1310640"/>
                <a:gd name="connsiteY202" fmla="*/ 296228 h 498157"/>
                <a:gd name="connsiteX203" fmla="*/ 1310640 w 1310640"/>
                <a:gd name="connsiteY203" fmla="*/ 296228 h 498157"/>
                <a:gd name="connsiteX204" fmla="*/ 1310640 w 1310640"/>
                <a:gd name="connsiteY204" fmla="*/ 330517 h 498157"/>
                <a:gd name="connsiteX205" fmla="*/ 1236345 w 1310640"/>
                <a:gd name="connsiteY205" fmla="*/ 330517 h 498157"/>
                <a:gd name="connsiteX206" fmla="*/ 1236345 w 1310640"/>
                <a:gd name="connsiteY206" fmla="*/ 376238 h 498157"/>
                <a:gd name="connsiteX207" fmla="*/ 1300163 w 1310640"/>
                <a:gd name="connsiteY207" fmla="*/ 376238 h 498157"/>
                <a:gd name="connsiteX208" fmla="*/ 1300163 w 1310640"/>
                <a:gd name="connsiteY208" fmla="*/ 410528 h 498157"/>
                <a:gd name="connsiteX209" fmla="*/ 1236345 w 1310640"/>
                <a:gd name="connsiteY209" fmla="*/ 410528 h 498157"/>
                <a:gd name="connsiteX210" fmla="*/ 1236345 w 1310640"/>
                <a:gd name="connsiteY210" fmla="*/ 460057 h 498157"/>
                <a:gd name="connsiteX211" fmla="*/ 1310640 w 1310640"/>
                <a:gd name="connsiteY211" fmla="*/ 460057 h 498157"/>
                <a:gd name="connsiteX212" fmla="*/ 1310640 w 1310640"/>
                <a:gd name="connsiteY212" fmla="*/ 494348 h 498157"/>
                <a:gd name="connsiteX213" fmla="*/ 1196340 w 1310640"/>
                <a:gd name="connsiteY213" fmla="*/ 494348 h 49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</a:cxnLst>
              <a:rect l="l" t="t" r="r" b="b"/>
              <a:pathLst>
                <a:path w="1310640" h="498157">
                  <a:moveTo>
                    <a:pt x="0" y="196215"/>
                  </a:moveTo>
                  <a:lnTo>
                    <a:pt x="0" y="0"/>
                  </a:lnTo>
                  <a:lnTo>
                    <a:pt x="64770" y="0"/>
                  </a:lnTo>
                  <a:cubicBezTo>
                    <a:pt x="86678" y="0"/>
                    <a:pt x="102870" y="5715"/>
                    <a:pt x="116205" y="16192"/>
                  </a:cubicBezTo>
                  <a:cubicBezTo>
                    <a:pt x="128588" y="26670"/>
                    <a:pt x="135255" y="40957"/>
                    <a:pt x="135255" y="59055"/>
                  </a:cubicBezTo>
                  <a:cubicBezTo>
                    <a:pt x="135255" y="77152"/>
                    <a:pt x="128588" y="91440"/>
                    <a:pt x="116205" y="101917"/>
                  </a:cubicBezTo>
                  <a:cubicBezTo>
                    <a:pt x="103823" y="112395"/>
                    <a:pt x="86678" y="118110"/>
                    <a:pt x="64770" y="118110"/>
                  </a:cubicBezTo>
                  <a:lnTo>
                    <a:pt x="40005" y="118110"/>
                  </a:lnTo>
                  <a:lnTo>
                    <a:pt x="40005" y="197167"/>
                  </a:lnTo>
                  <a:lnTo>
                    <a:pt x="0" y="197167"/>
                  </a:lnTo>
                  <a:close/>
                  <a:moveTo>
                    <a:pt x="65723" y="33338"/>
                  </a:moveTo>
                  <a:lnTo>
                    <a:pt x="39053" y="33338"/>
                  </a:lnTo>
                  <a:lnTo>
                    <a:pt x="39053" y="82867"/>
                  </a:lnTo>
                  <a:lnTo>
                    <a:pt x="65723" y="82867"/>
                  </a:lnTo>
                  <a:cubicBezTo>
                    <a:pt x="74295" y="82867"/>
                    <a:pt x="80963" y="80963"/>
                    <a:pt x="85725" y="76200"/>
                  </a:cubicBezTo>
                  <a:cubicBezTo>
                    <a:pt x="90488" y="71438"/>
                    <a:pt x="93345" y="65723"/>
                    <a:pt x="93345" y="58102"/>
                  </a:cubicBezTo>
                  <a:cubicBezTo>
                    <a:pt x="93345" y="50482"/>
                    <a:pt x="90488" y="44767"/>
                    <a:pt x="85725" y="40005"/>
                  </a:cubicBezTo>
                  <a:cubicBezTo>
                    <a:pt x="80963" y="36195"/>
                    <a:pt x="74295" y="33338"/>
                    <a:pt x="65723" y="33338"/>
                  </a:cubicBezTo>
                  <a:close/>
                  <a:moveTo>
                    <a:pt x="166688" y="196215"/>
                  </a:moveTo>
                  <a:lnTo>
                    <a:pt x="166688" y="0"/>
                  </a:lnTo>
                  <a:lnTo>
                    <a:pt x="226695" y="0"/>
                  </a:lnTo>
                  <a:cubicBezTo>
                    <a:pt x="248603" y="0"/>
                    <a:pt x="265748" y="5715"/>
                    <a:pt x="278130" y="16192"/>
                  </a:cubicBezTo>
                  <a:cubicBezTo>
                    <a:pt x="290513" y="26670"/>
                    <a:pt x="297180" y="40957"/>
                    <a:pt x="297180" y="59055"/>
                  </a:cubicBezTo>
                  <a:cubicBezTo>
                    <a:pt x="297180" y="70485"/>
                    <a:pt x="294323" y="80963"/>
                    <a:pt x="288608" y="89535"/>
                  </a:cubicBezTo>
                  <a:cubicBezTo>
                    <a:pt x="282893" y="98107"/>
                    <a:pt x="275273" y="104775"/>
                    <a:pt x="265748" y="109538"/>
                  </a:cubicBezTo>
                  <a:lnTo>
                    <a:pt x="327660" y="196215"/>
                  </a:lnTo>
                  <a:lnTo>
                    <a:pt x="280035" y="196215"/>
                  </a:lnTo>
                  <a:lnTo>
                    <a:pt x="227648" y="117157"/>
                  </a:lnTo>
                  <a:lnTo>
                    <a:pt x="206692" y="117157"/>
                  </a:lnTo>
                  <a:lnTo>
                    <a:pt x="206692" y="196215"/>
                  </a:lnTo>
                  <a:lnTo>
                    <a:pt x="166688" y="196215"/>
                  </a:lnTo>
                  <a:close/>
                  <a:moveTo>
                    <a:pt x="229553" y="33338"/>
                  </a:moveTo>
                  <a:lnTo>
                    <a:pt x="206692" y="33338"/>
                  </a:lnTo>
                  <a:lnTo>
                    <a:pt x="206692" y="82867"/>
                  </a:lnTo>
                  <a:lnTo>
                    <a:pt x="229553" y="82867"/>
                  </a:lnTo>
                  <a:cubicBezTo>
                    <a:pt x="238125" y="82867"/>
                    <a:pt x="244792" y="80963"/>
                    <a:pt x="249555" y="76200"/>
                  </a:cubicBezTo>
                  <a:cubicBezTo>
                    <a:pt x="254317" y="71438"/>
                    <a:pt x="256223" y="65723"/>
                    <a:pt x="256223" y="58102"/>
                  </a:cubicBezTo>
                  <a:cubicBezTo>
                    <a:pt x="256223" y="50482"/>
                    <a:pt x="254317" y="44767"/>
                    <a:pt x="249555" y="40005"/>
                  </a:cubicBezTo>
                  <a:cubicBezTo>
                    <a:pt x="244792" y="36195"/>
                    <a:pt x="238125" y="33338"/>
                    <a:pt x="229553" y="33338"/>
                  </a:cubicBezTo>
                  <a:close/>
                  <a:moveTo>
                    <a:pt x="352425" y="196215"/>
                  </a:moveTo>
                  <a:lnTo>
                    <a:pt x="352425" y="0"/>
                  </a:lnTo>
                  <a:lnTo>
                    <a:pt x="466725" y="0"/>
                  </a:lnTo>
                  <a:lnTo>
                    <a:pt x="466725" y="34290"/>
                  </a:lnTo>
                  <a:lnTo>
                    <a:pt x="392430" y="34290"/>
                  </a:lnTo>
                  <a:lnTo>
                    <a:pt x="392430" y="80010"/>
                  </a:lnTo>
                  <a:lnTo>
                    <a:pt x="456248" y="80010"/>
                  </a:lnTo>
                  <a:lnTo>
                    <a:pt x="456248" y="114300"/>
                  </a:lnTo>
                  <a:lnTo>
                    <a:pt x="392430" y="114300"/>
                  </a:lnTo>
                  <a:lnTo>
                    <a:pt x="392430" y="163830"/>
                  </a:lnTo>
                  <a:lnTo>
                    <a:pt x="466725" y="163830"/>
                  </a:lnTo>
                  <a:lnTo>
                    <a:pt x="466725" y="198120"/>
                  </a:lnTo>
                  <a:lnTo>
                    <a:pt x="352425" y="198120"/>
                  </a:lnTo>
                  <a:close/>
                  <a:moveTo>
                    <a:pt x="513398" y="196215"/>
                  </a:moveTo>
                  <a:lnTo>
                    <a:pt x="513398" y="0"/>
                  </a:lnTo>
                  <a:lnTo>
                    <a:pt x="563880" y="0"/>
                  </a:lnTo>
                  <a:lnTo>
                    <a:pt x="611505" y="80963"/>
                  </a:lnTo>
                  <a:lnTo>
                    <a:pt x="659130" y="0"/>
                  </a:lnTo>
                  <a:lnTo>
                    <a:pt x="709613" y="0"/>
                  </a:lnTo>
                  <a:lnTo>
                    <a:pt x="709613" y="197167"/>
                  </a:lnTo>
                  <a:lnTo>
                    <a:pt x="669608" y="197167"/>
                  </a:lnTo>
                  <a:lnTo>
                    <a:pt x="669608" y="56198"/>
                  </a:lnTo>
                  <a:lnTo>
                    <a:pt x="624840" y="128588"/>
                  </a:lnTo>
                  <a:lnTo>
                    <a:pt x="596265" y="128588"/>
                  </a:lnTo>
                  <a:lnTo>
                    <a:pt x="552450" y="56198"/>
                  </a:lnTo>
                  <a:lnTo>
                    <a:pt x="552450" y="196215"/>
                  </a:lnTo>
                  <a:lnTo>
                    <a:pt x="513398" y="196215"/>
                  </a:lnTo>
                  <a:close/>
                  <a:moveTo>
                    <a:pt x="763905" y="196215"/>
                  </a:moveTo>
                  <a:lnTo>
                    <a:pt x="763905" y="0"/>
                  </a:lnTo>
                  <a:lnTo>
                    <a:pt x="803910" y="0"/>
                  </a:lnTo>
                  <a:lnTo>
                    <a:pt x="803910" y="197167"/>
                  </a:lnTo>
                  <a:lnTo>
                    <a:pt x="763905" y="197167"/>
                  </a:lnTo>
                  <a:close/>
                  <a:moveTo>
                    <a:pt x="858203" y="196215"/>
                  </a:moveTo>
                  <a:lnTo>
                    <a:pt x="858203" y="0"/>
                  </a:lnTo>
                  <a:lnTo>
                    <a:pt x="972503" y="0"/>
                  </a:lnTo>
                  <a:lnTo>
                    <a:pt x="972503" y="34290"/>
                  </a:lnTo>
                  <a:lnTo>
                    <a:pt x="898208" y="34290"/>
                  </a:lnTo>
                  <a:lnTo>
                    <a:pt x="898208" y="80010"/>
                  </a:lnTo>
                  <a:lnTo>
                    <a:pt x="962025" y="80010"/>
                  </a:lnTo>
                  <a:lnTo>
                    <a:pt x="962025" y="114300"/>
                  </a:lnTo>
                  <a:lnTo>
                    <a:pt x="898208" y="114300"/>
                  </a:lnTo>
                  <a:lnTo>
                    <a:pt x="898208" y="163830"/>
                  </a:lnTo>
                  <a:lnTo>
                    <a:pt x="972503" y="163830"/>
                  </a:lnTo>
                  <a:lnTo>
                    <a:pt x="972503" y="198120"/>
                  </a:lnTo>
                  <a:lnTo>
                    <a:pt x="858203" y="198120"/>
                  </a:lnTo>
                  <a:close/>
                  <a:moveTo>
                    <a:pt x="1019175" y="196215"/>
                  </a:moveTo>
                  <a:lnTo>
                    <a:pt x="1019175" y="0"/>
                  </a:lnTo>
                  <a:lnTo>
                    <a:pt x="1079183" y="0"/>
                  </a:lnTo>
                  <a:cubicBezTo>
                    <a:pt x="1101090" y="0"/>
                    <a:pt x="1118235" y="5715"/>
                    <a:pt x="1130618" y="16192"/>
                  </a:cubicBezTo>
                  <a:cubicBezTo>
                    <a:pt x="1143000" y="26670"/>
                    <a:pt x="1149668" y="40957"/>
                    <a:pt x="1149668" y="59055"/>
                  </a:cubicBezTo>
                  <a:cubicBezTo>
                    <a:pt x="1149668" y="70485"/>
                    <a:pt x="1146810" y="80963"/>
                    <a:pt x="1141095" y="89535"/>
                  </a:cubicBezTo>
                  <a:cubicBezTo>
                    <a:pt x="1135380" y="98107"/>
                    <a:pt x="1127760" y="104775"/>
                    <a:pt x="1118235" y="109538"/>
                  </a:cubicBezTo>
                  <a:lnTo>
                    <a:pt x="1180148" y="196215"/>
                  </a:lnTo>
                  <a:lnTo>
                    <a:pt x="1132523" y="196215"/>
                  </a:lnTo>
                  <a:lnTo>
                    <a:pt x="1080135" y="117157"/>
                  </a:lnTo>
                  <a:lnTo>
                    <a:pt x="1059180" y="117157"/>
                  </a:lnTo>
                  <a:lnTo>
                    <a:pt x="1059180" y="196215"/>
                  </a:lnTo>
                  <a:lnTo>
                    <a:pt x="1019175" y="196215"/>
                  </a:lnTo>
                  <a:close/>
                  <a:moveTo>
                    <a:pt x="1082040" y="33338"/>
                  </a:moveTo>
                  <a:lnTo>
                    <a:pt x="1059180" y="33338"/>
                  </a:lnTo>
                  <a:lnTo>
                    <a:pt x="1059180" y="82867"/>
                  </a:lnTo>
                  <a:lnTo>
                    <a:pt x="1082040" y="82867"/>
                  </a:lnTo>
                  <a:cubicBezTo>
                    <a:pt x="1090613" y="82867"/>
                    <a:pt x="1097280" y="80963"/>
                    <a:pt x="1102043" y="76200"/>
                  </a:cubicBezTo>
                  <a:cubicBezTo>
                    <a:pt x="1106805" y="71438"/>
                    <a:pt x="1108710" y="65723"/>
                    <a:pt x="1108710" y="58102"/>
                  </a:cubicBezTo>
                  <a:cubicBezTo>
                    <a:pt x="1108710" y="50482"/>
                    <a:pt x="1106805" y="44767"/>
                    <a:pt x="1102043" y="40005"/>
                  </a:cubicBezTo>
                  <a:cubicBezTo>
                    <a:pt x="1097280" y="36195"/>
                    <a:pt x="1090613" y="33338"/>
                    <a:pt x="1082040" y="33338"/>
                  </a:cubicBezTo>
                  <a:close/>
                  <a:moveTo>
                    <a:pt x="0" y="493395"/>
                  </a:moveTo>
                  <a:lnTo>
                    <a:pt x="0" y="296228"/>
                  </a:lnTo>
                  <a:lnTo>
                    <a:pt x="50483" y="296228"/>
                  </a:lnTo>
                  <a:lnTo>
                    <a:pt x="98108" y="377190"/>
                  </a:lnTo>
                  <a:lnTo>
                    <a:pt x="145733" y="296228"/>
                  </a:lnTo>
                  <a:lnTo>
                    <a:pt x="196215" y="296228"/>
                  </a:lnTo>
                  <a:lnTo>
                    <a:pt x="196215" y="493395"/>
                  </a:lnTo>
                  <a:lnTo>
                    <a:pt x="156210" y="493395"/>
                  </a:lnTo>
                  <a:lnTo>
                    <a:pt x="156210" y="353378"/>
                  </a:lnTo>
                  <a:lnTo>
                    <a:pt x="112395" y="425767"/>
                  </a:lnTo>
                  <a:lnTo>
                    <a:pt x="84773" y="425767"/>
                  </a:lnTo>
                  <a:lnTo>
                    <a:pt x="40958" y="353378"/>
                  </a:lnTo>
                  <a:lnTo>
                    <a:pt x="40958" y="493395"/>
                  </a:lnTo>
                  <a:lnTo>
                    <a:pt x="0" y="493395"/>
                  </a:lnTo>
                  <a:close/>
                  <a:moveTo>
                    <a:pt x="249555" y="493395"/>
                  </a:moveTo>
                  <a:lnTo>
                    <a:pt x="249555" y="296228"/>
                  </a:lnTo>
                  <a:lnTo>
                    <a:pt x="289560" y="296228"/>
                  </a:lnTo>
                  <a:lnTo>
                    <a:pt x="289560" y="493395"/>
                  </a:lnTo>
                  <a:lnTo>
                    <a:pt x="249555" y="493395"/>
                  </a:lnTo>
                  <a:close/>
                  <a:moveTo>
                    <a:pt x="344805" y="493395"/>
                  </a:moveTo>
                  <a:lnTo>
                    <a:pt x="344805" y="296228"/>
                  </a:lnTo>
                  <a:lnTo>
                    <a:pt x="396240" y="296228"/>
                  </a:lnTo>
                  <a:lnTo>
                    <a:pt x="483870" y="437198"/>
                  </a:lnTo>
                  <a:lnTo>
                    <a:pt x="483870" y="296228"/>
                  </a:lnTo>
                  <a:lnTo>
                    <a:pt x="523875" y="296228"/>
                  </a:lnTo>
                  <a:lnTo>
                    <a:pt x="523875" y="493395"/>
                  </a:lnTo>
                  <a:lnTo>
                    <a:pt x="472440" y="493395"/>
                  </a:lnTo>
                  <a:lnTo>
                    <a:pt x="384810" y="352425"/>
                  </a:lnTo>
                  <a:lnTo>
                    <a:pt x="384810" y="493395"/>
                  </a:lnTo>
                  <a:lnTo>
                    <a:pt x="344805" y="493395"/>
                  </a:lnTo>
                  <a:close/>
                  <a:moveTo>
                    <a:pt x="579120" y="493395"/>
                  </a:moveTo>
                  <a:lnTo>
                    <a:pt x="579120" y="296228"/>
                  </a:lnTo>
                  <a:lnTo>
                    <a:pt x="619125" y="296228"/>
                  </a:lnTo>
                  <a:lnTo>
                    <a:pt x="619125" y="493395"/>
                  </a:lnTo>
                  <a:lnTo>
                    <a:pt x="579120" y="493395"/>
                  </a:lnTo>
                  <a:close/>
                  <a:moveTo>
                    <a:pt x="656273" y="466725"/>
                  </a:moveTo>
                  <a:lnTo>
                    <a:pt x="684848" y="440055"/>
                  </a:lnTo>
                  <a:cubicBezTo>
                    <a:pt x="690563" y="447675"/>
                    <a:pt x="697230" y="453390"/>
                    <a:pt x="704850" y="458153"/>
                  </a:cubicBezTo>
                  <a:cubicBezTo>
                    <a:pt x="712470" y="462915"/>
                    <a:pt x="720090" y="464820"/>
                    <a:pt x="728663" y="464820"/>
                  </a:cubicBezTo>
                  <a:cubicBezTo>
                    <a:pt x="736283" y="464820"/>
                    <a:pt x="742950" y="462915"/>
                    <a:pt x="746760" y="459105"/>
                  </a:cubicBezTo>
                  <a:cubicBezTo>
                    <a:pt x="751523" y="455295"/>
                    <a:pt x="753428" y="449580"/>
                    <a:pt x="753428" y="441960"/>
                  </a:cubicBezTo>
                  <a:cubicBezTo>
                    <a:pt x="753428" y="433388"/>
                    <a:pt x="748665" y="426720"/>
                    <a:pt x="739140" y="421957"/>
                  </a:cubicBezTo>
                  <a:cubicBezTo>
                    <a:pt x="729615" y="417195"/>
                    <a:pt x="719138" y="412432"/>
                    <a:pt x="708660" y="406717"/>
                  </a:cubicBezTo>
                  <a:cubicBezTo>
                    <a:pt x="697230" y="401003"/>
                    <a:pt x="686753" y="394335"/>
                    <a:pt x="678180" y="385763"/>
                  </a:cubicBezTo>
                  <a:cubicBezTo>
                    <a:pt x="669608" y="377190"/>
                    <a:pt x="663893" y="364807"/>
                    <a:pt x="663893" y="348615"/>
                  </a:cubicBezTo>
                  <a:cubicBezTo>
                    <a:pt x="663893" y="340995"/>
                    <a:pt x="665798" y="333375"/>
                    <a:pt x="668655" y="326707"/>
                  </a:cubicBezTo>
                  <a:cubicBezTo>
                    <a:pt x="671513" y="320040"/>
                    <a:pt x="676275" y="313373"/>
                    <a:pt x="681990" y="308610"/>
                  </a:cubicBezTo>
                  <a:cubicBezTo>
                    <a:pt x="687705" y="303848"/>
                    <a:pt x="694373" y="299085"/>
                    <a:pt x="701993" y="296228"/>
                  </a:cubicBezTo>
                  <a:cubicBezTo>
                    <a:pt x="709613" y="293370"/>
                    <a:pt x="718185" y="291465"/>
                    <a:pt x="727710" y="291465"/>
                  </a:cubicBezTo>
                  <a:cubicBezTo>
                    <a:pt x="741998" y="291465"/>
                    <a:pt x="755333" y="294323"/>
                    <a:pt x="766763" y="300990"/>
                  </a:cubicBezTo>
                  <a:cubicBezTo>
                    <a:pt x="778193" y="306705"/>
                    <a:pt x="787718" y="315278"/>
                    <a:pt x="796290" y="324803"/>
                  </a:cubicBezTo>
                  <a:lnTo>
                    <a:pt x="766763" y="350520"/>
                  </a:lnTo>
                  <a:cubicBezTo>
                    <a:pt x="761048" y="342900"/>
                    <a:pt x="754380" y="337185"/>
                    <a:pt x="748665" y="332423"/>
                  </a:cubicBezTo>
                  <a:cubicBezTo>
                    <a:pt x="741998" y="327660"/>
                    <a:pt x="735330" y="325755"/>
                    <a:pt x="727710" y="325755"/>
                  </a:cubicBezTo>
                  <a:cubicBezTo>
                    <a:pt x="721043" y="325755"/>
                    <a:pt x="715328" y="327660"/>
                    <a:pt x="711518" y="331470"/>
                  </a:cubicBezTo>
                  <a:cubicBezTo>
                    <a:pt x="707708" y="335280"/>
                    <a:pt x="705803" y="340042"/>
                    <a:pt x="705803" y="345757"/>
                  </a:cubicBezTo>
                  <a:cubicBezTo>
                    <a:pt x="705803" y="354330"/>
                    <a:pt x="710565" y="360998"/>
                    <a:pt x="720090" y="365760"/>
                  </a:cubicBezTo>
                  <a:cubicBezTo>
                    <a:pt x="729615" y="370523"/>
                    <a:pt x="740093" y="375285"/>
                    <a:pt x="750570" y="381000"/>
                  </a:cubicBezTo>
                  <a:cubicBezTo>
                    <a:pt x="762000" y="386715"/>
                    <a:pt x="772478" y="393382"/>
                    <a:pt x="781050" y="401955"/>
                  </a:cubicBezTo>
                  <a:cubicBezTo>
                    <a:pt x="790575" y="410528"/>
                    <a:pt x="795338" y="422910"/>
                    <a:pt x="795338" y="440055"/>
                  </a:cubicBezTo>
                  <a:cubicBezTo>
                    <a:pt x="795338" y="449580"/>
                    <a:pt x="793433" y="457200"/>
                    <a:pt x="789623" y="464820"/>
                  </a:cubicBezTo>
                  <a:cubicBezTo>
                    <a:pt x="785813" y="472440"/>
                    <a:pt x="781050" y="478155"/>
                    <a:pt x="775335" y="482917"/>
                  </a:cubicBezTo>
                  <a:cubicBezTo>
                    <a:pt x="769620" y="487680"/>
                    <a:pt x="762953" y="491490"/>
                    <a:pt x="754380" y="494348"/>
                  </a:cubicBezTo>
                  <a:cubicBezTo>
                    <a:pt x="746760" y="497205"/>
                    <a:pt x="738188" y="498157"/>
                    <a:pt x="728663" y="498157"/>
                  </a:cubicBezTo>
                  <a:cubicBezTo>
                    <a:pt x="712470" y="498157"/>
                    <a:pt x="698183" y="495300"/>
                    <a:pt x="685800" y="489585"/>
                  </a:cubicBezTo>
                  <a:cubicBezTo>
                    <a:pt x="675323" y="484823"/>
                    <a:pt x="664845" y="476250"/>
                    <a:pt x="656273" y="466725"/>
                  </a:cubicBezTo>
                  <a:close/>
                  <a:moveTo>
                    <a:pt x="814388" y="333375"/>
                  </a:moveTo>
                  <a:lnTo>
                    <a:pt x="814388" y="297180"/>
                  </a:lnTo>
                  <a:lnTo>
                    <a:pt x="975360" y="297180"/>
                  </a:lnTo>
                  <a:lnTo>
                    <a:pt x="975360" y="333375"/>
                  </a:lnTo>
                  <a:lnTo>
                    <a:pt x="914400" y="333375"/>
                  </a:lnTo>
                  <a:lnTo>
                    <a:pt x="914400" y="493395"/>
                  </a:lnTo>
                  <a:lnTo>
                    <a:pt x="874395" y="493395"/>
                  </a:lnTo>
                  <a:lnTo>
                    <a:pt x="874395" y="333375"/>
                  </a:lnTo>
                  <a:lnTo>
                    <a:pt x="814388" y="333375"/>
                  </a:lnTo>
                  <a:close/>
                  <a:moveTo>
                    <a:pt x="1011555" y="493395"/>
                  </a:moveTo>
                  <a:lnTo>
                    <a:pt x="1011555" y="296228"/>
                  </a:lnTo>
                  <a:lnTo>
                    <a:pt x="1071563" y="296228"/>
                  </a:lnTo>
                  <a:cubicBezTo>
                    <a:pt x="1093470" y="296228"/>
                    <a:pt x="1110615" y="301942"/>
                    <a:pt x="1122998" y="312420"/>
                  </a:cubicBezTo>
                  <a:cubicBezTo>
                    <a:pt x="1135380" y="322898"/>
                    <a:pt x="1142048" y="337185"/>
                    <a:pt x="1142048" y="355282"/>
                  </a:cubicBezTo>
                  <a:cubicBezTo>
                    <a:pt x="1142048" y="366713"/>
                    <a:pt x="1139190" y="377190"/>
                    <a:pt x="1133475" y="385763"/>
                  </a:cubicBezTo>
                  <a:cubicBezTo>
                    <a:pt x="1127760" y="394335"/>
                    <a:pt x="1120140" y="401003"/>
                    <a:pt x="1110615" y="405765"/>
                  </a:cubicBezTo>
                  <a:lnTo>
                    <a:pt x="1172528" y="492442"/>
                  </a:lnTo>
                  <a:lnTo>
                    <a:pt x="1124903" y="492442"/>
                  </a:lnTo>
                  <a:lnTo>
                    <a:pt x="1072515" y="413385"/>
                  </a:lnTo>
                  <a:lnTo>
                    <a:pt x="1051560" y="413385"/>
                  </a:lnTo>
                  <a:lnTo>
                    <a:pt x="1051560" y="492442"/>
                  </a:lnTo>
                  <a:lnTo>
                    <a:pt x="1011555" y="492442"/>
                  </a:lnTo>
                  <a:close/>
                  <a:moveTo>
                    <a:pt x="1073468" y="330517"/>
                  </a:moveTo>
                  <a:lnTo>
                    <a:pt x="1050608" y="330517"/>
                  </a:lnTo>
                  <a:lnTo>
                    <a:pt x="1050608" y="380048"/>
                  </a:lnTo>
                  <a:lnTo>
                    <a:pt x="1073468" y="380048"/>
                  </a:lnTo>
                  <a:cubicBezTo>
                    <a:pt x="1082040" y="380048"/>
                    <a:pt x="1088708" y="378142"/>
                    <a:pt x="1093470" y="373380"/>
                  </a:cubicBezTo>
                  <a:cubicBezTo>
                    <a:pt x="1098233" y="368617"/>
                    <a:pt x="1100138" y="362903"/>
                    <a:pt x="1100138" y="355282"/>
                  </a:cubicBezTo>
                  <a:cubicBezTo>
                    <a:pt x="1100138" y="347663"/>
                    <a:pt x="1098233" y="341948"/>
                    <a:pt x="1093470" y="337185"/>
                  </a:cubicBezTo>
                  <a:cubicBezTo>
                    <a:pt x="1088708" y="333375"/>
                    <a:pt x="1082040" y="330517"/>
                    <a:pt x="1073468" y="330517"/>
                  </a:cubicBezTo>
                  <a:close/>
                  <a:moveTo>
                    <a:pt x="1196340" y="493395"/>
                  </a:moveTo>
                  <a:lnTo>
                    <a:pt x="1196340" y="296228"/>
                  </a:lnTo>
                  <a:lnTo>
                    <a:pt x="1310640" y="296228"/>
                  </a:lnTo>
                  <a:lnTo>
                    <a:pt x="1310640" y="330517"/>
                  </a:lnTo>
                  <a:lnTo>
                    <a:pt x="1236345" y="330517"/>
                  </a:lnTo>
                  <a:lnTo>
                    <a:pt x="1236345" y="376238"/>
                  </a:lnTo>
                  <a:lnTo>
                    <a:pt x="1300163" y="376238"/>
                  </a:lnTo>
                  <a:lnTo>
                    <a:pt x="1300163" y="410528"/>
                  </a:lnTo>
                  <a:lnTo>
                    <a:pt x="1236345" y="410528"/>
                  </a:lnTo>
                  <a:lnTo>
                    <a:pt x="1236345" y="460057"/>
                  </a:lnTo>
                  <a:lnTo>
                    <a:pt x="1310640" y="460057"/>
                  </a:lnTo>
                  <a:lnTo>
                    <a:pt x="1310640" y="494348"/>
                  </a:lnTo>
                  <a:lnTo>
                    <a:pt x="1196340" y="49434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grpSp>
          <p:nvGrpSpPr>
            <p:cNvPr id="25" name="Graphique 2">
              <a:extLst>
                <a:ext uri="{FF2B5EF4-FFF2-40B4-BE49-F238E27FC236}">
                  <a16:creationId xmlns:a16="http://schemas.microsoft.com/office/drawing/2014/main" id="{1A08C8C9-5027-4203-ABA6-F3D1AA132AAB}"/>
                </a:ext>
              </a:extLst>
            </p:cNvPr>
            <p:cNvGrpSpPr/>
            <p:nvPr/>
          </p:nvGrpSpPr>
          <p:grpSpPr>
            <a:xfrm>
              <a:off x="270509" y="269557"/>
              <a:ext cx="744854" cy="270510"/>
              <a:chOff x="270509" y="269557"/>
              <a:chExt cx="744854" cy="270510"/>
            </a:xfrm>
          </p:grpSpPr>
          <p:sp>
            <p:nvSpPr>
              <p:cNvPr id="26" name="Forme libre : forme 25">
                <a:extLst>
                  <a:ext uri="{FF2B5EF4-FFF2-40B4-BE49-F238E27FC236}">
                    <a16:creationId xmlns:a16="http://schemas.microsoft.com/office/drawing/2014/main" id="{B6F47A7D-C08F-42F4-930E-21A8723DAA02}"/>
                  </a:ext>
                </a:extLst>
              </p:cNvPr>
              <p:cNvSpPr/>
              <p:nvPr/>
            </p:nvSpPr>
            <p:spPr>
              <a:xfrm>
                <a:off x="419100" y="270509"/>
                <a:ext cx="359871" cy="268604"/>
              </a:xfrm>
              <a:custGeom>
                <a:avLst/>
                <a:gdLst>
                  <a:gd name="connsiteX0" fmla="*/ 158115 w 359871"/>
                  <a:gd name="connsiteY0" fmla="*/ 237173 h 268604"/>
                  <a:gd name="connsiteX1" fmla="*/ 166688 w 359871"/>
                  <a:gd name="connsiteY1" fmla="*/ 227648 h 268604"/>
                  <a:gd name="connsiteX2" fmla="*/ 166688 w 359871"/>
                  <a:gd name="connsiteY2" fmla="*/ 227648 h 268604"/>
                  <a:gd name="connsiteX3" fmla="*/ 183833 w 359871"/>
                  <a:gd name="connsiteY3" fmla="*/ 210503 h 268604"/>
                  <a:gd name="connsiteX4" fmla="*/ 189548 w 359871"/>
                  <a:gd name="connsiteY4" fmla="*/ 205740 h 268604"/>
                  <a:gd name="connsiteX5" fmla="*/ 190500 w 359871"/>
                  <a:gd name="connsiteY5" fmla="*/ 203835 h 268604"/>
                  <a:gd name="connsiteX6" fmla="*/ 183833 w 359871"/>
                  <a:gd name="connsiteY6" fmla="*/ 207645 h 268604"/>
                  <a:gd name="connsiteX7" fmla="*/ 182880 w 359871"/>
                  <a:gd name="connsiteY7" fmla="*/ 206692 h 268604"/>
                  <a:gd name="connsiteX8" fmla="*/ 188595 w 359871"/>
                  <a:gd name="connsiteY8" fmla="*/ 202883 h 268604"/>
                  <a:gd name="connsiteX9" fmla="*/ 188595 w 359871"/>
                  <a:gd name="connsiteY9" fmla="*/ 202883 h 268604"/>
                  <a:gd name="connsiteX10" fmla="*/ 187643 w 359871"/>
                  <a:gd name="connsiteY10" fmla="*/ 201930 h 268604"/>
                  <a:gd name="connsiteX11" fmla="*/ 171450 w 359871"/>
                  <a:gd name="connsiteY11" fmla="*/ 210503 h 268604"/>
                  <a:gd name="connsiteX12" fmla="*/ 168593 w 359871"/>
                  <a:gd name="connsiteY12" fmla="*/ 209550 h 268604"/>
                  <a:gd name="connsiteX13" fmla="*/ 147638 w 359871"/>
                  <a:gd name="connsiteY13" fmla="*/ 221933 h 268604"/>
                  <a:gd name="connsiteX14" fmla="*/ 147638 w 359871"/>
                  <a:gd name="connsiteY14" fmla="*/ 220980 h 268604"/>
                  <a:gd name="connsiteX15" fmla="*/ 138113 w 359871"/>
                  <a:gd name="connsiteY15" fmla="*/ 224790 h 268604"/>
                  <a:gd name="connsiteX16" fmla="*/ 125730 w 359871"/>
                  <a:gd name="connsiteY16" fmla="*/ 225742 h 268604"/>
                  <a:gd name="connsiteX17" fmla="*/ 107632 w 359871"/>
                  <a:gd name="connsiteY17" fmla="*/ 228600 h 268604"/>
                  <a:gd name="connsiteX18" fmla="*/ 106680 w 359871"/>
                  <a:gd name="connsiteY18" fmla="*/ 228600 h 268604"/>
                  <a:gd name="connsiteX19" fmla="*/ 97155 w 359871"/>
                  <a:gd name="connsiteY19" fmla="*/ 232410 h 268604"/>
                  <a:gd name="connsiteX20" fmla="*/ 97155 w 359871"/>
                  <a:gd name="connsiteY20" fmla="*/ 232410 h 268604"/>
                  <a:gd name="connsiteX21" fmla="*/ 96202 w 359871"/>
                  <a:gd name="connsiteY21" fmla="*/ 233363 h 268604"/>
                  <a:gd name="connsiteX22" fmla="*/ 92393 w 359871"/>
                  <a:gd name="connsiteY22" fmla="*/ 236220 h 268604"/>
                  <a:gd name="connsiteX23" fmla="*/ 83820 w 359871"/>
                  <a:gd name="connsiteY23" fmla="*/ 242888 h 268604"/>
                  <a:gd name="connsiteX24" fmla="*/ 82868 w 359871"/>
                  <a:gd name="connsiteY24" fmla="*/ 242888 h 268604"/>
                  <a:gd name="connsiteX25" fmla="*/ 74295 w 359871"/>
                  <a:gd name="connsiteY25" fmla="*/ 250508 h 268604"/>
                  <a:gd name="connsiteX26" fmla="*/ 72390 w 359871"/>
                  <a:gd name="connsiteY26" fmla="*/ 250508 h 268604"/>
                  <a:gd name="connsiteX27" fmla="*/ 72390 w 359871"/>
                  <a:gd name="connsiteY27" fmla="*/ 250508 h 268604"/>
                  <a:gd name="connsiteX28" fmla="*/ 72390 w 359871"/>
                  <a:gd name="connsiteY28" fmla="*/ 249555 h 268604"/>
                  <a:gd name="connsiteX29" fmla="*/ 73343 w 359871"/>
                  <a:gd name="connsiteY29" fmla="*/ 247650 h 268604"/>
                  <a:gd name="connsiteX30" fmla="*/ 75248 w 359871"/>
                  <a:gd name="connsiteY30" fmla="*/ 245745 h 268604"/>
                  <a:gd name="connsiteX31" fmla="*/ 77152 w 359871"/>
                  <a:gd name="connsiteY31" fmla="*/ 242888 h 268604"/>
                  <a:gd name="connsiteX32" fmla="*/ 77152 w 359871"/>
                  <a:gd name="connsiteY32" fmla="*/ 241935 h 268604"/>
                  <a:gd name="connsiteX33" fmla="*/ 76200 w 359871"/>
                  <a:gd name="connsiteY33" fmla="*/ 241935 h 268604"/>
                  <a:gd name="connsiteX34" fmla="*/ 84773 w 359871"/>
                  <a:gd name="connsiteY34" fmla="*/ 235267 h 268604"/>
                  <a:gd name="connsiteX35" fmla="*/ 84773 w 359871"/>
                  <a:gd name="connsiteY35" fmla="*/ 235267 h 268604"/>
                  <a:gd name="connsiteX36" fmla="*/ 83820 w 359871"/>
                  <a:gd name="connsiteY36" fmla="*/ 234315 h 268604"/>
                  <a:gd name="connsiteX37" fmla="*/ 84773 w 359871"/>
                  <a:gd name="connsiteY37" fmla="*/ 233363 h 268604"/>
                  <a:gd name="connsiteX38" fmla="*/ 84773 w 359871"/>
                  <a:gd name="connsiteY38" fmla="*/ 233363 h 268604"/>
                  <a:gd name="connsiteX39" fmla="*/ 84773 w 359871"/>
                  <a:gd name="connsiteY39" fmla="*/ 233363 h 268604"/>
                  <a:gd name="connsiteX40" fmla="*/ 84773 w 359871"/>
                  <a:gd name="connsiteY40" fmla="*/ 234315 h 268604"/>
                  <a:gd name="connsiteX41" fmla="*/ 80963 w 359871"/>
                  <a:gd name="connsiteY41" fmla="*/ 237173 h 268604"/>
                  <a:gd name="connsiteX42" fmla="*/ 80010 w 359871"/>
                  <a:gd name="connsiteY42" fmla="*/ 237173 h 268604"/>
                  <a:gd name="connsiteX43" fmla="*/ 79057 w 359871"/>
                  <a:gd name="connsiteY43" fmla="*/ 237173 h 268604"/>
                  <a:gd name="connsiteX44" fmla="*/ 79057 w 359871"/>
                  <a:gd name="connsiteY44" fmla="*/ 237173 h 268604"/>
                  <a:gd name="connsiteX45" fmla="*/ 79057 w 359871"/>
                  <a:gd name="connsiteY45" fmla="*/ 237173 h 268604"/>
                  <a:gd name="connsiteX46" fmla="*/ 79057 w 359871"/>
                  <a:gd name="connsiteY46" fmla="*/ 237173 h 268604"/>
                  <a:gd name="connsiteX47" fmla="*/ 79057 w 359871"/>
                  <a:gd name="connsiteY47" fmla="*/ 237173 h 268604"/>
                  <a:gd name="connsiteX48" fmla="*/ 79057 w 359871"/>
                  <a:gd name="connsiteY48" fmla="*/ 237173 h 268604"/>
                  <a:gd name="connsiteX49" fmla="*/ 79057 w 359871"/>
                  <a:gd name="connsiteY49" fmla="*/ 237173 h 268604"/>
                  <a:gd name="connsiteX50" fmla="*/ 79057 w 359871"/>
                  <a:gd name="connsiteY50" fmla="*/ 236220 h 268604"/>
                  <a:gd name="connsiteX51" fmla="*/ 79057 w 359871"/>
                  <a:gd name="connsiteY51" fmla="*/ 236220 h 268604"/>
                  <a:gd name="connsiteX52" fmla="*/ 80010 w 359871"/>
                  <a:gd name="connsiteY52" fmla="*/ 235267 h 268604"/>
                  <a:gd name="connsiteX53" fmla="*/ 80010 w 359871"/>
                  <a:gd name="connsiteY53" fmla="*/ 234315 h 268604"/>
                  <a:gd name="connsiteX54" fmla="*/ 80963 w 359871"/>
                  <a:gd name="connsiteY54" fmla="*/ 233363 h 268604"/>
                  <a:gd name="connsiteX55" fmla="*/ 80963 w 359871"/>
                  <a:gd name="connsiteY55" fmla="*/ 232410 h 268604"/>
                  <a:gd name="connsiteX56" fmla="*/ 84773 w 359871"/>
                  <a:gd name="connsiteY56" fmla="*/ 229553 h 268604"/>
                  <a:gd name="connsiteX57" fmla="*/ 84773 w 359871"/>
                  <a:gd name="connsiteY57" fmla="*/ 229553 h 268604"/>
                  <a:gd name="connsiteX58" fmla="*/ 90488 w 359871"/>
                  <a:gd name="connsiteY58" fmla="*/ 226695 h 268604"/>
                  <a:gd name="connsiteX59" fmla="*/ 91440 w 359871"/>
                  <a:gd name="connsiteY59" fmla="*/ 225742 h 268604"/>
                  <a:gd name="connsiteX60" fmla="*/ 82868 w 359871"/>
                  <a:gd name="connsiteY60" fmla="*/ 229553 h 268604"/>
                  <a:gd name="connsiteX61" fmla="*/ 81915 w 359871"/>
                  <a:gd name="connsiteY61" fmla="*/ 229553 h 268604"/>
                  <a:gd name="connsiteX62" fmla="*/ 80963 w 359871"/>
                  <a:gd name="connsiteY62" fmla="*/ 229553 h 268604"/>
                  <a:gd name="connsiteX63" fmla="*/ 80963 w 359871"/>
                  <a:gd name="connsiteY63" fmla="*/ 229553 h 268604"/>
                  <a:gd name="connsiteX64" fmla="*/ 83820 w 359871"/>
                  <a:gd name="connsiteY64" fmla="*/ 226695 h 268604"/>
                  <a:gd name="connsiteX65" fmla="*/ 84773 w 359871"/>
                  <a:gd name="connsiteY65" fmla="*/ 227648 h 268604"/>
                  <a:gd name="connsiteX66" fmla="*/ 142875 w 359871"/>
                  <a:gd name="connsiteY66" fmla="*/ 211455 h 268604"/>
                  <a:gd name="connsiteX67" fmla="*/ 147638 w 359871"/>
                  <a:gd name="connsiteY67" fmla="*/ 208598 h 268604"/>
                  <a:gd name="connsiteX68" fmla="*/ 155258 w 359871"/>
                  <a:gd name="connsiteY68" fmla="*/ 203835 h 268604"/>
                  <a:gd name="connsiteX69" fmla="*/ 163830 w 359871"/>
                  <a:gd name="connsiteY69" fmla="*/ 192405 h 268604"/>
                  <a:gd name="connsiteX70" fmla="*/ 162877 w 359871"/>
                  <a:gd name="connsiteY70" fmla="*/ 191453 h 268604"/>
                  <a:gd name="connsiteX71" fmla="*/ 140018 w 359871"/>
                  <a:gd name="connsiteY71" fmla="*/ 208598 h 268604"/>
                  <a:gd name="connsiteX72" fmla="*/ 106680 w 359871"/>
                  <a:gd name="connsiteY72" fmla="*/ 214313 h 268604"/>
                  <a:gd name="connsiteX73" fmla="*/ 109538 w 359871"/>
                  <a:gd name="connsiteY73" fmla="*/ 213360 h 268604"/>
                  <a:gd name="connsiteX74" fmla="*/ 111443 w 359871"/>
                  <a:gd name="connsiteY74" fmla="*/ 210503 h 268604"/>
                  <a:gd name="connsiteX75" fmla="*/ 113348 w 359871"/>
                  <a:gd name="connsiteY75" fmla="*/ 210503 h 268604"/>
                  <a:gd name="connsiteX76" fmla="*/ 114300 w 359871"/>
                  <a:gd name="connsiteY76" fmla="*/ 209550 h 268604"/>
                  <a:gd name="connsiteX77" fmla="*/ 116205 w 359871"/>
                  <a:gd name="connsiteY77" fmla="*/ 208598 h 268604"/>
                  <a:gd name="connsiteX78" fmla="*/ 108585 w 359871"/>
                  <a:gd name="connsiteY78" fmla="*/ 208598 h 268604"/>
                  <a:gd name="connsiteX79" fmla="*/ 110490 w 359871"/>
                  <a:gd name="connsiteY79" fmla="*/ 205740 h 268604"/>
                  <a:gd name="connsiteX80" fmla="*/ 112395 w 359871"/>
                  <a:gd name="connsiteY80" fmla="*/ 205740 h 268604"/>
                  <a:gd name="connsiteX81" fmla="*/ 113348 w 359871"/>
                  <a:gd name="connsiteY81" fmla="*/ 203835 h 268604"/>
                  <a:gd name="connsiteX82" fmla="*/ 135255 w 359871"/>
                  <a:gd name="connsiteY82" fmla="*/ 191453 h 268604"/>
                  <a:gd name="connsiteX83" fmla="*/ 131445 w 359871"/>
                  <a:gd name="connsiteY83" fmla="*/ 192405 h 268604"/>
                  <a:gd name="connsiteX84" fmla="*/ 132398 w 359871"/>
                  <a:gd name="connsiteY84" fmla="*/ 190500 h 268604"/>
                  <a:gd name="connsiteX85" fmla="*/ 148590 w 359871"/>
                  <a:gd name="connsiteY85" fmla="*/ 183833 h 268604"/>
                  <a:gd name="connsiteX86" fmla="*/ 142875 w 359871"/>
                  <a:gd name="connsiteY86" fmla="*/ 183833 h 268604"/>
                  <a:gd name="connsiteX87" fmla="*/ 145733 w 359871"/>
                  <a:gd name="connsiteY87" fmla="*/ 181928 h 268604"/>
                  <a:gd name="connsiteX88" fmla="*/ 145733 w 359871"/>
                  <a:gd name="connsiteY88" fmla="*/ 180023 h 268604"/>
                  <a:gd name="connsiteX89" fmla="*/ 146685 w 359871"/>
                  <a:gd name="connsiteY89" fmla="*/ 179070 h 268604"/>
                  <a:gd name="connsiteX90" fmla="*/ 145733 w 359871"/>
                  <a:gd name="connsiteY90" fmla="*/ 178117 h 268604"/>
                  <a:gd name="connsiteX91" fmla="*/ 148590 w 359871"/>
                  <a:gd name="connsiteY91" fmla="*/ 176213 h 268604"/>
                  <a:gd name="connsiteX92" fmla="*/ 146685 w 359871"/>
                  <a:gd name="connsiteY92" fmla="*/ 175260 h 268604"/>
                  <a:gd name="connsiteX93" fmla="*/ 153352 w 359871"/>
                  <a:gd name="connsiteY93" fmla="*/ 172403 h 268604"/>
                  <a:gd name="connsiteX94" fmla="*/ 151448 w 359871"/>
                  <a:gd name="connsiteY94" fmla="*/ 171450 h 268604"/>
                  <a:gd name="connsiteX95" fmla="*/ 152400 w 359871"/>
                  <a:gd name="connsiteY95" fmla="*/ 170498 h 268604"/>
                  <a:gd name="connsiteX96" fmla="*/ 152400 w 359871"/>
                  <a:gd name="connsiteY96" fmla="*/ 170498 h 268604"/>
                  <a:gd name="connsiteX97" fmla="*/ 151448 w 359871"/>
                  <a:gd name="connsiteY97" fmla="*/ 168592 h 268604"/>
                  <a:gd name="connsiteX98" fmla="*/ 156210 w 359871"/>
                  <a:gd name="connsiteY98" fmla="*/ 156210 h 268604"/>
                  <a:gd name="connsiteX99" fmla="*/ 155258 w 359871"/>
                  <a:gd name="connsiteY99" fmla="*/ 155258 h 268604"/>
                  <a:gd name="connsiteX100" fmla="*/ 134302 w 359871"/>
                  <a:gd name="connsiteY100" fmla="*/ 164783 h 268604"/>
                  <a:gd name="connsiteX101" fmla="*/ 131445 w 359871"/>
                  <a:gd name="connsiteY101" fmla="*/ 164783 h 268604"/>
                  <a:gd name="connsiteX102" fmla="*/ 122873 w 359871"/>
                  <a:gd name="connsiteY102" fmla="*/ 163830 h 268604"/>
                  <a:gd name="connsiteX103" fmla="*/ 118110 w 359871"/>
                  <a:gd name="connsiteY103" fmla="*/ 160020 h 268604"/>
                  <a:gd name="connsiteX104" fmla="*/ 105727 w 359871"/>
                  <a:gd name="connsiteY104" fmla="*/ 154305 h 268604"/>
                  <a:gd name="connsiteX105" fmla="*/ 66675 w 359871"/>
                  <a:gd name="connsiteY105" fmla="*/ 148590 h 268604"/>
                  <a:gd name="connsiteX106" fmla="*/ 84773 w 359871"/>
                  <a:gd name="connsiteY106" fmla="*/ 143828 h 268604"/>
                  <a:gd name="connsiteX107" fmla="*/ 110490 w 359871"/>
                  <a:gd name="connsiteY107" fmla="*/ 139065 h 268604"/>
                  <a:gd name="connsiteX108" fmla="*/ 105727 w 359871"/>
                  <a:gd name="connsiteY108" fmla="*/ 139065 h 268604"/>
                  <a:gd name="connsiteX109" fmla="*/ 83820 w 359871"/>
                  <a:gd name="connsiteY109" fmla="*/ 141923 h 268604"/>
                  <a:gd name="connsiteX110" fmla="*/ 68580 w 359871"/>
                  <a:gd name="connsiteY110" fmla="*/ 145733 h 268604"/>
                  <a:gd name="connsiteX111" fmla="*/ 60007 w 359871"/>
                  <a:gd name="connsiteY111" fmla="*/ 149542 h 268604"/>
                  <a:gd name="connsiteX112" fmla="*/ 60007 w 359871"/>
                  <a:gd name="connsiteY112" fmla="*/ 147638 h 268604"/>
                  <a:gd name="connsiteX113" fmla="*/ 79057 w 359871"/>
                  <a:gd name="connsiteY113" fmla="*/ 135255 h 268604"/>
                  <a:gd name="connsiteX114" fmla="*/ 105727 w 359871"/>
                  <a:gd name="connsiteY114" fmla="*/ 136208 h 268604"/>
                  <a:gd name="connsiteX115" fmla="*/ 124777 w 359871"/>
                  <a:gd name="connsiteY115" fmla="*/ 140017 h 268604"/>
                  <a:gd name="connsiteX116" fmla="*/ 129540 w 359871"/>
                  <a:gd name="connsiteY116" fmla="*/ 144780 h 268604"/>
                  <a:gd name="connsiteX117" fmla="*/ 139065 w 359871"/>
                  <a:gd name="connsiteY117" fmla="*/ 146685 h 268604"/>
                  <a:gd name="connsiteX118" fmla="*/ 139065 w 359871"/>
                  <a:gd name="connsiteY118" fmla="*/ 143828 h 268604"/>
                  <a:gd name="connsiteX119" fmla="*/ 145733 w 359871"/>
                  <a:gd name="connsiteY119" fmla="*/ 142875 h 268604"/>
                  <a:gd name="connsiteX120" fmla="*/ 140018 w 359871"/>
                  <a:gd name="connsiteY120" fmla="*/ 132398 h 268604"/>
                  <a:gd name="connsiteX121" fmla="*/ 140970 w 359871"/>
                  <a:gd name="connsiteY121" fmla="*/ 131445 h 268604"/>
                  <a:gd name="connsiteX122" fmla="*/ 153352 w 359871"/>
                  <a:gd name="connsiteY122" fmla="*/ 141923 h 268604"/>
                  <a:gd name="connsiteX123" fmla="*/ 160973 w 359871"/>
                  <a:gd name="connsiteY123" fmla="*/ 140970 h 268604"/>
                  <a:gd name="connsiteX124" fmla="*/ 149543 w 359871"/>
                  <a:gd name="connsiteY124" fmla="*/ 125730 h 268604"/>
                  <a:gd name="connsiteX125" fmla="*/ 149543 w 359871"/>
                  <a:gd name="connsiteY125" fmla="*/ 123825 h 268604"/>
                  <a:gd name="connsiteX126" fmla="*/ 147638 w 359871"/>
                  <a:gd name="connsiteY126" fmla="*/ 122873 h 268604"/>
                  <a:gd name="connsiteX127" fmla="*/ 147638 w 359871"/>
                  <a:gd name="connsiteY127" fmla="*/ 120015 h 268604"/>
                  <a:gd name="connsiteX128" fmla="*/ 144780 w 359871"/>
                  <a:gd name="connsiteY128" fmla="*/ 115253 h 268604"/>
                  <a:gd name="connsiteX129" fmla="*/ 142875 w 359871"/>
                  <a:gd name="connsiteY129" fmla="*/ 105728 h 268604"/>
                  <a:gd name="connsiteX130" fmla="*/ 141923 w 359871"/>
                  <a:gd name="connsiteY130" fmla="*/ 98108 h 268604"/>
                  <a:gd name="connsiteX131" fmla="*/ 137160 w 359871"/>
                  <a:gd name="connsiteY131" fmla="*/ 73342 h 268604"/>
                  <a:gd name="connsiteX132" fmla="*/ 147638 w 359871"/>
                  <a:gd name="connsiteY132" fmla="*/ 47625 h 268604"/>
                  <a:gd name="connsiteX133" fmla="*/ 161925 w 359871"/>
                  <a:gd name="connsiteY133" fmla="*/ 31433 h 268604"/>
                  <a:gd name="connsiteX134" fmla="*/ 171450 w 359871"/>
                  <a:gd name="connsiteY134" fmla="*/ 15240 h 268604"/>
                  <a:gd name="connsiteX135" fmla="*/ 187643 w 359871"/>
                  <a:gd name="connsiteY135" fmla="*/ 4763 h 268604"/>
                  <a:gd name="connsiteX136" fmla="*/ 200977 w 359871"/>
                  <a:gd name="connsiteY136" fmla="*/ 0 h 268604"/>
                  <a:gd name="connsiteX137" fmla="*/ 302895 w 359871"/>
                  <a:gd name="connsiteY137" fmla="*/ 0 h 268604"/>
                  <a:gd name="connsiteX138" fmla="*/ 305753 w 359871"/>
                  <a:gd name="connsiteY138" fmla="*/ 953 h 268604"/>
                  <a:gd name="connsiteX139" fmla="*/ 313373 w 359871"/>
                  <a:gd name="connsiteY139" fmla="*/ 4763 h 268604"/>
                  <a:gd name="connsiteX140" fmla="*/ 322898 w 359871"/>
                  <a:gd name="connsiteY140" fmla="*/ 13335 h 268604"/>
                  <a:gd name="connsiteX141" fmla="*/ 324803 w 359871"/>
                  <a:gd name="connsiteY141" fmla="*/ 20003 h 268604"/>
                  <a:gd name="connsiteX142" fmla="*/ 320992 w 359871"/>
                  <a:gd name="connsiteY142" fmla="*/ 27622 h 268604"/>
                  <a:gd name="connsiteX143" fmla="*/ 310515 w 359871"/>
                  <a:gd name="connsiteY143" fmla="*/ 28575 h 268604"/>
                  <a:gd name="connsiteX144" fmla="*/ 304800 w 359871"/>
                  <a:gd name="connsiteY144" fmla="*/ 27622 h 268604"/>
                  <a:gd name="connsiteX145" fmla="*/ 324803 w 359871"/>
                  <a:gd name="connsiteY145" fmla="*/ 40958 h 268604"/>
                  <a:gd name="connsiteX146" fmla="*/ 329565 w 359871"/>
                  <a:gd name="connsiteY146" fmla="*/ 42863 h 268604"/>
                  <a:gd name="connsiteX147" fmla="*/ 330517 w 359871"/>
                  <a:gd name="connsiteY147" fmla="*/ 44767 h 268604"/>
                  <a:gd name="connsiteX148" fmla="*/ 328613 w 359871"/>
                  <a:gd name="connsiteY148" fmla="*/ 47625 h 268604"/>
                  <a:gd name="connsiteX149" fmla="*/ 330517 w 359871"/>
                  <a:gd name="connsiteY149" fmla="*/ 47625 h 268604"/>
                  <a:gd name="connsiteX150" fmla="*/ 336233 w 359871"/>
                  <a:gd name="connsiteY150" fmla="*/ 42863 h 268604"/>
                  <a:gd name="connsiteX151" fmla="*/ 338138 w 359871"/>
                  <a:gd name="connsiteY151" fmla="*/ 50483 h 268604"/>
                  <a:gd name="connsiteX152" fmla="*/ 332423 w 359871"/>
                  <a:gd name="connsiteY152" fmla="*/ 55245 h 268604"/>
                  <a:gd name="connsiteX153" fmla="*/ 332423 w 359871"/>
                  <a:gd name="connsiteY153" fmla="*/ 59055 h 268604"/>
                  <a:gd name="connsiteX154" fmla="*/ 335280 w 359871"/>
                  <a:gd name="connsiteY154" fmla="*/ 64770 h 268604"/>
                  <a:gd name="connsiteX155" fmla="*/ 339090 w 359871"/>
                  <a:gd name="connsiteY155" fmla="*/ 76200 h 268604"/>
                  <a:gd name="connsiteX156" fmla="*/ 342900 w 359871"/>
                  <a:gd name="connsiteY156" fmla="*/ 99060 h 268604"/>
                  <a:gd name="connsiteX157" fmla="*/ 341948 w 359871"/>
                  <a:gd name="connsiteY157" fmla="*/ 110490 h 268604"/>
                  <a:gd name="connsiteX158" fmla="*/ 347663 w 359871"/>
                  <a:gd name="connsiteY158" fmla="*/ 120967 h 268604"/>
                  <a:gd name="connsiteX159" fmla="*/ 353378 w 359871"/>
                  <a:gd name="connsiteY159" fmla="*/ 129540 h 268604"/>
                  <a:gd name="connsiteX160" fmla="*/ 359092 w 359871"/>
                  <a:gd name="connsiteY160" fmla="*/ 145733 h 268604"/>
                  <a:gd name="connsiteX161" fmla="*/ 348615 w 359871"/>
                  <a:gd name="connsiteY161" fmla="*/ 150495 h 268604"/>
                  <a:gd name="connsiteX162" fmla="*/ 349567 w 359871"/>
                  <a:gd name="connsiteY162" fmla="*/ 160020 h 268604"/>
                  <a:gd name="connsiteX163" fmla="*/ 342900 w 359871"/>
                  <a:gd name="connsiteY163" fmla="*/ 169545 h 268604"/>
                  <a:gd name="connsiteX164" fmla="*/ 346710 w 359871"/>
                  <a:gd name="connsiteY164" fmla="*/ 171450 h 268604"/>
                  <a:gd name="connsiteX165" fmla="*/ 348615 w 359871"/>
                  <a:gd name="connsiteY165" fmla="*/ 178117 h 268604"/>
                  <a:gd name="connsiteX166" fmla="*/ 343853 w 359871"/>
                  <a:gd name="connsiteY166" fmla="*/ 187642 h 268604"/>
                  <a:gd name="connsiteX167" fmla="*/ 342900 w 359871"/>
                  <a:gd name="connsiteY167" fmla="*/ 199073 h 268604"/>
                  <a:gd name="connsiteX168" fmla="*/ 333375 w 359871"/>
                  <a:gd name="connsiteY168" fmla="*/ 206692 h 268604"/>
                  <a:gd name="connsiteX169" fmla="*/ 323850 w 359871"/>
                  <a:gd name="connsiteY169" fmla="*/ 207645 h 268604"/>
                  <a:gd name="connsiteX170" fmla="*/ 318135 w 359871"/>
                  <a:gd name="connsiteY170" fmla="*/ 205740 h 268604"/>
                  <a:gd name="connsiteX171" fmla="*/ 292417 w 359871"/>
                  <a:gd name="connsiteY171" fmla="*/ 201930 h 268604"/>
                  <a:gd name="connsiteX172" fmla="*/ 285750 w 359871"/>
                  <a:gd name="connsiteY172" fmla="*/ 203835 h 268604"/>
                  <a:gd name="connsiteX173" fmla="*/ 280035 w 359871"/>
                  <a:gd name="connsiteY173" fmla="*/ 209550 h 268604"/>
                  <a:gd name="connsiteX174" fmla="*/ 280035 w 359871"/>
                  <a:gd name="connsiteY174" fmla="*/ 209550 h 268604"/>
                  <a:gd name="connsiteX175" fmla="*/ 279083 w 359871"/>
                  <a:gd name="connsiteY175" fmla="*/ 210503 h 268604"/>
                  <a:gd name="connsiteX176" fmla="*/ 278130 w 359871"/>
                  <a:gd name="connsiteY176" fmla="*/ 211455 h 268604"/>
                  <a:gd name="connsiteX177" fmla="*/ 278130 w 359871"/>
                  <a:gd name="connsiteY177" fmla="*/ 212408 h 268604"/>
                  <a:gd name="connsiteX178" fmla="*/ 274320 w 359871"/>
                  <a:gd name="connsiteY178" fmla="*/ 218123 h 268604"/>
                  <a:gd name="connsiteX179" fmla="*/ 274320 w 359871"/>
                  <a:gd name="connsiteY179" fmla="*/ 218123 h 268604"/>
                  <a:gd name="connsiteX180" fmla="*/ 274320 w 359871"/>
                  <a:gd name="connsiteY180" fmla="*/ 219075 h 268604"/>
                  <a:gd name="connsiteX181" fmla="*/ 270510 w 359871"/>
                  <a:gd name="connsiteY181" fmla="*/ 228600 h 268604"/>
                  <a:gd name="connsiteX182" fmla="*/ 271463 w 359871"/>
                  <a:gd name="connsiteY182" fmla="*/ 252413 h 268604"/>
                  <a:gd name="connsiteX183" fmla="*/ 299085 w 359871"/>
                  <a:gd name="connsiteY183" fmla="*/ 262890 h 268604"/>
                  <a:gd name="connsiteX184" fmla="*/ 311467 w 359871"/>
                  <a:gd name="connsiteY184" fmla="*/ 268605 h 268604"/>
                  <a:gd name="connsiteX185" fmla="*/ 101918 w 359871"/>
                  <a:gd name="connsiteY185" fmla="*/ 268605 h 268604"/>
                  <a:gd name="connsiteX186" fmla="*/ 135255 w 359871"/>
                  <a:gd name="connsiteY186" fmla="*/ 251460 h 268604"/>
                  <a:gd name="connsiteX187" fmla="*/ 158115 w 359871"/>
                  <a:gd name="connsiteY187" fmla="*/ 237173 h 268604"/>
                  <a:gd name="connsiteX188" fmla="*/ 79057 w 359871"/>
                  <a:gd name="connsiteY188" fmla="*/ 200978 h 268604"/>
                  <a:gd name="connsiteX189" fmla="*/ 76200 w 359871"/>
                  <a:gd name="connsiteY189" fmla="*/ 200025 h 268604"/>
                  <a:gd name="connsiteX190" fmla="*/ 81915 w 359871"/>
                  <a:gd name="connsiteY190" fmla="*/ 196215 h 268604"/>
                  <a:gd name="connsiteX191" fmla="*/ 85725 w 359871"/>
                  <a:gd name="connsiteY191" fmla="*/ 195263 h 268604"/>
                  <a:gd name="connsiteX192" fmla="*/ 89535 w 359871"/>
                  <a:gd name="connsiteY192" fmla="*/ 197167 h 268604"/>
                  <a:gd name="connsiteX193" fmla="*/ 79057 w 359871"/>
                  <a:gd name="connsiteY193" fmla="*/ 200978 h 268604"/>
                  <a:gd name="connsiteX194" fmla="*/ 952 w 359871"/>
                  <a:gd name="connsiteY194" fmla="*/ 189548 h 268604"/>
                  <a:gd name="connsiteX195" fmla="*/ 0 w 359871"/>
                  <a:gd name="connsiteY195" fmla="*/ 188595 h 268604"/>
                  <a:gd name="connsiteX196" fmla="*/ 16193 w 359871"/>
                  <a:gd name="connsiteY196" fmla="*/ 162878 h 268604"/>
                  <a:gd name="connsiteX197" fmla="*/ 33338 w 359871"/>
                  <a:gd name="connsiteY197" fmla="*/ 148590 h 268604"/>
                  <a:gd name="connsiteX198" fmla="*/ 61913 w 359871"/>
                  <a:gd name="connsiteY198" fmla="*/ 125730 h 268604"/>
                  <a:gd name="connsiteX199" fmla="*/ 75248 w 359871"/>
                  <a:gd name="connsiteY199" fmla="*/ 126683 h 268604"/>
                  <a:gd name="connsiteX200" fmla="*/ 69532 w 359871"/>
                  <a:gd name="connsiteY200" fmla="*/ 129540 h 268604"/>
                  <a:gd name="connsiteX201" fmla="*/ 67627 w 359871"/>
                  <a:gd name="connsiteY201" fmla="*/ 128588 h 268604"/>
                  <a:gd name="connsiteX202" fmla="*/ 68580 w 359871"/>
                  <a:gd name="connsiteY202" fmla="*/ 126683 h 268604"/>
                  <a:gd name="connsiteX203" fmla="*/ 52388 w 359871"/>
                  <a:gd name="connsiteY203" fmla="*/ 141923 h 268604"/>
                  <a:gd name="connsiteX204" fmla="*/ 40957 w 359871"/>
                  <a:gd name="connsiteY204" fmla="*/ 155258 h 268604"/>
                  <a:gd name="connsiteX205" fmla="*/ 40005 w 359871"/>
                  <a:gd name="connsiteY205" fmla="*/ 154305 h 268604"/>
                  <a:gd name="connsiteX206" fmla="*/ 952 w 359871"/>
                  <a:gd name="connsiteY206" fmla="*/ 189548 h 268604"/>
                  <a:gd name="connsiteX207" fmla="*/ 43815 w 359871"/>
                  <a:gd name="connsiteY207" fmla="*/ 156210 h 268604"/>
                  <a:gd name="connsiteX208" fmla="*/ 41910 w 359871"/>
                  <a:gd name="connsiteY208" fmla="*/ 158115 h 268604"/>
                  <a:gd name="connsiteX209" fmla="*/ 40005 w 359871"/>
                  <a:gd name="connsiteY209" fmla="*/ 160020 h 268604"/>
                  <a:gd name="connsiteX210" fmla="*/ 39052 w 359871"/>
                  <a:gd name="connsiteY210" fmla="*/ 159067 h 268604"/>
                  <a:gd name="connsiteX211" fmla="*/ 42863 w 359871"/>
                  <a:gd name="connsiteY211" fmla="*/ 154305 h 268604"/>
                  <a:gd name="connsiteX212" fmla="*/ 43815 w 359871"/>
                  <a:gd name="connsiteY212" fmla="*/ 156210 h 268604"/>
                  <a:gd name="connsiteX213" fmla="*/ 67627 w 359871"/>
                  <a:gd name="connsiteY213" fmla="*/ 232410 h 268604"/>
                  <a:gd name="connsiteX214" fmla="*/ 66675 w 359871"/>
                  <a:gd name="connsiteY214" fmla="*/ 234315 h 268604"/>
                  <a:gd name="connsiteX215" fmla="*/ 67627 w 359871"/>
                  <a:gd name="connsiteY215" fmla="*/ 235267 h 268604"/>
                  <a:gd name="connsiteX216" fmla="*/ 63818 w 359871"/>
                  <a:gd name="connsiteY216" fmla="*/ 238125 h 268604"/>
                  <a:gd name="connsiteX217" fmla="*/ 62865 w 359871"/>
                  <a:gd name="connsiteY217" fmla="*/ 238125 h 268604"/>
                  <a:gd name="connsiteX218" fmla="*/ 60960 w 359871"/>
                  <a:gd name="connsiteY218" fmla="*/ 240030 h 268604"/>
                  <a:gd name="connsiteX219" fmla="*/ 58102 w 359871"/>
                  <a:gd name="connsiteY219" fmla="*/ 239078 h 268604"/>
                  <a:gd name="connsiteX220" fmla="*/ 61913 w 359871"/>
                  <a:gd name="connsiteY220" fmla="*/ 235267 h 268604"/>
                  <a:gd name="connsiteX221" fmla="*/ 63818 w 359871"/>
                  <a:gd name="connsiteY221" fmla="*/ 233363 h 268604"/>
                  <a:gd name="connsiteX222" fmla="*/ 64770 w 359871"/>
                  <a:gd name="connsiteY222" fmla="*/ 232410 h 268604"/>
                  <a:gd name="connsiteX223" fmla="*/ 67627 w 359871"/>
                  <a:gd name="connsiteY223" fmla="*/ 232410 h 268604"/>
                  <a:gd name="connsiteX224" fmla="*/ 58102 w 359871"/>
                  <a:gd name="connsiteY224" fmla="*/ 228600 h 268604"/>
                  <a:gd name="connsiteX225" fmla="*/ 58102 w 359871"/>
                  <a:gd name="connsiteY225" fmla="*/ 228600 h 268604"/>
                  <a:gd name="connsiteX226" fmla="*/ 52388 w 359871"/>
                  <a:gd name="connsiteY226" fmla="*/ 232410 h 268604"/>
                  <a:gd name="connsiteX227" fmla="*/ 45720 w 359871"/>
                  <a:gd name="connsiteY227" fmla="*/ 235267 h 268604"/>
                  <a:gd name="connsiteX228" fmla="*/ 45720 w 359871"/>
                  <a:gd name="connsiteY228" fmla="*/ 235267 h 268604"/>
                  <a:gd name="connsiteX229" fmla="*/ 44768 w 359871"/>
                  <a:gd name="connsiteY229" fmla="*/ 235267 h 268604"/>
                  <a:gd name="connsiteX230" fmla="*/ 40005 w 359871"/>
                  <a:gd name="connsiteY230" fmla="*/ 239078 h 268604"/>
                  <a:gd name="connsiteX231" fmla="*/ 39052 w 359871"/>
                  <a:gd name="connsiteY231" fmla="*/ 240030 h 268604"/>
                  <a:gd name="connsiteX232" fmla="*/ 39052 w 359871"/>
                  <a:gd name="connsiteY232" fmla="*/ 240030 h 268604"/>
                  <a:gd name="connsiteX233" fmla="*/ 39052 w 359871"/>
                  <a:gd name="connsiteY233" fmla="*/ 240030 h 268604"/>
                  <a:gd name="connsiteX234" fmla="*/ 38100 w 359871"/>
                  <a:gd name="connsiteY234" fmla="*/ 240983 h 268604"/>
                  <a:gd name="connsiteX235" fmla="*/ 38100 w 359871"/>
                  <a:gd name="connsiteY235" fmla="*/ 240983 h 268604"/>
                  <a:gd name="connsiteX236" fmla="*/ 38100 w 359871"/>
                  <a:gd name="connsiteY236" fmla="*/ 240983 h 268604"/>
                  <a:gd name="connsiteX237" fmla="*/ 37148 w 359871"/>
                  <a:gd name="connsiteY237" fmla="*/ 241935 h 268604"/>
                  <a:gd name="connsiteX238" fmla="*/ 36195 w 359871"/>
                  <a:gd name="connsiteY238" fmla="*/ 242888 h 268604"/>
                  <a:gd name="connsiteX239" fmla="*/ 35243 w 359871"/>
                  <a:gd name="connsiteY239" fmla="*/ 242888 h 268604"/>
                  <a:gd name="connsiteX240" fmla="*/ 35243 w 359871"/>
                  <a:gd name="connsiteY240" fmla="*/ 242888 h 268604"/>
                  <a:gd name="connsiteX241" fmla="*/ 34290 w 359871"/>
                  <a:gd name="connsiteY241" fmla="*/ 242888 h 268604"/>
                  <a:gd name="connsiteX242" fmla="*/ 33338 w 359871"/>
                  <a:gd name="connsiteY242" fmla="*/ 242888 h 268604"/>
                  <a:gd name="connsiteX243" fmla="*/ 33338 w 359871"/>
                  <a:gd name="connsiteY243" fmla="*/ 242888 h 268604"/>
                  <a:gd name="connsiteX244" fmla="*/ 33338 w 359871"/>
                  <a:gd name="connsiteY244" fmla="*/ 242888 h 268604"/>
                  <a:gd name="connsiteX245" fmla="*/ 31432 w 359871"/>
                  <a:gd name="connsiteY245" fmla="*/ 244792 h 268604"/>
                  <a:gd name="connsiteX246" fmla="*/ 28575 w 359871"/>
                  <a:gd name="connsiteY246" fmla="*/ 247650 h 268604"/>
                  <a:gd name="connsiteX247" fmla="*/ 28575 w 359871"/>
                  <a:gd name="connsiteY247" fmla="*/ 247650 h 268604"/>
                  <a:gd name="connsiteX248" fmla="*/ 28575 w 359871"/>
                  <a:gd name="connsiteY248" fmla="*/ 247650 h 268604"/>
                  <a:gd name="connsiteX249" fmla="*/ 28575 w 359871"/>
                  <a:gd name="connsiteY249" fmla="*/ 247650 h 268604"/>
                  <a:gd name="connsiteX250" fmla="*/ 28575 w 359871"/>
                  <a:gd name="connsiteY250" fmla="*/ 247650 h 268604"/>
                  <a:gd name="connsiteX251" fmla="*/ 28575 w 359871"/>
                  <a:gd name="connsiteY251" fmla="*/ 247650 h 268604"/>
                  <a:gd name="connsiteX252" fmla="*/ 28575 w 359871"/>
                  <a:gd name="connsiteY252" fmla="*/ 248603 h 268604"/>
                  <a:gd name="connsiteX253" fmla="*/ 28575 w 359871"/>
                  <a:gd name="connsiteY253" fmla="*/ 248603 h 268604"/>
                  <a:gd name="connsiteX254" fmla="*/ 28575 w 359871"/>
                  <a:gd name="connsiteY254" fmla="*/ 248603 h 268604"/>
                  <a:gd name="connsiteX255" fmla="*/ 28575 w 359871"/>
                  <a:gd name="connsiteY255" fmla="*/ 248603 h 268604"/>
                  <a:gd name="connsiteX256" fmla="*/ 28575 w 359871"/>
                  <a:gd name="connsiteY256" fmla="*/ 248603 h 268604"/>
                  <a:gd name="connsiteX257" fmla="*/ 28575 w 359871"/>
                  <a:gd name="connsiteY257" fmla="*/ 247650 h 268604"/>
                  <a:gd name="connsiteX258" fmla="*/ 28575 w 359871"/>
                  <a:gd name="connsiteY258" fmla="*/ 247650 h 268604"/>
                  <a:gd name="connsiteX259" fmla="*/ 28575 w 359871"/>
                  <a:gd name="connsiteY259" fmla="*/ 247650 h 268604"/>
                  <a:gd name="connsiteX260" fmla="*/ 30480 w 359871"/>
                  <a:gd name="connsiteY260" fmla="*/ 245745 h 268604"/>
                  <a:gd name="connsiteX261" fmla="*/ 30480 w 359871"/>
                  <a:gd name="connsiteY261" fmla="*/ 245745 h 268604"/>
                  <a:gd name="connsiteX262" fmla="*/ 31432 w 359871"/>
                  <a:gd name="connsiteY262" fmla="*/ 244792 h 268604"/>
                  <a:gd name="connsiteX263" fmla="*/ 32385 w 359871"/>
                  <a:gd name="connsiteY263" fmla="*/ 243840 h 268604"/>
                  <a:gd name="connsiteX264" fmla="*/ 32385 w 359871"/>
                  <a:gd name="connsiteY264" fmla="*/ 243840 h 268604"/>
                  <a:gd name="connsiteX265" fmla="*/ 34290 w 359871"/>
                  <a:gd name="connsiteY265" fmla="*/ 241935 h 268604"/>
                  <a:gd name="connsiteX266" fmla="*/ 34290 w 359871"/>
                  <a:gd name="connsiteY266" fmla="*/ 241935 h 268604"/>
                  <a:gd name="connsiteX267" fmla="*/ 34290 w 359871"/>
                  <a:gd name="connsiteY267" fmla="*/ 241935 h 268604"/>
                  <a:gd name="connsiteX268" fmla="*/ 35243 w 359871"/>
                  <a:gd name="connsiteY268" fmla="*/ 240983 h 268604"/>
                  <a:gd name="connsiteX269" fmla="*/ 36195 w 359871"/>
                  <a:gd name="connsiteY269" fmla="*/ 240030 h 268604"/>
                  <a:gd name="connsiteX270" fmla="*/ 36195 w 359871"/>
                  <a:gd name="connsiteY270" fmla="*/ 240030 h 268604"/>
                  <a:gd name="connsiteX271" fmla="*/ 36195 w 359871"/>
                  <a:gd name="connsiteY271" fmla="*/ 240030 h 268604"/>
                  <a:gd name="connsiteX272" fmla="*/ 36195 w 359871"/>
                  <a:gd name="connsiteY272" fmla="*/ 240030 h 268604"/>
                  <a:gd name="connsiteX273" fmla="*/ 37148 w 359871"/>
                  <a:gd name="connsiteY273" fmla="*/ 239078 h 268604"/>
                  <a:gd name="connsiteX274" fmla="*/ 37148 w 359871"/>
                  <a:gd name="connsiteY274" fmla="*/ 239078 h 268604"/>
                  <a:gd name="connsiteX275" fmla="*/ 37148 w 359871"/>
                  <a:gd name="connsiteY275" fmla="*/ 239078 h 268604"/>
                  <a:gd name="connsiteX276" fmla="*/ 37148 w 359871"/>
                  <a:gd name="connsiteY276" fmla="*/ 238125 h 268604"/>
                  <a:gd name="connsiteX277" fmla="*/ 37148 w 359871"/>
                  <a:gd name="connsiteY277" fmla="*/ 238125 h 268604"/>
                  <a:gd name="connsiteX278" fmla="*/ 37148 w 359871"/>
                  <a:gd name="connsiteY278" fmla="*/ 237173 h 268604"/>
                  <a:gd name="connsiteX279" fmla="*/ 37148 w 359871"/>
                  <a:gd name="connsiteY279" fmla="*/ 237173 h 268604"/>
                  <a:gd name="connsiteX280" fmla="*/ 39052 w 359871"/>
                  <a:gd name="connsiteY280" fmla="*/ 234315 h 268604"/>
                  <a:gd name="connsiteX281" fmla="*/ 39052 w 359871"/>
                  <a:gd name="connsiteY281" fmla="*/ 234315 h 268604"/>
                  <a:gd name="connsiteX282" fmla="*/ 37148 w 359871"/>
                  <a:gd name="connsiteY282" fmla="*/ 236220 h 268604"/>
                  <a:gd name="connsiteX283" fmla="*/ 36195 w 359871"/>
                  <a:gd name="connsiteY283" fmla="*/ 235267 h 268604"/>
                  <a:gd name="connsiteX284" fmla="*/ 37148 w 359871"/>
                  <a:gd name="connsiteY284" fmla="*/ 234315 h 268604"/>
                  <a:gd name="connsiteX285" fmla="*/ 37148 w 359871"/>
                  <a:gd name="connsiteY285" fmla="*/ 234315 h 268604"/>
                  <a:gd name="connsiteX286" fmla="*/ 40005 w 359871"/>
                  <a:gd name="connsiteY286" fmla="*/ 231458 h 268604"/>
                  <a:gd name="connsiteX287" fmla="*/ 41910 w 359871"/>
                  <a:gd name="connsiteY287" fmla="*/ 230505 h 268604"/>
                  <a:gd name="connsiteX288" fmla="*/ 41910 w 359871"/>
                  <a:gd name="connsiteY288" fmla="*/ 230505 h 268604"/>
                  <a:gd name="connsiteX289" fmla="*/ 42863 w 359871"/>
                  <a:gd name="connsiteY289" fmla="*/ 229553 h 268604"/>
                  <a:gd name="connsiteX290" fmla="*/ 42863 w 359871"/>
                  <a:gd name="connsiteY290" fmla="*/ 229553 h 268604"/>
                  <a:gd name="connsiteX291" fmla="*/ 62865 w 359871"/>
                  <a:gd name="connsiteY291" fmla="*/ 221933 h 268604"/>
                  <a:gd name="connsiteX292" fmla="*/ 71438 w 359871"/>
                  <a:gd name="connsiteY292" fmla="*/ 221933 h 268604"/>
                  <a:gd name="connsiteX293" fmla="*/ 76200 w 359871"/>
                  <a:gd name="connsiteY293" fmla="*/ 222885 h 268604"/>
                  <a:gd name="connsiteX294" fmla="*/ 58102 w 359871"/>
                  <a:gd name="connsiteY294" fmla="*/ 228600 h 268604"/>
                  <a:gd name="connsiteX295" fmla="*/ 68580 w 359871"/>
                  <a:gd name="connsiteY295" fmla="*/ 193358 h 268604"/>
                  <a:gd name="connsiteX296" fmla="*/ 70485 w 359871"/>
                  <a:gd name="connsiteY296" fmla="*/ 192405 h 268604"/>
                  <a:gd name="connsiteX297" fmla="*/ 66675 w 359871"/>
                  <a:gd name="connsiteY297" fmla="*/ 192405 h 268604"/>
                  <a:gd name="connsiteX298" fmla="*/ 65723 w 359871"/>
                  <a:gd name="connsiteY298" fmla="*/ 191453 h 268604"/>
                  <a:gd name="connsiteX299" fmla="*/ 57150 w 359871"/>
                  <a:gd name="connsiteY299" fmla="*/ 193358 h 268604"/>
                  <a:gd name="connsiteX300" fmla="*/ 46673 w 359871"/>
                  <a:gd name="connsiteY300" fmla="*/ 198120 h 268604"/>
                  <a:gd name="connsiteX301" fmla="*/ 30480 w 359871"/>
                  <a:gd name="connsiteY301" fmla="*/ 206692 h 268604"/>
                  <a:gd name="connsiteX302" fmla="*/ 29527 w 359871"/>
                  <a:gd name="connsiteY302" fmla="*/ 205740 h 268604"/>
                  <a:gd name="connsiteX303" fmla="*/ 33338 w 359871"/>
                  <a:gd name="connsiteY303" fmla="*/ 201930 h 268604"/>
                  <a:gd name="connsiteX304" fmla="*/ 32385 w 359871"/>
                  <a:gd name="connsiteY304" fmla="*/ 200978 h 268604"/>
                  <a:gd name="connsiteX305" fmla="*/ 47625 w 359871"/>
                  <a:gd name="connsiteY305" fmla="*/ 187642 h 268604"/>
                  <a:gd name="connsiteX306" fmla="*/ 47625 w 359871"/>
                  <a:gd name="connsiteY306" fmla="*/ 185738 h 268604"/>
                  <a:gd name="connsiteX307" fmla="*/ 52388 w 359871"/>
                  <a:gd name="connsiteY307" fmla="*/ 180023 h 268604"/>
                  <a:gd name="connsiteX308" fmla="*/ 57150 w 359871"/>
                  <a:gd name="connsiteY308" fmla="*/ 175260 h 268604"/>
                  <a:gd name="connsiteX309" fmla="*/ 55245 w 359871"/>
                  <a:gd name="connsiteY309" fmla="*/ 173355 h 268604"/>
                  <a:gd name="connsiteX310" fmla="*/ 49530 w 359871"/>
                  <a:gd name="connsiteY310" fmla="*/ 172403 h 268604"/>
                  <a:gd name="connsiteX311" fmla="*/ 52388 w 359871"/>
                  <a:gd name="connsiteY311" fmla="*/ 170498 h 268604"/>
                  <a:gd name="connsiteX312" fmla="*/ 51435 w 359871"/>
                  <a:gd name="connsiteY312" fmla="*/ 169545 h 268604"/>
                  <a:gd name="connsiteX313" fmla="*/ 54293 w 359871"/>
                  <a:gd name="connsiteY313" fmla="*/ 166688 h 268604"/>
                  <a:gd name="connsiteX314" fmla="*/ 60007 w 359871"/>
                  <a:gd name="connsiteY314" fmla="*/ 164783 h 268604"/>
                  <a:gd name="connsiteX315" fmla="*/ 48577 w 359871"/>
                  <a:gd name="connsiteY315" fmla="*/ 163830 h 268604"/>
                  <a:gd name="connsiteX316" fmla="*/ 60960 w 359871"/>
                  <a:gd name="connsiteY316" fmla="*/ 148590 h 268604"/>
                  <a:gd name="connsiteX317" fmla="*/ 62865 w 359871"/>
                  <a:gd name="connsiteY317" fmla="*/ 149542 h 268604"/>
                  <a:gd name="connsiteX318" fmla="*/ 59055 w 359871"/>
                  <a:gd name="connsiteY318" fmla="*/ 154305 h 268604"/>
                  <a:gd name="connsiteX319" fmla="*/ 71438 w 359871"/>
                  <a:gd name="connsiteY319" fmla="*/ 157163 h 268604"/>
                  <a:gd name="connsiteX320" fmla="*/ 69532 w 359871"/>
                  <a:gd name="connsiteY320" fmla="*/ 158115 h 268604"/>
                  <a:gd name="connsiteX321" fmla="*/ 78105 w 359871"/>
                  <a:gd name="connsiteY321" fmla="*/ 160973 h 268604"/>
                  <a:gd name="connsiteX322" fmla="*/ 73343 w 359871"/>
                  <a:gd name="connsiteY322" fmla="*/ 160973 h 268604"/>
                  <a:gd name="connsiteX323" fmla="*/ 119063 w 359871"/>
                  <a:gd name="connsiteY323" fmla="*/ 179070 h 268604"/>
                  <a:gd name="connsiteX324" fmla="*/ 83820 w 359871"/>
                  <a:gd name="connsiteY324" fmla="*/ 189548 h 268604"/>
                  <a:gd name="connsiteX325" fmla="*/ 80010 w 359871"/>
                  <a:gd name="connsiteY325" fmla="*/ 188595 h 268604"/>
                  <a:gd name="connsiteX326" fmla="*/ 79057 w 359871"/>
                  <a:gd name="connsiteY326" fmla="*/ 190500 h 268604"/>
                  <a:gd name="connsiteX327" fmla="*/ 74295 w 359871"/>
                  <a:gd name="connsiteY327" fmla="*/ 191453 h 268604"/>
                  <a:gd name="connsiteX328" fmla="*/ 68580 w 359871"/>
                  <a:gd name="connsiteY328" fmla="*/ 193358 h 26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359871" h="268604">
                    <a:moveTo>
                      <a:pt x="158115" y="237173"/>
                    </a:moveTo>
                    <a:cubicBezTo>
                      <a:pt x="160973" y="234315"/>
                      <a:pt x="163830" y="231458"/>
                      <a:pt x="166688" y="227648"/>
                    </a:cubicBezTo>
                    <a:lnTo>
                      <a:pt x="166688" y="227648"/>
                    </a:lnTo>
                    <a:cubicBezTo>
                      <a:pt x="172402" y="221933"/>
                      <a:pt x="177165" y="215265"/>
                      <a:pt x="183833" y="210503"/>
                    </a:cubicBezTo>
                    <a:cubicBezTo>
                      <a:pt x="185738" y="208598"/>
                      <a:pt x="187643" y="207645"/>
                      <a:pt x="189548" y="205740"/>
                    </a:cubicBezTo>
                    <a:cubicBezTo>
                      <a:pt x="190500" y="204788"/>
                      <a:pt x="190500" y="203835"/>
                      <a:pt x="190500" y="203835"/>
                    </a:cubicBezTo>
                    <a:cubicBezTo>
                      <a:pt x="187643" y="204788"/>
                      <a:pt x="186690" y="206692"/>
                      <a:pt x="183833" y="207645"/>
                    </a:cubicBezTo>
                    <a:cubicBezTo>
                      <a:pt x="182880" y="207645"/>
                      <a:pt x="182880" y="206692"/>
                      <a:pt x="182880" y="206692"/>
                    </a:cubicBezTo>
                    <a:cubicBezTo>
                      <a:pt x="184785" y="205740"/>
                      <a:pt x="186690" y="203835"/>
                      <a:pt x="188595" y="202883"/>
                    </a:cubicBezTo>
                    <a:cubicBezTo>
                      <a:pt x="188595" y="202883"/>
                      <a:pt x="188595" y="202883"/>
                      <a:pt x="188595" y="202883"/>
                    </a:cubicBezTo>
                    <a:cubicBezTo>
                      <a:pt x="187643" y="202883"/>
                      <a:pt x="187643" y="201930"/>
                      <a:pt x="187643" y="201930"/>
                    </a:cubicBezTo>
                    <a:cubicBezTo>
                      <a:pt x="180975" y="201930"/>
                      <a:pt x="176213" y="205740"/>
                      <a:pt x="171450" y="210503"/>
                    </a:cubicBezTo>
                    <a:cubicBezTo>
                      <a:pt x="170498" y="211455"/>
                      <a:pt x="169545" y="209550"/>
                      <a:pt x="168593" y="209550"/>
                    </a:cubicBezTo>
                    <a:cubicBezTo>
                      <a:pt x="160973" y="212408"/>
                      <a:pt x="155258" y="219075"/>
                      <a:pt x="147638" y="221933"/>
                    </a:cubicBezTo>
                    <a:lnTo>
                      <a:pt x="147638" y="220980"/>
                    </a:lnTo>
                    <a:cubicBezTo>
                      <a:pt x="144780" y="221933"/>
                      <a:pt x="141923" y="223838"/>
                      <a:pt x="138113" y="224790"/>
                    </a:cubicBezTo>
                    <a:cubicBezTo>
                      <a:pt x="133350" y="225742"/>
                      <a:pt x="129540" y="225742"/>
                      <a:pt x="125730" y="225742"/>
                    </a:cubicBezTo>
                    <a:cubicBezTo>
                      <a:pt x="120015" y="226695"/>
                      <a:pt x="113348" y="227648"/>
                      <a:pt x="107632" y="228600"/>
                    </a:cubicBezTo>
                    <a:cubicBezTo>
                      <a:pt x="107632" y="228600"/>
                      <a:pt x="107632" y="228600"/>
                      <a:pt x="106680" y="228600"/>
                    </a:cubicBezTo>
                    <a:cubicBezTo>
                      <a:pt x="103823" y="229553"/>
                      <a:pt x="100013" y="230505"/>
                      <a:pt x="97155" y="232410"/>
                    </a:cubicBezTo>
                    <a:cubicBezTo>
                      <a:pt x="97155" y="232410"/>
                      <a:pt x="97155" y="232410"/>
                      <a:pt x="97155" y="232410"/>
                    </a:cubicBezTo>
                    <a:cubicBezTo>
                      <a:pt x="97155" y="232410"/>
                      <a:pt x="96202" y="233363"/>
                      <a:pt x="96202" y="233363"/>
                    </a:cubicBezTo>
                    <a:cubicBezTo>
                      <a:pt x="95250" y="234315"/>
                      <a:pt x="94298" y="235267"/>
                      <a:pt x="92393" y="236220"/>
                    </a:cubicBezTo>
                    <a:cubicBezTo>
                      <a:pt x="89535" y="238125"/>
                      <a:pt x="86677" y="240983"/>
                      <a:pt x="83820" y="242888"/>
                    </a:cubicBezTo>
                    <a:cubicBezTo>
                      <a:pt x="83820" y="242888"/>
                      <a:pt x="82868" y="242888"/>
                      <a:pt x="82868" y="242888"/>
                    </a:cubicBezTo>
                    <a:cubicBezTo>
                      <a:pt x="80010" y="245745"/>
                      <a:pt x="77152" y="248603"/>
                      <a:pt x="74295" y="250508"/>
                    </a:cubicBezTo>
                    <a:cubicBezTo>
                      <a:pt x="74295" y="250508"/>
                      <a:pt x="73343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49555"/>
                    </a:cubicBezTo>
                    <a:cubicBezTo>
                      <a:pt x="72390" y="248603"/>
                      <a:pt x="73343" y="247650"/>
                      <a:pt x="73343" y="247650"/>
                    </a:cubicBezTo>
                    <a:cubicBezTo>
                      <a:pt x="74295" y="246698"/>
                      <a:pt x="74295" y="245745"/>
                      <a:pt x="75248" y="245745"/>
                    </a:cubicBezTo>
                    <a:cubicBezTo>
                      <a:pt x="76200" y="244792"/>
                      <a:pt x="76200" y="243840"/>
                      <a:pt x="77152" y="242888"/>
                    </a:cubicBezTo>
                    <a:cubicBezTo>
                      <a:pt x="77152" y="242888"/>
                      <a:pt x="77152" y="241935"/>
                      <a:pt x="77152" y="241935"/>
                    </a:cubicBezTo>
                    <a:cubicBezTo>
                      <a:pt x="77152" y="241935"/>
                      <a:pt x="77152" y="241935"/>
                      <a:pt x="76200" y="241935"/>
                    </a:cubicBezTo>
                    <a:cubicBezTo>
                      <a:pt x="79057" y="239078"/>
                      <a:pt x="81915" y="237173"/>
                      <a:pt x="84773" y="235267"/>
                    </a:cubicBezTo>
                    <a:lnTo>
                      <a:pt x="84773" y="235267"/>
                    </a:lnTo>
                    <a:cubicBezTo>
                      <a:pt x="84773" y="235267"/>
                      <a:pt x="83820" y="235267"/>
                      <a:pt x="83820" y="234315"/>
                    </a:cubicBezTo>
                    <a:cubicBezTo>
                      <a:pt x="83820" y="234315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5725" y="233363"/>
                      <a:pt x="84773" y="234315"/>
                      <a:pt x="84773" y="234315"/>
                    </a:cubicBezTo>
                    <a:cubicBezTo>
                      <a:pt x="83820" y="235267"/>
                      <a:pt x="82868" y="238125"/>
                      <a:pt x="80963" y="237173"/>
                    </a:cubicBezTo>
                    <a:cubicBezTo>
                      <a:pt x="80963" y="237173"/>
                      <a:pt x="80010" y="237173"/>
                      <a:pt x="80010" y="237173"/>
                    </a:cubicBezTo>
                    <a:cubicBezTo>
                      <a:pt x="80010" y="237173"/>
                      <a:pt x="80010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6220"/>
                    </a:cubicBezTo>
                    <a:cubicBezTo>
                      <a:pt x="79057" y="236220"/>
                      <a:pt x="79057" y="236220"/>
                      <a:pt x="79057" y="236220"/>
                    </a:cubicBezTo>
                    <a:cubicBezTo>
                      <a:pt x="79057" y="236220"/>
                      <a:pt x="79057" y="235267"/>
                      <a:pt x="80010" y="235267"/>
                    </a:cubicBezTo>
                    <a:cubicBezTo>
                      <a:pt x="80010" y="235267"/>
                      <a:pt x="80010" y="235267"/>
                      <a:pt x="80010" y="234315"/>
                    </a:cubicBezTo>
                    <a:cubicBezTo>
                      <a:pt x="80010" y="234315"/>
                      <a:pt x="80010" y="233363"/>
                      <a:pt x="80963" y="233363"/>
                    </a:cubicBezTo>
                    <a:cubicBezTo>
                      <a:pt x="80963" y="233363"/>
                      <a:pt x="80963" y="232410"/>
                      <a:pt x="80963" y="232410"/>
                    </a:cubicBezTo>
                    <a:cubicBezTo>
                      <a:pt x="81915" y="231458"/>
                      <a:pt x="82868" y="230505"/>
                      <a:pt x="84773" y="229553"/>
                    </a:cubicBezTo>
                    <a:lnTo>
                      <a:pt x="84773" y="229553"/>
                    </a:lnTo>
                    <a:cubicBezTo>
                      <a:pt x="86677" y="228600"/>
                      <a:pt x="88582" y="227648"/>
                      <a:pt x="90488" y="226695"/>
                    </a:cubicBezTo>
                    <a:cubicBezTo>
                      <a:pt x="90488" y="226695"/>
                      <a:pt x="91440" y="225742"/>
                      <a:pt x="91440" y="225742"/>
                    </a:cubicBezTo>
                    <a:cubicBezTo>
                      <a:pt x="88582" y="226695"/>
                      <a:pt x="85725" y="227648"/>
                      <a:pt x="82868" y="229553"/>
                    </a:cubicBezTo>
                    <a:cubicBezTo>
                      <a:pt x="82868" y="229553"/>
                      <a:pt x="81915" y="229553"/>
                      <a:pt x="81915" y="229553"/>
                    </a:cubicBezTo>
                    <a:cubicBezTo>
                      <a:pt x="81915" y="229553"/>
                      <a:pt x="80963" y="229553"/>
                      <a:pt x="80963" y="229553"/>
                    </a:cubicBezTo>
                    <a:cubicBezTo>
                      <a:pt x="80963" y="229553"/>
                      <a:pt x="80963" y="229553"/>
                      <a:pt x="80963" y="229553"/>
                    </a:cubicBezTo>
                    <a:cubicBezTo>
                      <a:pt x="81915" y="228600"/>
                      <a:pt x="82868" y="227648"/>
                      <a:pt x="83820" y="226695"/>
                    </a:cubicBezTo>
                    <a:cubicBezTo>
                      <a:pt x="84773" y="226695"/>
                      <a:pt x="84773" y="226695"/>
                      <a:pt x="84773" y="227648"/>
                    </a:cubicBezTo>
                    <a:cubicBezTo>
                      <a:pt x="100965" y="215265"/>
                      <a:pt x="123825" y="218123"/>
                      <a:pt x="142875" y="211455"/>
                    </a:cubicBezTo>
                    <a:cubicBezTo>
                      <a:pt x="144780" y="210503"/>
                      <a:pt x="145733" y="209550"/>
                      <a:pt x="147638" y="208598"/>
                    </a:cubicBezTo>
                    <a:cubicBezTo>
                      <a:pt x="150495" y="207645"/>
                      <a:pt x="152400" y="204788"/>
                      <a:pt x="155258" y="203835"/>
                    </a:cubicBezTo>
                    <a:cubicBezTo>
                      <a:pt x="159068" y="200978"/>
                      <a:pt x="161925" y="197167"/>
                      <a:pt x="163830" y="192405"/>
                    </a:cubicBezTo>
                    <a:cubicBezTo>
                      <a:pt x="163830" y="191453"/>
                      <a:pt x="162877" y="191453"/>
                      <a:pt x="162877" y="191453"/>
                    </a:cubicBezTo>
                    <a:cubicBezTo>
                      <a:pt x="156210" y="199073"/>
                      <a:pt x="148590" y="203835"/>
                      <a:pt x="140018" y="208598"/>
                    </a:cubicBezTo>
                    <a:cubicBezTo>
                      <a:pt x="129540" y="214313"/>
                      <a:pt x="117157" y="213360"/>
                      <a:pt x="106680" y="214313"/>
                    </a:cubicBezTo>
                    <a:cubicBezTo>
                      <a:pt x="107632" y="213360"/>
                      <a:pt x="108585" y="213360"/>
                      <a:pt x="109538" y="213360"/>
                    </a:cubicBezTo>
                    <a:cubicBezTo>
                      <a:pt x="109538" y="211455"/>
                      <a:pt x="110490" y="211455"/>
                      <a:pt x="111443" y="210503"/>
                    </a:cubicBezTo>
                    <a:lnTo>
                      <a:pt x="113348" y="210503"/>
                    </a:lnTo>
                    <a:cubicBezTo>
                      <a:pt x="114300" y="210503"/>
                      <a:pt x="114300" y="209550"/>
                      <a:pt x="114300" y="209550"/>
                    </a:cubicBezTo>
                    <a:cubicBezTo>
                      <a:pt x="115252" y="209550"/>
                      <a:pt x="117157" y="208598"/>
                      <a:pt x="116205" y="208598"/>
                    </a:cubicBezTo>
                    <a:cubicBezTo>
                      <a:pt x="114300" y="206692"/>
                      <a:pt x="111443" y="210503"/>
                      <a:pt x="108585" y="208598"/>
                    </a:cubicBezTo>
                    <a:cubicBezTo>
                      <a:pt x="109538" y="207645"/>
                      <a:pt x="109538" y="205740"/>
                      <a:pt x="110490" y="205740"/>
                    </a:cubicBezTo>
                    <a:lnTo>
                      <a:pt x="112395" y="205740"/>
                    </a:lnTo>
                    <a:cubicBezTo>
                      <a:pt x="112395" y="204788"/>
                      <a:pt x="113348" y="203835"/>
                      <a:pt x="113348" y="203835"/>
                    </a:cubicBezTo>
                    <a:cubicBezTo>
                      <a:pt x="120968" y="199073"/>
                      <a:pt x="128588" y="195263"/>
                      <a:pt x="135255" y="191453"/>
                    </a:cubicBezTo>
                    <a:cubicBezTo>
                      <a:pt x="133350" y="191453"/>
                      <a:pt x="132398" y="193358"/>
                      <a:pt x="131445" y="192405"/>
                    </a:cubicBezTo>
                    <a:cubicBezTo>
                      <a:pt x="132398" y="192405"/>
                      <a:pt x="131445" y="190500"/>
                      <a:pt x="132398" y="190500"/>
                    </a:cubicBezTo>
                    <a:cubicBezTo>
                      <a:pt x="138113" y="188595"/>
                      <a:pt x="142875" y="185738"/>
                      <a:pt x="148590" y="183833"/>
                    </a:cubicBezTo>
                    <a:cubicBezTo>
                      <a:pt x="146685" y="183833"/>
                      <a:pt x="144780" y="185738"/>
                      <a:pt x="142875" y="183833"/>
                    </a:cubicBezTo>
                    <a:cubicBezTo>
                      <a:pt x="143827" y="182880"/>
                      <a:pt x="144780" y="181928"/>
                      <a:pt x="145733" y="181928"/>
                    </a:cubicBezTo>
                    <a:lnTo>
                      <a:pt x="145733" y="180023"/>
                    </a:lnTo>
                    <a:cubicBezTo>
                      <a:pt x="145733" y="179070"/>
                      <a:pt x="146685" y="179070"/>
                      <a:pt x="146685" y="179070"/>
                    </a:cubicBezTo>
                    <a:cubicBezTo>
                      <a:pt x="145733" y="179070"/>
                      <a:pt x="145733" y="178117"/>
                      <a:pt x="145733" y="178117"/>
                    </a:cubicBezTo>
                    <a:cubicBezTo>
                      <a:pt x="146685" y="177165"/>
                      <a:pt x="147638" y="177165"/>
                      <a:pt x="148590" y="176213"/>
                    </a:cubicBezTo>
                    <a:cubicBezTo>
                      <a:pt x="147638" y="176213"/>
                      <a:pt x="146685" y="176213"/>
                      <a:pt x="146685" y="175260"/>
                    </a:cubicBezTo>
                    <a:cubicBezTo>
                      <a:pt x="148590" y="173355"/>
                      <a:pt x="150495" y="172403"/>
                      <a:pt x="153352" y="172403"/>
                    </a:cubicBezTo>
                    <a:cubicBezTo>
                      <a:pt x="152400" y="171450"/>
                      <a:pt x="151448" y="172403"/>
                      <a:pt x="151448" y="171450"/>
                    </a:cubicBezTo>
                    <a:cubicBezTo>
                      <a:pt x="151448" y="170498"/>
                      <a:pt x="152400" y="170498"/>
                      <a:pt x="152400" y="170498"/>
                    </a:cubicBezTo>
                    <a:lnTo>
                      <a:pt x="152400" y="170498"/>
                    </a:lnTo>
                    <a:cubicBezTo>
                      <a:pt x="151448" y="169545"/>
                      <a:pt x="151448" y="168592"/>
                      <a:pt x="151448" y="168592"/>
                    </a:cubicBezTo>
                    <a:cubicBezTo>
                      <a:pt x="154305" y="164783"/>
                      <a:pt x="154305" y="160020"/>
                      <a:pt x="156210" y="156210"/>
                    </a:cubicBezTo>
                    <a:cubicBezTo>
                      <a:pt x="155258" y="156210"/>
                      <a:pt x="155258" y="156210"/>
                      <a:pt x="155258" y="155258"/>
                    </a:cubicBezTo>
                    <a:cubicBezTo>
                      <a:pt x="150495" y="160973"/>
                      <a:pt x="141923" y="162878"/>
                      <a:pt x="134302" y="164783"/>
                    </a:cubicBezTo>
                    <a:lnTo>
                      <a:pt x="131445" y="164783"/>
                    </a:lnTo>
                    <a:cubicBezTo>
                      <a:pt x="128588" y="165735"/>
                      <a:pt x="125730" y="165735"/>
                      <a:pt x="122873" y="163830"/>
                    </a:cubicBezTo>
                    <a:cubicBezTo>
                      <a:pt x="120968" y="162878"/>
                      <a:pt x="120015" y="160973"/>
                      <a:pt x="118110" y="160020"/>
                    </a:cubicBezTo>
                    <a:cubicBezTo>
                      <a:pt x="114300" y="157163"/>
                      <a:pt x="109538" y="155258"/>
                      <a:pt x="105727" y="154305"/>
                    </a:cubicBezTo>
                    <a:cubicBezTo>
                      <a:pt x="93345" y="150495"/>
                      <a:pt x="80010" y="148590"/>
                      <a:pt x="66675" y="148590"/>
                    </a:cubicBezTo>
                    <a:cubicBezTo>
                      <a:pt x="72390" y="145733"/>
                      <a:pt x="78105" y="145733"/>
                      <a:pt x="84773" y="143828"/>
                    </a:cubicBezTo>
                    <a:cubicBezTo>
                      <a:pt x="93345" y="140970"/>
                      <a:pt x="101918" y="138113"/>
                      <a:pt x="110490" y="139065"/>
                    </a:cubicBezTo>
                    <a:cubicBezTo>
                      <a:pt x="108585" y="138113"/>
                      <a:pt x="106680" y="139065"/>
                      <a:pt x="105727" y="139065"/>
                    </a:cubicBezTo>
                    <a:cubicBezTo>
                      <a:pt x="98107" y="138113"/>
                      <a:pt x="91440" y="140970"/>
                      <a:pt x="83820" y="141923"/>
                    </a:cubicBezTo>
                    <a:cubicBezTo>
                      <a:pt x="79057" y="142875"/>
                      <a:pt x="74295" y="144780"/>
                      <a:pt x="68580" y="145733"/>
                    </a:cubicBezTo>
                    <a:cubicBezTo>
                      <a:pt x="65723" y="146685"/>
                      <a:pt x="63818" y="149542"/>
                      <a:pt x="60007" y="149542"/>
                    </a:cubicBezTo>
                    <a:lnTo>
                      <a:pt x="60007" y="147638"/>
                    </a:lnTo>
                    <a:cubicBezTo>
                      <a:pt x="64770" y="141923"/>
                      <a:pt x="71438" y="135255"/>
                      <a:pt x="79057" y="135255"/>
                    </a:cubicBezTo>
                    <a:cubicBezTo>
                      <a:pt x="88582" y="133350"/>
                      <a:pt x="97155" y="135255"/>
                      <a:pt x="105727" y="136208"/>
                    </a:cubicBezTo>
                    <a:cubicBezTo>
                      <a:pt x="112395" y="137160"/>
                      <a:pt x="118110" y="138113"/>
                      <a:pt x="124777" y="140017"/>
                    </a:cubicBezTo>
                    <a:cubicBezTo>
                      <a:pt x="127635" y="140017"/>
                      <a:pt x="127635" y="143828"/>
                      <a:pt x="129540" y="144780"/>
                    </a:cubicBezTo>
                    <a:cubicBezTo>
                      <a:pt x="132398" y="145733"/>
                      <a:pt x="135255" y="144780"/>
                      <a:pt x="139065" y="146685"/>
                    </a:cubicBezTo>
                    <a:cubicBezTo>
                      <a:pt x="139065" y="145733"/>
                      <a:pt x="138113" y="144780"/>
                      <a:pt x="139065" y="143828"/>
                    </a:cubicBezTo>
                    <a:cubicBezTo>
                      <a:pt x="140970" y="141923"/>
                      <a:pt x="143827" y="144780"/>
                      <a:pt x="145733" y="142875"/>
                    </a:cubicBezTo>
                    <a:cubicBezTo>
                      <a:pt x="149543" y="140017"/>
                      <a:pt x="141923" y="136208"/>
                      <a:pt x="140018" y="132398"/>
                    </a:cubicBezTo>
                    <a:cubicBezTo>
                      <a:pt x="140018" y="131445"/>
                      <a:pt x="140970" y="131445"/>
                      <a:pt x="140970" y="131445"/>
                    </a:cubicBezTo>
                    <a:cubicBezTo>
                      <a:pt x="144780" y="135255"/>
                      <a:pt x="147638" y="139065"/>
                      <a:pt x="153352" y="141923"/>
                    </a:cubicBezTo>
                    <a:cubicBezTo>
                      <a:pt x="156210" y="142875"/>
                      <a:pt x="161925" y="144780"/>
                      <a:pt x="160973" y="140970"/>
                    </a:cubicBezTo>
                    <a:cubicBezTo>
                      <a:pt x="158115" y="135255"/>
                      <a:pt x="153352" y="130492"/>
                      <a:pt x="149543" y="125730"/>
                    </a:cubicBezTo>
                    <a:lnTo>
                      <a:pt x="149543" y="123825"/>
                    </a:lnTo>
                    <a:cubicBezTo>
                      <a:pt x="148590" y="123825"/>
                      <a:pt x="148590" y="122873"/>
                      <a:pt x="147638" y="122873"/>
                    </a:cubicBezTo>
                    <a:lnTo>
                      <a:pt x="147638" y="120015"/>
                    </a:lnTo>
                    <a:cubicBezTo>
                      <a:pt x="145733" y="119063"/>
                      <a:pt x="145733" y="117158"/>
                      <a:pt x="144780" y="115253"/>
                    </a:cubicBezTo>
                    <a:cubicBezTo>
                      <a:pt x="142875" y="112395"/>
                      <a:pt x="143827" y="109538"/>
                      <a:pt x="142875" y="105728"/>
                    </a:cubicBezTo>
                    <a:cubicBezTo>
                      <a:pt x="142875" y="103823"/>
                      <a:pt x="142875" y="100965"/>
                      <a:pt x="141923" y="98108"/>
                    </a:cubicBezTo>
                    <a:cubicBezTo>
                      <a:pt x="140018" y="89535"/>
                      <a:pt x="138113" y="81915"/>
                      <a:pt x="137160" y="73342"/>
                    </a:cubicBezTo>
                    <a:cubicBezTo>
                      <a:pt x="136208" y="63817"/>
                      <a:pt x="142875" y="56197"/>
                      <a:pt x="147638" y="47625"/>
                    </a:cubicBezTo>
                    <a:cubicBezTo>
                      <a:pt x="151448" y="41910"/>
                      <a:pt x="155258" y="35242"/>
                      <a:pt x="161925" y="31433"/>
                    </a:cubicBezTo>
                    <a:cubicBezTo>
                      <a:pt x="163830" y="25718"/>
                      <a:pt x="167640" y="20003"/>
                      <a:pt x="171450" y="15240"/>
                    </a:cubicBezTo>
                    <a:cubicBezTo>
                      <a:pt x="175260" y="10478"/>
                      <a:pt x="181927" y="7620"/>
                      <a:pt x="187643" y="4763"/>
                    </a:cubicBezTo>
                    <a:cubicBezTo>
                      <a:pt x="194310" y="1905"/>
                      <a:pt x="200977" y="0"/>
                      <a:pt x="200977" y="0"/>
                    </a:cubicBezTo>
                    <a:lnTo>
                      <a:pt x="302895" y="0"/>
                    </a:lnTo>
                    <a:cubicBezTo>
                      <a:pt x="302895" y="0"/>
                      <a:pt x="303848" y="0"/>
                      <a:pt x="305753" y="953"/>
                    </a:cubicBezTo>
                    <a:cubicBezTo>
                      <a:pt x="307658" y="1905"/>
                      <a:pt x="311467" y="3810"/>
                      <a:pt x="313373" y="4763"/>
                    </a:cubicBezTo>
                    <a:cubicBezTo>
                      <a:pt x="317183" y="6668"/>
                      <a:pt x="320992" y="9525"/>
                      <a:pt x="322898" y="13335"/>
                    </a:cubicBezTo>
                    <a:cubicBezTo>
                      <a:pt x="323850" y="15240"/>
                      <a:pt x="325755" y="18097"/>
                      <a:pt x="324803" y="20003"/>
                    </a:cubicBezTo>
                    <a:cubicBezTo>
                      <a:pt x="323850" y="22860"/>
                      <a:pt x="322898" y="26670"/>
                      <a:pt x="320992" y="27622"/>
                    </a:cubicBezTo>
                    <a:cubicBezTo>
                      <a:pt x="318135" y="29528"/>
                      <a:pt x="314325" y="29528"/>
                      <a:pt x="310515" y="28575"/>
                    </a:cubicBezTo>
                    <a:cubicBezTo>
                      <a:pt x="308610" y="28575"/>
                      <a:pt x="306705" y="27622"/>
                      <a:pt x="304800" y="27622"/>
                    </a:cubicBezTo>
                    <a:cubicBezTo>
                      <a:pt x="312420" y="30480"/>
                      <a:pt x="320040" y="34290"/>
                      <a:pt x="324803" y="40958"/>
                    </a:cubicBezTo>
                    <a:cubicBezTo>
                      <a:pt x="325755" y="41910"/>
                      <a:pt x="327660" y="42863"/>
                      <a:pt x="329565" y="42863"/>
                    </a:cubicBezTo>
                    <a:cubicBezTo>
                      <a:pt x="330517" y="42863"/>
                      <a:pt x="330517" y="43815"/>
                      <a:pt x="330517" y="44767"/>
                    </a:cubicBezTo>
                    <a:cubicBezTo>
                      <a:pt x="329565" y="45720"/>
                      <a:pt x="328613" y="46672"/>
                      <a:pt x="328613" y="47625"/>
                    </a:cubicBezTo>
                    <a:lnTo>
                      <a:pt x="330517" y="47625"/>
                    </a:lnTo>
                    <a:cubicBezTo>
                      <a:pt x="333375" y="46672"/>
                      <a:pt x="332423" y="41910"/>
                      <a:pt x="336233" y="42863"/>
                    </a:cubicBezTo>
                    <a:cubicBezTo>
                      <a:pt x="339090" y="44767"/>
                      <a:pt x="340042" y="47625"/>
                      <a:pt x="338138" y="50483"/>
                    </a:cubicBezTo>
                    <a:cubicBezTo>
                      <a:pt x="336233" y="52388"/>
                      <a:pt x="334328" y="54292"/>
                      <a:pt x="332423" y="55245"/>
                    </a:cubicBezTo>
                    <a:cubicBezTo>
                      <a:pt x="331470" y="56197"/>
                      <a:pt x="331470" y="58103"/>
                      <a:pt x="332423" y="59055"/>
                    </a:cubicBezTo>
                    <a:cubicBezTo>
                      <a:pt x="334328" y="60960"/>
                      <a:pt x="334328" y="62865"/>
                      <a:pt x="335280" y="64770"/>
                    </a:cubicBezTo>
                    <a:cubicBezTo>
                      <a:pt x="337185" y="68580"/>
                      <a:pt x="337185" y="72390"/>
                      <a:pt x="339090" y="76200"/>
                    </a:cubicBezTo>
                    <a:cubicBezTo>
                      <a:pt x="340995" y="83820"/>
                      <a:pt x="342900" y="91440"/>
                      <a:pt x="342900" y="99060"/>
                    </a:cubicBezTo>
                    <a:cubicBezTo>
                      <a:pt x="342900" y="102870"/>
                      <a:pt x="340995" y="106680"/>
                      <a:pt x="341948" y="110490"/>
                    </a:cubicBezTo>
                    <a:cubicBezTo>
                      <a:pt x="342900" y="114300"/>
                      <a:pt x="345758" y="118110"/>
                      <a:pt x="347663" y="120967"/>
                    </a:cubicBezTo>
                    <a:cubicBezTo>
                      <a:pt x="349567" y="123825"/>
                      <a:pt x="351473" y="125730"/>
                      <a:pt x="353378" y="129540"/>
                    </a:cubicBezTo>
                    <a:cubicBezTo>
                      <a:pt x="356235" y="134303"/>
                      <a:pt x="361950" y="140017"/>
                      <a:pt x="359092" y="145733"/>
                    </a:cubicBezTo>
                    <a:cubicBezTo>
                      <a:pt x="357188" y="149542"/>
                      <a:pt x="351473" y="148590"/>
                      <a:pt x="348615" y="150495"/>
                    </a:cubicBezTo>
                    <a:cubicBezTo>
                      <a:pt x="345758" y="153353"/>
                      <a:pt x="347663" y="157163"/>
                      <a:pt x="349567" y="160020"/>
                    </a:cubicBezTo>
                    <a:cubicBezTo>
                      <a:pt x="352425" y="164783"/>
                      <a:pt x="346710" y="167640"/>
                      <a:pt x="342900" y="169545"/>
                    </a:cubicBezTo>
                    <a:cubicBezTo>
                      <a:pt x="343853" y="171450"/>
                      <a:pt x="345758" y="170498"/>
                      <a:pt x="346710" y="171450"/>
                    </a:cubicBezTo>
                    <a:cubicBezTo>
                      <a:pt x="347663" y="174308"/>
                      <a:pt x="349567" y="175260"/>
                      <a:pt x="348615" y="178117"/>
                    </a:cubicBezTo>
                    <a:cubicBezTo>
                      <a:pt x="346710" y="180975"/>
                      <a:pt x="340042" y="182880"/>
                      <a:pt x="343853" y="187642"/>
                    </a:cubicBezTo>
                    <a:cubicBezTo>
                      <a:pt x="345758" y="191453"/>
                      <a:pt x="344805" y="195263"/>
                      <a:pt x="342900" y="199073"/>
                    </a:cubicBezTo>
                    <a:cubicBezTo>
                      <a:pt x="340995" y="203835"/>
                      <a:pt x="337185" y="205740"/>
                      <a:pt x="333375" y="206692"/>
                    </a:cubicBezTo>
                    <a:cubicBezTo>
                      <a:pt x="330517" y="207645"/>
                      <a:pt x="326708" y="207645"/>
                      <a:pt x="323850" y="207645"/>
                    </a:cubicBezTo>
                    <a:cubicBezTo>
                      <a:pt x="320040" y="205740"/>
                      <a:pt x="319088" y="205740"/>
                      <a:pt x="318135" y="205740"/>
                    </a:cubicBezTo>
                    <a:cubicBezTo>
                      <a:pt x="309563" y="204788"/>
                      <a:pt x="300990" y="201930"/>
                      <a:pt x="292417" y="201930"/>
                    </a:cubicBezTo>
                    <a:cubicBezTo>
                      <a:pt x="289560" y="202883"/>
                      <a:pt x="287655" y="202883"/>
                      <a:pt x="285750" y="203835"/>
                    </a:cubicBezTo>
                    <a:cubicBezTo>
                      <a:pt x="283845" y="205740"/>
                      <a:pt x="280988" y="207645"/>
                      <a:pt x="280035" y="209550"/>
                    </a:cubicBezTo>
                    <a:cubicBezTo>
                      <a:pt x="280035" y="209550"/>
                      <a:pt x="280035" y="209550"/>
                      <a:pt x="280035" y="209550"/>
                    </a:cubicBezTo>
                    <a:cubicBezTo>
                      <a:pt x="280035" y="209550"/>
                      <a:pt x="279083" y="210503"/>
                      <a:pt x="279083" y="210503"/>
                    </a:cubicBezTo>
                    <a:cubicBezTo>
                      <a:pt x="279083" y="210503"/>
                      <a:pt x="279083" y="211455"/>
                      <a:pt x="278130" y="211455"/>
                    </a:cubicBezTo>
                    <a:cubicBezTo>
                      <a:pt x="278130" y="211455"/>
                      <a:pt x="278130" y="211455"/>
                      <a:pt x="278130" y="212408"/>
                    </a:cubicBezTo>
                    <a:cubicBezTo>
                      <a:pt x="276225" y="214313"/>
                      <a:pt x="275273" y="216217"/>
                      <a:pt x="274320" y="218123"/>
                    </a:cubicBezTo>
                    <a:cubicBezTo>
                      <a:pt x="274320" y="218123"/>
                      <a:pt x="274320" y="218123"/>
                      <a:pt x="274320" y="218123"/>
                    </a:cubicBezTo>
                    <a:cubicBezTo>
                      <a:pt x="274320" y="218123"/>
                      <a:pt x="274320" y="219075"/>
                      <a:pt x="274320" y="219075"/>
                    </a:cubicBezTo>
                    <a:cubicBezTo>
                      <a:pt x="272415" y="221933"/>
                      <a:pt x="271463" y="225742"/>
                      <a:pt x="270510" y="228600"/>
                    </a:cubicBezTo>
                    <a:cubicBezTo>
                      <a:pt x="266700" y="240030"/>
                      <a:pt x="268605" y="250508"/>
                      <a:pt x="271463" y="252413"/>
                    </a:cubicBezTo>
                    <a:cubicBezTo>
                      <a:pt x="272415" y="253365"/>
                      <a:pt x="288608" y="258128"/>
                      <a:pt x="299085" y="262890"/>
                    </a:cubicBezTo>
                    <a:cubicBezTo>
                      <a:pt x="304800" y="264795"/>
                      <a:pt x="307658" y="266700"/>
                      <a:pt x="311467" y="268605"/>
                    </a:cubicBezTo>
                    <a:lnTo>
                      <a:pt x="101918" y="268605"/>
                    </a:lnTo>
                    <a:cubicBezTo>
                      <a:pt x="111443" y="261938"/>
                      <a:pt x="120968" y="258128"/>
                      <a:pt x="135255" y="251460"/>
                    </a:cubicBezTo>
                    <a:cubicBezTo>
                      <a:pt x="138113" y="249555"/>
                      <a:pt x="153352" y="242888"/>
                      <a:pt x="158115" y="237173"/>
                    </a:cubicBezTo>
                    <a:moveTo>
                      <a:pt x="79057" y="200978"/>
                    </a:moveTo>
                    <a:cubicBezTo>
                      <a:pt x="78105" y="200978"/>
                      <a:pt x="76200" y="201930"/>
                      <a:pt x="76200" y="200025"/>
                    </a:cubicBezTo>
                    <a:cubicBezTo>
                      <a:pt x="77152" y="197167"/>
                      <a:pt x="80010" y="197167"/>
                      <a:pt x="81915" y="196215"/>
                    </a:cubicBezTo>
                    <a:cubicBezTo>
                      <a:pt x="82868" y="195263"/>
                      <a:pt x="84773" y="194310"/>
                      <a:pt x="85725" y="195263"/>
                    </a:cubicBezTo>
                    <a:cubicBezTo>
                      <a:pt x="86677" y="197167"/>
                      <a:pt x="88582" y="196215"/>
                      <a:pt x="89535" y="197167"/>
                    </a:cubicBezTo>
                    <a:cubicBezTo>
                      <a:pt x="86677" y="200978"/>
                      <a:pt x="82868" y="200025"/>
                      <a:pt x="79057" y="200978"/>
                    </a:cubicBezTo>
                    <a:moveTo>
                      <a:pt x="952" y="189548"/>
                    </a:moveTo>
                    <a:cubicBezTo>
                      <a:pt x="952" y="189548"/>
                      <a:pt x="0" y="188595"/>
                      <a:pt x="0" y="188595"/>
                    </a:cubicBezTo>
                    <a:cubicBezTo>
                      <a:pt x="6668" y="180023"/>
                      <a:pt x="11430" y="171450"/>
                      <a:pt x="16193" y="162878"/>
                    </a:cubicBezTo>
                    <a:cubicBezTo>
                      <a:pt x="22860" y="159067"/>
                      <a:pt x="28575" y="154305"/>
                      <a:pt x="33338" y="148590"/>
                    </a:cubicBezTo>
                    <a:cubicBezTo>
                      <a:pt x="41910" y="139065"/>
                      <a:pt x="51435" y="131445"/>
                      <a:pt x="61913" y="125730"/>
                    </a:cubicBezTo>
                    <a:cubicBezTo>
                      <a:pt x="65723" y="123825"/>
                      <a:pt x="71438" y="124778"/>
                      <a:pt x="75248" y="126683"/>
                    </a:cubicBezTo>
                    <a:cubicBezTo>
                      <a:pt x="73343" y="128588"/>
                      <a:pt x="71438" y="128588"/>
                      <a:pt x="69532" y="129540"/>
                    </a:cubicBezTo>
                    <a:cubicBezTo>
                      <a:pt x="68580" y="129540"/>
                      <a:pt x="68580" y="129540"/>
                      <a:pt x="67627" y="128588"/>
                    </a:cubicBezTo>
                    <a:cubicBezTo>
                      <a:pt x="68580" y="127635"/>
                      <a:pt x="68580" y="127635"/>
                      <a:pt x="68580" y="126683"/>
                    </a:cubicBezTo>
                    <a:cubicBezTo>
                      <a:pt x="63818" y="132398"/>
                      <a:pt x="56198" y="135255"/>
                      <a:pt x="52388" y="141923"/>
                    </a:cubicBezTo>
                    <a:cubicBezTo>
                      <a:pt x="49530" y="146685"/>
                      <a:pt x="47625" y="153353"/>
                      <a:pt x="40957" y="155258"/>
                    </a:cubicBezTo>
                    <a:cubicBezTo>
                      <a:pt x="39052" y="156210"/>
                      <a:pt x="41910" y="153353"/>
                      <a:pt x="40005" y="154305"/>
                    </a:cubicBezTo>
                    <a:cubicBezTo>
                      <a:pt x="24765" y="164783"/>
                      <a:pt x="13335" y="176213"/>
                      <a:pt x="952" y="189548"/>
                    </a:cubicBezTo>
                    <a:moveTo>
                      <a:pt x="43815" y="156210"/>
                    </a:moveTo>
                    <a:cubicBezTo>
                      <a:pt x="42863" y="157163"/>
                      <a:pt x="42863" y="157163"/>
                      <a:pt x="41910" y="158115"/>
                    </a:cubicBezTo>
                    <a:cubicBezTo>
                      <a:pt x="40957" y="159067"/>
                      <a:pt x="40957" y="160020"/>
                      <a:pt x="40005" y="160020"/>
                    </a:cubicBezTo>
                    <a:cubicBezTo>
                      <a:pt x="39052" y="160020"/>
                      <a:pt x="39052" y="160020"/>
                      <a:pt x="39052" y="159067"/>
                    </a:cubicBezTo>
                    <a:cubicBezTo>
                      <a:pt x="40005" y="157163"/>
                      <a:pt x="40957" y="155258"/>
                      <a:pt x="42863" y="154305"/>
                    </a:cubicBezTo>
                    <a:cubicBezTo>
                      <a:pt x="43815" y="155258"/>
                      <a:pt x="43815" y="155258"/>
                      <a:pt x="43815" y="156210"/>
                    </a:cubicBezTo>
                    <a:moveTo>
                      <a:pt x="67627" y="232410"/>
                    </a:moveTo>
                    <a:cubicBezTo>
                      <a:pt x="67627" y="233363"/>
                      <a:pt x="66675" y="233363"/>
                      <a:pt x="66675" y="234315"/>
                    </a:cubicBezTo>
                    <a:cubicBezTo>
                      <a:pt x="67627" y="234315"/>
                      <a:pt x="67627" y="234315"/>
                      <a:pt x="67627" y="235267"/>
                    </a:cubicBezTo>
                    <a:cubicBezTo>
                      <a:pt x="66675" y="236220"/>
                      <a:pt x="65723" y="237173"/>
                      <a:pt x="63818" y="238125"/>
                    </a:cubicBezTo>
                    <a:cubicBezTo>
                      <a:pt x="63818" y="238125"/>
                      <a:pt x="63818" y="238125"/>
                      <a:pt x="62865" y="238125"/>
                    </a:cubicBezTo>
                    <a:cubicBezTo>
                      <a:pt x="61913" y="239078"/>
                      <a:pt x="61913" y="239078"/>
                      <a:pt x="60960" y="240030"/>
                    </a:cubicBezTo>
                    <a:cubicBezTo>
                      <a:pt x="60007" y="240983"/>
                      <a:pt x="57150" y="240030"/>
                      <a:pt x="58102" y="239078"/>
                    </a:cubicBezTo>
                    <a:cubicBezTo>
                      <a:pt x="59055" y="238125"/>
                      <a:pt x="60960" y="236220"/>
                      <a:pt x="61913" y="235267"/>
                    </a:cubicBezTo>
                    <a:cubicBezTo>
                      <a:pt x="62865" y="234315"/>
                      <a:pt x="63818" y="234315"/>
                      <a:pt x="63818" y="233363"/>
                    </a:cubicBezTo>
                    <a:cubicBezTo>
                      <a:pt x="63818" y="233363"/>
                      <a:pt x="64770" y="232410"/>
                      <a:pt x="64770" y="232410"/>
                    </a:cubicBezTo>
                    <a:cubicBezTo>
                      <a:pt x="64770" y="231458"/>
                      <a:pt x="67627" y="231458"/>
                      <a:pt x="67627" y="232410"/>
                    </a:cubicBezTo>
                    <a:moveTo>
                      <a:pt x="58102" y="228600"/>
                    </a:moveTo>
                    <a:cubicBezTo>
                      <a:pt x="58102" y="228600"/>
                      <a:pt x="58102" y="228600"/>
                      <a:pt x="58102" y="228600"/>
                    </a:cubicBezTo>
                    <a:cubicBezTo>
                      <a:pt x="56198" y="230505"/>
                      <a:pt x="54293" y="231458"/>
                      <a:pt x="52388" y="232410"/>
                    </a:cubicBezTo>
                    <a:cubicBezTo>
                      <a:pt x="50482" y="233363"/>
                      <a:pt x="47625" y="234315"/>
                      <a:pt x="45720" y="235267"/>
                    </a:cubicBezTo>
                    <a:cubicBezTo>
                      <a:pt x="45720" y="235267"/>
                      <a:pt x="45720" y="235267"/>
                      <a:pt x="45720" y="235267"/>
                    </a:cubicBezTo>
                    <a:cubicBezTo>
                      <a:pt x="45720" y="235267"/>
                      <a:pt x="44768" y="235267"/>
                      <a:pt x="44768" y="235267"/>
                    </a:cubicBezTo>
                    <a:cubicBezTo>
                      <a:pt x="42863" y="236220"/>
                      <a:pt x="40957" y="238125"/>
                      <a:pt x="40005" y="239078"/>
                    </a:cubicBezTo>
                    <a:cubicBezTo>
                      <a:pt x="40005" y="239078"/>
                      <a:pt x="40005" y="239078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7148" y="241935"/>
                      <a:pt x="37148" y="241935"/>
                    </a:cubicBezTo>
                    <a:cubicBezTo>
                      <a:pt x="37148" y="241935"/>
                      <a:pt x="37148" y="242888"/>
                      <a:pt x="36195" y="242888"/>
                    </a:cubicBezTo>
                    <a:cubicBezTo>
                      <a:pt x="36195" y="242888"/>
                      <a:pt x="35243" y="242888"/>
                      <a:pt x="35243" y="242888"/>
                    </a:cubicBezTo>
                    <a:cubicBezTo>
                      <a:pt x="35243" y="242888"/>
                      <a:pt x="35243" y="242888"/>
                      <a:pt x="35243" y="242888"/>
                    </a:cubicBezTo>
                    <a:cubicBezTo>
                      <a:pt x="35243" y="242888"/>
                      <a:pt x="34290" y="242888"/>
                      <a:pt x="34290" y="242888"/>
                    </a:cubicBezTo>
                    <a:cubicBezTo>
                      <a:pt x="34290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2385" y="243840"/>
                      <a:pt x="32385" y="243840"/>
                      <a:pt x="31432" y="244792"/>
                    </a:cubicBezTo>
                    <a:cubicBezTo>
                      <a:pt x="30480" y="245745"/>
                      <a:pt x="29527" y="246698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8603"/>
                    </a:cubicBezTo>
                    <a:lnTo>
                      <a:pt x="28575" y="248603"/>
                    </a:ln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7650"/>
                      <a:pt x="28575" y="247650"/>
                    </a:cubicBezTo>
                    <a:lnTo>
                      <a:pt x="28575" y="247650"/>
                    </a:ln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9527" y="246698"/>
                      <a:pt x="29527" y="246698"/>
                      <a:pt x="30480" y="245745"/>
                    </a:cubicBezTo>
                    <a:cubicBezTo>
                      <a:pt x="30480" y="245745"/>
                      <a:pt x="30480" y="245745"/>
                      <a:pt x="30480" y="245745"/>
                    </a:cubicBezTo>
                    <a:cubicBezTo>
                      <a:pt x="30480" y="245745"/>
                      <a:pt x="30480" y="245745"/>
                      <a:pt x="31432" y="244792"/>
                    </a:cubicBezTo>
                    <a:cubicBezTo>
                      <a:pt x="31432" y="244792"/>
                      <a:pt x="32385" y="243840"/>
                      <a:pt x="32385" y="243840"/>
                    </a:cubicBezTo>
                    <a:cubicBezTo>
                      <a:pt x="32385" y="243840"/>
                      <a:pt x="32385" y="243840"/>
                      <a:pt x="32385" y="243840"/>
                    </a:cubicBezTo>
                    <a:cubicBezTo>
                      <a:pt x="33338" y="242888"/>
                      <a:pt x="33338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5243" y="240983"/>
                      <a:pt x="35243" y="240983"/>
                    </a:cubicBezTo>
                    <a:cubicBezTo>
                      <a:pt x="35243" y="240983"/>
                      <a:pt x="35243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8125"/>
                    </a:cubicBezTo>
                    <a:cubicBezTo>
                      <a:pt x="37148" y="238125"/>
                      <a:pt x="37148" y="238125"/>
                      <a:pt x="37148" y="238125"/>
                    </a:cubicBezTo>
                    <a:cubicBezTo>
                      <a:pt x="37148" y="238125"/>
                      <a:pt x="37148" y="237173"/>
                      <a:pt x="37148" y="237173"/>
                    </a:cubicBezTo>
                    <a:cubicBezTo>
                      <a:pt x="37148" y="237173"/>
                      <a:pt x="37148" y="237173"/>
                      <a:pt x="37148" y="237173"/>
                    </a:cubicBezTo>
                    <a:cubicBezTo>
                      <a:pt x="38100" y="236220"/>
                      <a:pt x="38100" y="235267"/>
                      <a:pt x="39052" y="234315"/>
                    </a:cubicBezTo>
                    <a:cubicBezTo>
                      <a:pt x="39052" y="234315"/>
                      <a:pt x="39052" y="234315"/>
                      <a:pt x="39052" y="234315"/>
                    </a:cubicBezTo>
                    <a:cubicBezTo>
                      <a:pt x="38100" y="234315"/>
                      <a:pt x="38100" y="235267"/>
                      <a:pt x="37148" y="236220"/>
                    </a:cubicBezTo>
                    <a:cubicBezTo>
                      <a:pt x="36195" y="236220"/>
                      <a:pt x="35243" y="236220"/>
                      <a:pt x="36195" y="235267"/>
                    </a:cubicBezTo>
                    <a:cubicBezTo>
                      <a:pt x="36195" y="235267"/>
                      <a:pt x="37148" y="234315"/>
                      <a:pt x="37148" y="234315"/>
                    </a:cubicBezTo>
                    <a:cubicBezTo>
                      <a:pt x="37148" y="234315"/>
                      <a:pt x="37148" y="234315"/>
                      <a:pt x="37148" y="234315"/>
                    </a:cubicBezTo>
                    <a:cubicBezTo>
                      <a:pt x="38100" y="233363"/>
                      <a:pt x="39052" y="232410"/>
                      <a:pt x="40005" y="231458"/>
                    </a:cubicBezTo>
                    <a:cubicBezTo>
                      <a:pt x="40957" y="231458"/>
                      <a:pt x="40957" y="230505"/>
                      <a:pt x="41910" y="230505"/>
                    </a:cubicBezTo>
                    <a:cubicBezTo>
                      <a:pt x="41910" y="230505"/>
                      <a:pt x="41910" y="230505"/>
                      <a:pt x="41910" y="230505"/>
                    </a:cubicBezTo>
                    <a:cubicBezTo>
                      <a:pt x="41910" y="230505"/>
                      <a:pt x="42863" y="229553"/>
                      <a:pt x="42863" y="229553"/>
                    </a:cubicBezTo>
                    <a:cubicBezTo>
                      <a:pt x="42863" y="229553"/>
                      <a:pt x="42863" y="229553"/>
                      <a:pt x="42863" y="229553"/>
                    </a:cubicBezTo>
                    <a:cubicBezTo>
                      <a:pt x="47625" y="224790"/>
                      <a:pt x="56198" y="224790"/>
                      <a:pt x="62865" y="221933"/>
                    </a:cubicBezTo>
                    <a:cubicBezTo>
                      <a:pt x="65723" y="220980"/>
                      <a:pt x="68580" y="222885"/>
                      <a:pt x="71438" y="221933"/>
                    </a:cubicBezTo>
                    <a:cubicBezTo>
                      <a:pt x="73343" y="221933"/>
                      <a:pt x="74295" y="221933"/>
                      <a:pt x="76200" y="222885"/>
                    </a:cubicBezTo>
                    <a:cubicBezTo>
                      <a:pt x="66675" y="222885"/>
                      <a:pt x="62865" y="225742"/>
                      <a:pt x="58102" y="228600"/>
                    </a:cubicBezTo>
                    <a:moveTo>
                      <a:pt x="68580" y="193358"/>
                    </a:moveTo>
                    <a:cubicBezTo>
                      <a:pt x="67627" y="192405"/>
                      <a:pt x="70485" y="193358"/>
                      <a:pt x="70485" y="192405"/>
                    </a:cubicBezTo>
                    <a:lnTo>
                      <a:pt x="66675" y="192405"/>
                    </a:lnTo>
                    <a:cubicBezTo>
                      <a:pt x="65723" y="192405"/>
                      <a:pt x="65723" y="191453"/>
                      <a:pt x="65723" y="191453"/>
                    </a:cubicBezTo>
                    <a:cubicBezTo>
                      <a:pt x="62865" y="192405"/>
                      <a:pt x="60007" y="193358"/>
                      <a:pt x="57150" y="193358"/>
                    </a:cubicBezTo>
                    <a:cubicBezTo>
                      <a:pt x="53340" y="194310"/>
                      <a:pt x="50482" y="197167"/>
                      <a:pt x="46673" y="198120"/>
                    </a:cubicBezTo>
                    <a:cubicBezTo>
                      <a:pt x="40957" y="200025"/>
                      <a:pt x="36195" y="204788"/>
                      <a:pt x="30480" y="206692"/>
                    </a:cubicBezTo>
                    <a:cubicBezTo>
                      <a:pt x="29527" y="206692"/>
                      <a:pt x="29527" y="205740"/>
                      <a:pt x="29527" y="205740"/>
                    </a:cubicBezTo>
                    <a:cubicBezTo>
                      <a:pt x="30480" y="203835"/>
                      <a:pt x="32385" y="203835"/>
                      <a:pt x="33338" y="201930"/>
                    </a:cubicBezTo>
                    <a:cubicBezTo>
                      <a:pt x="33338" y="200978"/>
                      <a:pt x="33338" y="200978"/>
                      <a:pt x="32385" y="200978"/>
                    </a:cubicBezTo>
                    <a:cubicBezTo>
                      <a:pt x="36195" y="195263"/>
                      <a:pt x="41910" y="192405"/>
                      <a:pt x="47625" y="187642"/>
                    </a:cubicBezTo>
                    <a:lnTo>
                      <a:pt x="47625" y="185738"/>
                    </a:lnTo>
                    <a:cubicBezTo>
                      <a:pt x="49530" y="183833"/>
                      <a:pt x="51435" y="182880"/>
                      <a:pt x="52388" y="180023"/>
                    </a:cubicBezTo>
                    <a:cubicBezTo>
                      <a:pt x="53340" y="178117"/>
                      <a:pt x="55245" y="176213"/>
                      <a:pt x="57150" y="175260"/>
                    </a:cubicBezTo>
                    <a:cubicBezTo>
                      <a:pt x="56198" y="174308"/>
                      <a:pt x="55245" y="174308"/>
                      <a:pt x="55245" y="173355"/>
                    </a:cubicBezTo>
                    <a:cubicBezTo>
                      <a:pt x="53340" y="173355"/>
                      <a:pt x="51435" y="174308"/>
                      <a:pt x="49530" y="172403"/>
                    </a:cubicBezTo>
                    <a:cubicBezTo>
                      <a:pt x="50482" y="171450"/>
                      <a:pt x="51435" y="170498"/>
                      <a:pt x="52388" y="170498"/>
                    </a:cubicBezTo>
                    <a:cubicBezTo>
                      <a:pt x="52388" y="170498"/>
                      <a:pt x="51435" y="170498"/>
                      <a:pt x="51435" y="169545"/>
                    </a:cubicBezTo>
                    <a:cubicBezTo>
                      <a:pt x="50482" y="168592"/>
                      <a:pt x="52388" y="167640"/>
                      <a:pt x="54293" y="166688"/>
                    </a:cubicBezTo>
                    <a:cubicBezTo>
                      <a:pt x="56198" y="165735"/>
                      <a:pt x="59055" y="165735"/>
                      <a:pt x="60007" y="164783"/>
                    </a:cubicBezTo>
                    <a:cubicBezTo>
                      <a:pt x="56198" y="163830"/>
                      <a:pt x="52388" y="165735"/>
                      <a:pt x="48577" y="163830"/>
                    </a:cubicBezTo>
                    <a:cubicBezTo>
                      <a:pt x="51435" y="157163"/>
                      <a:pt x="55245" y="151448"/>
                      <a:pt x="60960" y="148590"/>
                    </a:cubicBezTo>
                    <a:cubicBezTo>
                      <a:pt x="61913" y="148590"/>
                      <a:pt x="62865" y="148590"/>
                      <a:pt x="62865" y="149542"/>
                    </a:cubicBezTo>
                    <a:cubicBezTo>
                      <a:pt x="62865" y="152400"/>
                      <a:pt x="60960" y="154305"/>
                      <a:pt x="59055" y="154305"/>
                    </a:cubicBezTo>
                    <a:cubicBezTo>
                      <a:pt x="62865" y="155258"/>
                      <a:pt x="67627" y="155258"/>
                      <a:pt x="71438" y="157163"/>
                    </a:cubicBezTo>
                    <a:cubicBezTo>
                      <a:pt x="70485" y="158115"/>
                      <a:pt x="69532" y="158115"/>
                      <a:pt x="69532" y="158115"/>
                    </a:cubicBezTo>
                    <a:cubicBezTo>
                      <a:pt x="72390" y="160020"/>
                      <a:pt x="75248" y="159067"/>
                      <a:pt x="78105" y="160973"/>
                    </a:cubicBezTo>
                    <a:cubicBezTo>
                      <a:pt x="76200" y="162878"/>
                      <a:pt x="75248" y="160973"/>
                      <a:pt x="73343" y="160973"/>
                    </a:cubicBezTo>
                    <a:cubicBezTo>
                      <a:pt x="89535" y="165735"/>
                      <a:pt x="105727" y="169545"/>
                      <a:pt x="119063" y="179070"/>
                    </a:cubicBezTo>
                    <a:cubicBezTo>
                      <a:pt x="107632" y="184785"/>
                      <a:pt x="96202" y="187642"/>
                      <a:pt x="83820" y="189548"/>
                    </a:cubicBezTo>
                    <a:cubicBezTo>
                      <a:pt x="81915" y="189548"/>
                      <a:pt x="80963" y="189548"/>
                      <a:pt x="80010" y="188595"/>
                    </a:cubicBezTo>
                    <a:cubicBezTo>
                      <a:pt x="80010" y="189548"/>
                      <a:pt x="80010" y="190500"/>
                      <a:pt x="79057" y="190500"/>
                    </a:cubicBezTo>
                    <a:cubicBezTo>
                      <a:pt x="77152" y="190500"/>
                      <a:pt x="75248" y="190500"/>
                      <a:pt x="74295" y="191453"/>
                    </a:cubicBezTo>
                    <a:cubicBezTo>
                      <a:pt x="73343" y="194310"/>
                      <a:pt x="70485" y="194310"/>
                      <a:pt x="68580" y="193358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7" name="Forme libre : forme 26">
                <a:extLst>
                  <a:ext uri="{FF2B5EF4-FFF2-40B4-BE49-F238E27FC236}">
                    <a16:creationId xmlns:a16="http://schemas.microsoft.com/office/drawing/2014/main" id="{390BFA88-83AD-4926-B934-62558F71A45F}"/>
                  </a:ext>
                </a:extLst>
              </p:cNvPr>
              <p:cNvSpPr/>
              <p:nvPr/>
            </p:nvSpPr>
            <p:spPr>
              <a:xfrm>
                <a:off x="270509" y="270509"/>
                <a:ext cx="349567" cy="269557"/>
              </a:xfrm>
              <a:custGeom>
                <a:avLst/>
                <a:gdLst>
                  <a:gd name="connsiteX0" fmla="*/ 306705 w 349567"/>
                  <a:gd name="connsiteY0" fmla="*/ 237173 h 269557"/>
                  <a:gd name="connsiteX1" fmla="*/ 315278 w 349567"/>
                  <a:gd name="connsiteY1" fmla="*/ 227648 h 269557"/>
                  <a:gd name="connsiteX2" fmla="*/ 315278 w 349567"/>
                  <a:gd name="connsiteY2" fmla="*/ 227648 h 269557"/>
                  <a:gd name="connsiteX3" fmla="*/ 332423 w 349567"/>
                  <a:gd name="connsiteY3" fmla="*/ 210503 h 269557"/>
                  <a:gd name="connsiteX4" fmla="*/ 338138 w 349567"/>
                  <a:gd name="connsiteY4" fmla="*/ 205740 h 269557"/>
                  <a:gd name="connsiteX5" fmla="*/ 339090 w 349567"/>
                  <a:gd name="connsiteY5" fmla="*/ 203835 h 269557"/>
                  <a:gd name="connsiteX6" fmla="*/ 332423 w 349567"/>
                  <a:gd name="connsiteY6" fmla="*/ 207645 h 269557"/>
                  <a:gd name="connsiteX7" fmla="*/ 331470 w 349567"/>
                  <a:gd name="connsiteY7" fmla="*/ 206692 h 269557"/>
                  <a:gd name="connsiteX8" fmla="*/ 337185 w 349567"/>
                  <a:gd name="connsiteY8" fmla="*/ 202883 h 269557"/>
                  <a:gd name="connsiteX9" fmla="*/ 337185 w 349567"/>
                  <a:gd name="connsiteY9" fmla="*/ 202883 h 269557"/>
                  <a:gd name="connsiteX10" fmla="*/ 336233 w 349567"/>
                  <a:gd name="connsiteY10" fmla="*/ 201930 h 269557"/>
                  <a:gd name="connsiteX11" fmla="*/ 320040 w 349567"/>
                  <a:gd name="connsiteY11" fmla="*/ 210503 h 269557"/>
                  <a:gd name="connsiteX12" fmla="*/ 317183 w 349567"/>
                  <a:gd name="connsiteY12" fmla="*/ 209550 h 269557"/>
                  <a:gd name="connsiteX13" fmla="*/ 296228 w 349567"/>
                  <a:gd name="connsiteY13" fmla="*/ 221933 h 269557"/>
                  <a:gd name="connsiteX14" fmla="*/ 296228 w 349567"/>
                  <a:gd name="connsiteY14" fmla="*/ 220980 h 269557"/>
                  <a:gd name="connsiteX15" fmla="*/ 286703 w 349567"/>
                  <a:gd name="connsiteY15" fmla="*/ 224790 h 269557"/>
                  <a:gd name="connsiteX16" fmla="*/ 274320 w 349567"/>
                  <a:gd name="connsiteY16" fmla="*/ 225742 h 269557"/>
                  <a:gd name="connsiteX17" fmla="*/ 256223 w 349567"/>
                  <a:gd name="connsiteY17" fmla="*/ 228600 h 269557"/>
                  <a:gd name="connsiteX18" fmla="*/ 255270 w 349567"/>
                  <a:gd name="connsiteY18" fmla="*/ 228600 h 269557"/>
                  <a:gd name="connsiteX19" fmla="*/ 245745 w 349567"/>
                  <a:gd name="connsiteY19" fmla="*/ 232410 h 269557"/>
                  <a:gd name="connsiteX20" fmla="*/ 245745 w 349567"/>
                  <a:gd name="connsiteY20" fmla="*/ 232410 h 269557"/>
                  <a:gd name="connsiteX21" fmla="*/ 244792 w 349567"/>
                  <a:gd name="connsiteY21" fmla="*/ 233363 h 269557"/>
                  <a:gd name="connsiteX22" fmla="*/ 240983 w 349567"/>
                  <a:gd name="connsiteY22" fmla="*/ 236220 h 269557"/>
                  <a:gd name="connsiteX23" fmla="*/ 232410 w 349567"/>
                  <a:gd name="connsiteY23" fmla="*/ 242888 h 269557"/>
                  <a:gd name="connsiteX24" fmla="*/ 231458 w 349567"/>
                  <a:gd name="connsiteY24" fmla="*/ 242888 h 269557"/>
                  <a:gd name="connsiteX25" fmla="*/ 222885 w 349567"/>
                  <a:gd name="connsiteY25" fmla="*/ 250508 h 269557"/>
                  <a:gd name="connsiteX26" fmla="*/ 220980 w 349567"/>
                  <a:gd name="connsiteY26" fmla="*/ 250508 h 269557"/>
                  <a:gd name="connsiteX27" fmla="*/ 220980 w 349567"/>
                  <a:gd name="connsiteY27" fmla="*/ 250508 h 269557"/>
                  <a:gd name="connsiteX28" fmla="*/ 220980 w 349567"/>
                  <a:gd name="connsiteY28" fmla="*/ 249555 h 269557"/>
                  <a:gd name="connsiteX29" fmla="*/ 221933 w 349567"/>
                  <a:gd name="connsiteY29" fmla="*/ 247650 h 269557"/>
                  <a:gd name="connsiteX30" fmla="*/ 223838 w 349567"/>
                  <a:gd name="connsiteY30" fmla="*/ 245745 h 269557"/>
                  <a:gd name="connsiteX31" fmla="*/ 225742 w 349567"/>
                  <a:gd name="connsiteY31" fmla="*/ 242888 h 269557"/>
                  <a:gd name="connsiteX32" fmla="*/ 225742 w 349567"/>
                  <a:gd name="connsiteY32" fmla="*/ 241935 h 269557"/>
                  <a:gd name="connsiteX33" fmla="*/ 224790 w 349567"/>
                  <a:gd name="connsiteY33" fmla="*/ 241935 h 269557"/>
                  <a:gd name="connsiteX34" fmla="*/ 233363 w 349567"/>
                  <a:gd name="connsiteY34" fmla="*/ 235267 h 269557"/>
                  <a:gd name="connsiteX35" fmla="*/ 233363 w 349567"/>
                  <a:gd name="connsiteY35" fmla="*/ 235267 h 269557"/>
                  <a:gd name="connsiteX36" fmla="*/ 232410 w 349567"/>
                  <a:gd name="connsiteY36" fmla="*/ 234315 h 269557"/>
                  <a:gd name="connsiteX37" fmla="*/ 233363 w 349567"/>
                  <a:gd name="connsiteY37" fmla="*/ 233363 h 269557"/>
                  <a:gd name="connsiteX38" fmla="*/ 233363 w 349567"/>
                  <a:gd name="connsiteY38" fmla="*/ 233363 h 269557"/>
                  <a:gd name="connsiteX39" fmla="*/ 233363 w 349567"/>
                  <a:gd name="connsiteY39" fmla="*/ 233363 h 269557"/>
                  <a:gd name="connsiteX40" fmla="*/ 233363 w 349567"/>
                  <a:gd name="connsiteY40" fmla="*/ 234315 h 269557"/>
                  <a:gd name="connsiteX41" fmla="*/ 229553 w 349567"/>
                  <a:gd name="connsiteY41" fmla="*/ 237173 h 269557"/>
                  <a:gd name="connsiteX42" fmla="*/ 228600 w 349567"/>
                  <a:gd name="connsiteY42" fmla="*/ 237173 h 269557"/>
                  <a:gd name="connsiteX43" fmla="*/ 227648 w 349567"/>
                  <a:gd name="connsiteY43" fmla="*/ 237173 h 269557"/>
                  <a:gd name="connsiteX44" fmla="*/ 227648 w 349567"/>
                  <a:gd name="connsiteY44" fmla="*/ 237173 h 269557"/>
                  <a:gd name="connsiteX45" fmla="*/ 227648 w 349567"/>
                  <a:gd name="connsiteY45" fmla="*/ 237173 h 269557"/>
                  <a:gd name="connsiteX46" fmla="*/ 227648 w 349567"/>
                  <a:gd name="connsiteY46" fmla="*/ 237173 h 269557"/>
                  <a:gd name="connsiteX47" fmla="*/ 227648 w 349567"/>
                  <a:gd name="connsiteY47" fmla="*/ 237173 h 269557"/>
                  <a:gd name="connsiteX48" fmla="*/ 227648 w 349567"/>
                  <a:gd name="connsiteY48" fmla="*/ 237173 h 269557"/>
                  <a:gd name="connsiteX49" fmla="*/ 227648 w 349567"/>
                  <a:gd name="connsiteY49" fmla="*/ 237173 h 269557"/>
                  <a:gd name="connsiteX50" fmla="*/ 227648 w 349567"/>
                  <a:gd name="connsiteY50" fmla="*/ 236220 h 269557"/>
                  <a:gd name="connsiteX51" fmla="*/ 227648 w 349567"/>
                  <a:gd name="connsiteY51" fmla="*/ 236220 h 269557"/>
                  <a:gd name="connsiteX52" fmla="*/ 228600 w 349567"/>
                  <a:gd name="connsiteY52" fmla="*/ 235267 h 269557"/>
                  <a:gd name="connsiteX53" fmla="*/ 228600 w 349567"/>
                  <a:gd name="connsiteY53" fmla="*/ 234315 h 269557"/>
                  <a:gd name="connsiteX54" fmla="*/ 229553 w 349567"/>
                  <a:gd name="connsiteY54" fmla="*/ 233363 h 269557"/>
                  <a:gd name="connsiteX55" fmla="*/ 229553 w 349567"/>
                  <a:gd name="connsiteY55" fmla="*/ 232410 h 269557"/>
                  <a:gd name="connsiteX56" fmla="*/ 233363 w 349567"/>
                  <a:gd name="connsiteY56" fmla="*/ 229553 h 269557"/>
                  <a:gd name="connsiteX57" fmla="*/ 233363 w 349567"/>
                  <a:gd name="connsiteY57" fmla="*/ 229553 h 269557"/>
                  <a:gd name="connsiteX58" fmla="*/ 239078 w 349567"/>
                  <a:gd name="connsiteY58" fmla="*/ 226695 h 269557"/>
                  <a:gd name="connsiteX59" fmla="*/ 240030 w 349567"/>
                  <a:gd name="connsiteY59" fmla="*/ 225742 h 269557"/>
                  <a:gd name="connsiteX60" fmla="*/ 231458 w 349567"/>
                  <a:gd name="connsiteY60" fmla="*/ 229553 h 269557"/>
                  <a:gd name="connsiteX61" fmla="*/ 230505 w 349567"/>
                  <a:gd name="connsiteY61" fmla="*/ 229553 h 269557"/>
                  <a:gd name="connsiteX62" fmla="*/ 229553 w 349567"/>
                  <a:gd name="connsiteY62" fmla="*/ 229553 h 269557"/>
                  <a:gd name="connsiteX63" fmla="*/ 229553 w 349567"/>
                  <a:gd name="connsiteY63" fmla="*/ 229553 h 269557"/>
                  <a:gd name="connsiteX64" fmla="*/ 232410 w 349567"/>
                  <a:gd name="connsiteY64" fmla="*/ 226695 h 269557"/>
                  <a:gd name="connsiteX65" fmla="*/ 233363 w 349567"/>
                  <a:gd name="connsiteY65" fmla="*/ 227648 h 269557"/>
                  <a:gd name="connsiteX66" fmla="*/ 291465 w 349567"/>
                  <a:gd name="connsiteY66" fmla="*/ 211455 h 269557"/>
                  <a:gd name="connsiteX67" fmla="*/ 296228 w 349567"/>
                  <a:gd name="connsiteY67" fmla="*/ 208598 h 269557"/>
                  <a:gd name="connsiteX68" fmla="*/ 303848 w 349567"/>
                  <a:gd name="connsiteY68" fmla="*/ 203835 h 269557"/>
                  <a:gd name="connsiteX69" fmla="*/ 312420 w 349567"/>
                  <a:gd name="connsiteY69" fmla="*/ 192405 h 269557"/>
                  <a:gd name="connsiteX70" fmla="*/ 311468 w 349567"/>
                  <a:gd name="connsiteY70" fmla="*/ 191453 h 269557"/>
                  <a:gd name="connsiteX71" fmla="*/ 288608 w 349567"/>
                  <a:gd name="connsiteY71" fmla="*/ 208598 h 269557"/>
                  <a:gd name="connsiteX72" fmla="*/ 255270 w 349567"/>
                  <a:gd name="connsiteY72" fmla="*/ 214313 h 269557"/>
                  <a:gd name="connsiteX73" fmla="*/ 258128 w 349567"/>
                  <a:gd name="connsiteY73" fmla="*/ 213360 h 269557"/>
                  <a:gd name="connsiteX74" fmla="*/ 260033 w 349567"/>
                  <a:gd name="connsiteY74" fmla="*/ 210503 h 269557"/>
                  <a:gd name="connsiteX75" fmla="*/ 261938 w 349567"/>
                  <a:gd name="connsiteY75" fmla="*/ 210503 h 269557"/>
                  <a:gd name="connsiteX76" fmla="*/ 262890 w 349567"/>
                  <a:gd name="connsiteY76" fmla="*/ 209550 h 269557"/>
                  <a:gd name="connsiteX77" fmla="*/ 264795 w 349567"/>
                  <a:gd name="connsiteY77" fmla="*/ 208598 h 269557"/>
                  <a:gd name="connsiteX78" fmla="*/ 257175 w 349567"/>
                  <a:gd name="connsiteY78" fmla="*/ 208598 h 269557"/>
                  <a:gd name="connsiteX79" fmla="*/ 259080 w 349567"/>
                  <a:gd name="connsiteY79" fmla="*/ 205740 h 269557"/>
                  <a:gd name="connsiteX80" fmla="*/ 260985 w 349567"/>
                  <a:gd name="connsiteY80" fmla="*/ 205740 h 269557"/>
                  <a:gd name="connsiteX81" fmla="*/ 261938 w 349567"/>
                  <a:gd name="connsiteY81" fmla="*/ 203835 h 269557"/>
                  <a:gd name="connsiteX82" fmla="*/ 283845 w 349567"/>
                  <a:gd name="connsiteY82" fmla="*/ 191453 h 269557"/>
                  <a:gd name="connsiteX83" fmla="*/ 280035 w 349567"/>
                  <a:gd name="connsiteY83" fmla="*/ 192405 h 269557"/>
                  <a:gd name="connsiteX84" fmla="*/ 280988 w 349567"/>
                  <a:gd name="connsiteY84" fmla="*/ 190500 h 269557"/>
                  <a:gd name="connsiteX85" fmla="*/ 297180 w 349567"/>
                  <a:gd name="connsiteY85" fmla="*/ 183833 h 269557"/>
                  <a:gd name="connsiteX86" fmla="*/ 291465 w 349567"/>
                  <a:gd name="connsiteY86" fmla="*/ 183833 h 269557"/>
                  <a:gd name="connsiteX87" fmla="*/ 294323 w 349567"/>
                  <a:gd name="connsiteY87" fmla="*/ 181928 h 269557"/>
                  <a:gd name="connsiteX88" fmla="*/ 294323 w 349567"/>
                  <a:gd name="connsiteY88" fmla="*/ 180023 h 269557"/>
                  <a:gd name="connsiteX89" fmla="*/ 295275 w 349567"/>
                  <a:gd name="connsiteY89" fmla="*/ 179070 h 269557"/>
                  <a:gd name="connsiteX90" fmla="*/ 294323 w 349567"/>
                  <a:gd name="connsiteY90" fmla="*/ 178117 h 269557"/>
                  <a:gd name="connsiteX91" fmla="*/ 297180 w 349567"/>
                  <a:gd name="connsiteY91" fmla="*/ 176213 h 269557"/>
                  <a:gd name="connsiteX92" fmla="*/ 295275 w 349567"/>
                  <a:gd name="connsiteY92" fmla="*/ 175260 h 269557"/>
                  <a:gd name="connsiteX93" fmla="*/ 301943 w 349567"/>
                  <a:gd name="connsiteY93" fmla="*/ 172403 h 269557"/>
                  <a:gd name="connsiteX94" fmla="*/ 300038 w 349567"/>
                  <a:gd name="connsiteY94" fmla="*/ 171450 h 269557"/>
                  <a:gd name="connsiteX95" fmla="*/ 300990 w 349567"/>
                  <a:gd name="connsiteY95" fmla="*/ 170498 h 269557"/>
                  <a:gd name="connsiteX96" fmla="*/ 300990 w 349567"/>
                  <a:gd name="connsiteY96" fmla="*/ 170498 h 269557"/>
                  <a:gd name="connsiteX97" fmla="*/ 300038 w 349567"/>
                  <a:gd name="connsiteY97" fmla="*/ 168592 h 269557"/>
                  <a:gd name="connsiteX98" fmla="*/ 304800 w 349567"/>
                  <a:gd name="connsiteY98" fmla="*/ 156210 h 269557"/>
                  <a:gd name="connsiteX99" fmla="*/ 303848 w 349567"/>
                  <a:gd name="connsiteY99" fmla="*/ 155258 h 269557"/>
                  <a:gd name="connsiteX100" fmla="*/ 282893 w 349567"/>
                  <a:gd name="connsiteY100" fmla="*/ 164783 h 269557"/>
                  <a:gd name="connsiteX101" fmla="*/ 280035 w 349567"/>
                  <a:gd name="connsiteY101" fmla="*/ 164783 h 269557"/>
                  <a:gd name="connsiteX102" fmla="*/ 271463 w 349567"/>
                  <a:gd name="connsiteY102" fmla="*/ 163830 h 269557"/>
                  <a:gd name="connsiteX103" fmla="*/ 266700 w 349567"/>
                  <a:gd name="connsiteY103" fmla="*/ 160020 h 269557"/>
                  <a:gd name="connsiteX104" fmla="*/ 254317 w 349567"/>
                  <a:gd name="connsiteY104" fmla="*/ 154305 h 269557"/>
                  <a:gd name="connsiteX105" fmla="*/ 215265 w 349567"/>
                  <a:gd name="connsiteY105" fmla="*/ 148590 h 269557"/>
                  <a:gd name="connsiteX106" fmla="*/ 233363 w 349567"/>
                  <a:gd name="connsiteY106" fmla="*/ 143828 h 269557"/>
                  <a:gd name="connsiteX107" fmla="*/ 259080 w 349567"/>
                  <a:gd name="connsiteY107" fmla="*/ 139065 h 269557"/>
                  <a:gd name="connsiteX108" fmla="*/ 254317 w 349567"/>
                  <a:gd name="connsiteY108" fmla="*/ 139065 h 269557"/>
                  <a:gd name="connsiteX109" fmla="*/ 232410 w 349567"/>
                  <a:gd name="connsiteY109" fmla="*/ 141923 h 269557"/>
                  <a:gd name="connsiteX110" fmla="*/ 217170 w 349567"/>
                  <a:gd name="connsiteY110" fmla="*/ 145733 h 269557"/>
                  <a:gd name="connsiteX111" fmla="*/ 208598 w 349567"/>
                  <a:gd name="connsiteY111" fmla="*/ 149542 h 269557"/>
                  <a:gd name="connsiteX112" fmla="*/ 208598 w 349567"/>
                  <a:gd name="connsiteY112" fmla="*/ 147638 h 269557"/>
                  <a:gd name="connsiteX113" fmla="*/ 227648 w 349567"/>
                  <a:gd name="connsiteY113" fmla="*/ 135255 h 269557"/>
                  <a:gd name="connsiteX114" fmla="*/ 254317 w 349567"/>
                  <a:gd name="connsiteY114" fmla="*/ 136208 h 269557"/>
                  <a:gd name="connsiteX115" fmla="*/ 273368 w 349567"/>
                  <a:gd name="connsiteY115" fmla="*/ 140017 h 269557"/>
                  <a:gd name="connsiteX116" fmla="*/ 278130 w 349567"/>
                  <a:gd name="connsiteY116" fmla="*/ 144780 h 269557"/>
                  <a:gd name="connsiteX117" fmla="*/ 287655 w 349567"/>
                  <a:gd name="connsiteY117" fmla="*/ 146685 h 269557"/>
                  <a:gd name="connsiteX118" fmla="*/ 287655 w 349567"/>
                  <a:gd name="connsiteY118" fmla="*/ 143828 h 269557"/>
                  <a:gd name="connsiteX119" fmla="*/ 294323 w 349567"/>
                  <a:gd name="connsiteY119" fmla="*/ 142875 h 269557"/>
                  <a:gd name="connsiteX120" fmla="*/ 288608 w 349567"/>
                  <a:gd name="connsiteY120" fmla="*/ 132398 h 269557"/>
                  <a:gd name="connsiteX121" fmla="*/ 289560 w 349567"/>
                  <a:gd name="connsiteY121" fmla="*/ 131445 h 269557"/>
                  <a:gd name="connsiteX122" fmla="*/ 301943 w 349567"/>
                  <a:gd name="connsiteY122" fmla="*/ 141923 h 269557"/>
                  <a:gd name="connsiteX123" fmla="*/ 309563 w 349567"/>
                  <a:gd name="connsiteY123" fmla="*/ 140970 h 269557"/>
                  <a:gd name="connsiteX124" fmla="*/ 298133 w 349567"/>
                  <a:gd name="connsiteY124" fmla="*/ 125730 h 269557"/>
                  <a:gd name="connsiteX125" fmla="*/ 298133 w 349567"/>
                  <a:gd name="connsiteY125" fmla="*/ 123825 h 269557"/>
                  <a:gd name="connsiteX126" fmla="*/ 296228 w 349567"/>
                  <a:gd name="connsiteY126" fmla="*/ 122873 h 269557"/>
                  <a:gd name="connsiteX127" fmla="*/ 296228 w 349567"/>
                  <a:gd name="connsiteY127" fmla="*/ 120015 h 269557"/>
                  <a:gd name="connsiteX128" fmla="*/ 293370 w 349567"/>
                  <a:gd name="connsiteY128" fmla="*/ 115253 h 269557"/>
                  <a:gd name="connsiteX129" fmla="*/ 291465 w 349567"/>
                  <a:gd name="connsiteY129" fmla="*/ 105728 h 269557"/>
                  <a:gd name="connsiteX130" fmla="*/ 290513 w 349567"/>
                  <a:gd name="connsiteY130" fmla="*/ 98108 h 269557"/>
                  <a:gd name="connsiteX131" fmla="*/ 285750 w 349567"/>
                  <a:gd name="connsiteY131" fmla="*/ 73342 h 269557"/>
                  <a:gd name="connsiteX132" fmla="*/ 296228 w 349567"/>
                  <a:gd name="connsiteY132" fmla="*/ 47625 h 269557"/>
                  <a:gd name="connsiteX133" fmla="*/ 310515 w 349567"/>
                  <a:gd name="connsiteY133" fmla="*/ 31433 h 269557"/>
                  <a:gd name="connsiteX134" fmla="*/ 320040 w 349567"/>
                  <a:gd name="connsiteY134" fmla="*/ 15240 h 269557"/>
                  <a:gd name="connsiteX135" fmla="*/ 336233 w 349567"/>
                  <a:gd name="connsiteY135" fmla="*/ 4763 h 269557"/>
                  <a:gd name="connsiteX136" fmla="*/ 349568 w 349567"/>
                  <a:gd name="connsiteY136" fmla="*/ 0 h 269557"/>
                  <a:gd name="connsiteX137" fmla="*/ 0 w 349567"/>
                  <a:gd name="connsiteY137" fmla="*/ 0 h 269557"/>
                  <a:gd name="connsiteX138" fmla="*/ 0 w 349567"/>
                  <a:gd name="connsiteY138" fmla="*/ 269558 h 269557"/>
                  <a:gd name="connsiteX139" fmla="*/ 247650 w 349567"/>
                  <a:gd name="connsiteY139" fmla="*/ 269558 h 269557"/>
                  <a:gd name="connsiteX140" fmla="*/ 280988 w 349567"/>
                  <a:gd name="connsiteY140" fmla="*/ 252413 h 269557"/>
                  <a:gd name="connsiteX141" fmla="*/ 306705 w 349567"/>
                  <a:gd name="connsiteY141" fmla="*/ 237173 h 269557"/>
                  <a:gd name="connsiteX142" fmla="*/ 227648 w 349567"/>
                  <a:gd name="connsiteY142" fmla="*/ 200978 h 269557"/>
                  <a:gd name="connsiteX143" fmla="*/ 224790 w 349567"/>
                  <a:gd name="connsiteY143" fmla="*/ 200025 h 269557"/>
                  <a:gd name="connsiteX144" fmla="*/ 230505 w 349567"/>
                  <a:gd name="connsiteY144" fmla="*/ 196215 h 269557"/>
                  <a:gd name="connsiteX145" fmla="*/ 234315 w 349567"/>
                  <a:gd name="connsiteY145" fmla="*/ 195263 h 269557"/>
                  <a:gd name="connsiteX146" fmla="*/ 238125 w 349567"/>
                  <a:gd name="connsiteY146" fmla="*/ 197167 h 269557"/>
                  <a:gd name="connsiteX147" fmla="*/ 227648 w 349567"/>
                  <a:gd name="connsiteY147" fmla="*/ 200978 h 269557"/>
                  <a:gd name="connsiteX148" fmla="*/ 149542 w 349567"/>
                  <a:gd name="connsiteY148" fmla="*/ 189548 h 269557"/>
                  <a:gd name="connsiteX149" fmla="*/ 148590 w 349567"/>
                  <a:gd name="connsiteY149" fmla="*/ 188595 h 269557"/>
                  <a:gd name="connsiteX150" fmla="*/ 164783 w 349567"/>
                  <a:gd name="connsiteY150" fmla="*/ 162878 h 269557"/>
                  <a:gd name="connsiteX151" fmla="*/ 181928 w 349567"/>
                  <a:gd name="connsiteY151" fmla="*/ 148590 h 269557"/>
                  <a:gd name="connsiteX152" fmla="*/ 210503 w 349567"/>
                  <a:gd name="connsiteY152" fmla="*/ 125730 h 269557"/>
                  <a:gd name="connsiteX153" fmla="*/ 223838 w 349567"/>
                  <a:gd name="connsiteY153" fmla="*/ 126683 h 269557"/>
                  <a:gd name="connsiteX154" fmla="*/ 218123 w 349567"/>
                  <a:gd name="connsiteY154" fmla="*/ 129540 h 269557"/>
                  <a:gd name="connsiteX155" fmla="*/ 216217 w 349567"/>
                  <a:gd name="connsiteY155" fmla="*/ 128588 h 269557"/>
                  <a:gd name="connsiteX156" fmla="*/ 217170 w 349567"/>
                  <a:gd name="connsiteY156" fmla="*/ 126683 h 269557"/>
                  <a:gd name="connsiteX157" fmla="*/ 200978 w 349567"/>
                  <a:gd name="connsiteY157" fmla="*/ 141923 h 269557"/>
                  <a:gd name="connsiteX158" fmla="*/ 189548 w 349567"/>
                  <a:gd name="connsiteY158" fmla="*/ 155258 h 269557"/>
                  <a:gd name="connsiteX159" fmla="*/ 188595 w 349567"/>
                  <a:gd name="connsiteY159" fmla="*/ 154305 h 269557"/>
                  <a:gd name="connsiteX160" fmla="*/ 149542 w 349567"/>
                  <a:gd name="connsiteY160" fmla="*/ 189548 h 269557"/>
                  <a:gd name="connsiteX161" fmla="*/ 192405 w 349567"/>
                  <a:gd name="connsiteY161" fmla="*/ 156210 h 269557"/>
                  <a:gd name="connsiteX162" fmla="*/ 190500 w 349567"/>
                  <a:gd name="connsiteY162" fmla="*/ 158115 h 269557"/>
                  <a:gd name="connsiteX163" fmla="*/ 188595 w 349567"/>
                  <a:gd name="connsiteY163" fmla="*/ 160020 h 269557"/>
                  <a:gd name="connsiteX164" fmla="*/ 187642 w 349567"/>
                  <a:gd name="connsiteY164" fmla="*/ 159067 h 269557"/>
                  <a:gd name="connsiteX165" fmla="*/ 191453 w 349567"/>
                  <a:gd name="connsiteY165" fmla="*/ 154305 h 269557"/>
                  <a:gd name="connsiteX166" fmla="*/ 192405 w 349567"/>
                  <a:gd name="connsiteY166" fmla="*/ 156210 h 269557"/>
                  <a:gd name="connsiteX167" fmla="*/ 216217 w 349567"/>
                  <a:gd name="connsiteY167" fmla="*/ 232410 h 269557"/>
                  <a:gd name="connsiteX168" fmla="*/ 215265 w 349567"/>
                  <a:gd name="connsiteY168" fmla="*/ 234315 h 269557"/>
                  <a:gd name="connsiteX169" fmla="*/ 216217 w 349567"/>
                  <a:gd name="connsiteY169" fmla="*/ 235267 h 269557"/>
                  <a:gd name="connsiteX170" fmla="*/ 212408 w 349567"/>
                  <a:gd name="connsiteY170" fmla="*/ 238125 h 269557"/>
                  <a:gd name="connsiteX171" fmla="*/ 211455 w 349567"/>
                  <a:gd name="connsiteY171" fmla="*/ 238125 h 269557"/>
                  <a:gd name="connsiteX172" fmla="*/ 209550 w 349567"/>
                  <a:gd name="connsiteY172" fmla="*/ 240030 h 269557"/>
                  <a:gd name="connsiteX173" fmla="*/ 206692 w 349567"/>
                  <a:gd name="connsiteY173" fmla="*/ 239078 h 269557"/>
                  <a:gd name="connsiteX174" fmla="*/ 210503 w 349567"/>
                  <a:gd name="connsiteY174" fmla="*/ 235267 h 269557"/>
                  <a:gd name="connsiteX175" fmla="*/ 212408 w 349567"/>
                  <a:gd name="connsiteY175" fmla="*/ 233363 h 269557"/>
                  <a:gd name="connsiteX176" fmla="*/ 213360 w 349567"/>
                  <a:gd name="connsiteY176" fmla="*/ 232410 h 269557"/>
                  <a:gd name="connsiteX177" fmla="*/ 216217 w 349567"/>
                  <a:gd name="connsiteY177" fmla="*/ 232410 h 269557"/>
                  <a:gd name="connsiteX178" fmla="*/ 206692 w 349567"/>
                  <a:gd name="connsiteY178" fmla="*/ 228600 h 269557"/>
                  <a:gd name="connsiteX179" fmla="*/ 206692 w 349567"/>
                  <a:gd name="connsiteY179" fmla="*/ 228600 h 269557"/>
                  <a:gd name="connsiteX180" fmla="*/ 200978 w 349567"/>
                  <a:gd name="connsiteY180" fmla="*/ 232410 h 269557"/>
                  <a:gd name="connsiteX181" fmla="*/ 194310 w 349567"/>
                  <a:gd name="connsiteY181" fmla="*/ 235267 h 269557"/>
                  <a:gd name="connsiteX182" fmla="*/ 194310 w 349567"/>
                  <a:gd name="connsiteY182" fmla="*/ 235267 h 269557"/>
                  <a:gd name="connsiteX183" fmla="*/ 193358 w 349567"/>
                  <a:gd name="connsiteY183" fmla="*/ 235267 h 269557"/>
                  <a:gd name="connsiteX184" fmla="*/ 188595 w 349567"/>
                  <a:gd name="connsiteY184" fmla="*/ 239078 h 269557"/>
                  <a:gd name="connsiteX185" fmla="*/ 187642 w 349567"/>
                  <a:gd name="connsiteY185" fmla="*/ 240030 h 269557"/>
                  <a:gd name="connsiteX186" fmla="*/ 187642 w 349567"/>
                  <a:gd name="connsiteY186" fmla="*/ 240030 h 269557"/>
                  <a:gd name="connsiteX187" fmla="*/ 187642 w 349567"/>
                  <a:gd name="connsiteY187" fmla="*/ 240030 h 269557"/>
                  <a:gd name="connsiteX188" fmla="*/ 186690 w 349567"/>
                  <a:gd name="connsiteY188" fmla="*/ 240983 h 269557"/>
                  <a:gd name="connsiteX189" fmla="*/ 186690 w 349567"/>
                  <a:gd name="connsiteY189" fmla="*/ 240983 h 269557"/>
                  <a:gd name="connsiteX190" fmla="*/ 186690 w 349567"/>
                  <a:gd name="connsiteY190" fmla="*/ 240983 h 269557"/>
                  <a:gd name="connsiteX191" fmla="*/ 185738 w 349567"/>
                  <a:gd name="connsiteY191" fmla="*/ 241935 h 269557"/>
                  <a:gd name="connsiteX192" fmla="*/ 184785 w 349567"/>
                  <a:gd name="connsiteY192" fmla="*/ 242888 h 269557"/>
                  <a:gd name="connsiteX193" fmla="*/ 183833 w 349567"/>
                  <a:gd name="connsiteY193" fmla="*/ 242888 h 269557"/>
                  <a:gd name="connsiteX194" fmla="*/ 183833 w 349567"/>
                  <a:gd name="connsiteY194" fmla="*/ 242888 h 269557"/>
                  <a:gd name="connsiteX195" fmla="*/ 182880 w 349567"/>
                  <a:gd name="connsiteY195" fmla="*/ 242888 h 269557"/>
                  <a:gd name="connsiteX196" fmla="*/ 181928 w 349567"/>
                  <a:gd name="connsiteY196" fmla="*/ 242888 h 269557"/>
                  <a:gd name="connsiteX197" fmla="*/ 181928 w 349567"/>
                  <a:gd name="connsiteY197" fmla="*/ 242888 h 269557"/>
                  <a:gd name="connsiteX198" fmla="*/ 181928 w 349567"/>
                  <a:gd name="connsiteY198" fmla="*/ 242888 h 269557"/>
                  <a:gd name="connsiteX199" fmla="*/ 180023 w 349567"/>
                  <a:gd name="connsiteY199" fmla="*/ 244792 h 269557"/>
                  <a:gd name="connsiteX200" fmla="*/ 177165 w 349567"/>
                  <a:gd name="connsiteY200" fmla="*/ 247650 h 269557"/>
                  <a:gd name="connsiteX201" fmla="*/ 177165 w 349567"/>
                  <a:gd name="connsiteY201" fmla="*/ 247650 h 269557"/>
                  <a:gd name="connsiteX202" fmla="*/ 177165 w 349567"/>
                  <a:gd name="connsiteY202" fmla="*/ 247650 h 269557"/>
                  <a:gd name="connsiteX203" fmla="*/ 177165 w 349567"/>
                  <a:gd name="connsiteY203" fmla="*/ 247650 h 269557"/>
                  <a:gd name="connsiteX204" fmla="*/ 177165 w 349567"/>
                  <a:gd name="connsiteY204" fmla="*/ 247650 h 269557"/>
                  <a:gd name="connsiteX205" fmla="*/ 177165 w 349567"/>
                  <a:gd name="connsiteY205" fmla="*/ 247650 h 269557"/>
                  <a:gd name="connsiteX206" fmla="*/ 177165 w 349567"/>
                  <a:gd name="connsiteY206" fmla="*/ 248603 h 269557"/>
                  <a:gd name="connsiteX207" fmla="*/ 177165 w 349567"/>
                  <a:gd name="connsiteY207" fmla="*/ 248603 h 269557"/>
                  <a:gd name="connsiteX208" fmla="*/ 177165 w 349567"/>
                  <a:gd name="connsiteY208" fmla="*/ 248603 h 269557"/>
                  <a:gd name="connsiteX209" fmla="*/ 177165 w 349567"/>
                  <a:gd name="connsiteY209" fmla="*/ 248603 h 269557"/>
                  <a:gd name="connsiteX210" fmla="*/ 177165 w 349567"/>
                  <a:gd name="connsiteY210" fmla="*/ 248603 h 269557"/>
                  <a:gd name="connsiteX211" fmla="*/ 177165 w 349567"/>
                  <a:gd name="connsiteY211" fmla="*/ 247650 h 269557"/>
                  <a:gd name="connsiteX212" fmla="*/ 177165 w 349567"/>
                  <a:gd name="connsiteY212" fmla="*/ 247650 h 269557"/>
                  <a:gd name="connsiteX213" fmla="*/ 177165 w 349567"/>
                  <a:gd name="connsiteY213" fmla="*/ 247650 h 269557"/>
                  <a:gd name="connsiteX214" fmla="*/ 179070 w 349567"/>
                  <a:gd name="connsiteY214" fmla="*/ 245745 h 269557"/>
                  <a:gd name="connsiteX215" fmla="*/ 179070 w 349567"/>
                  <a:gd name="connsiteY215" fmla="*/ 245745 h 269557"/>
                  <a:gd name="connsiteX216" fmla="*/ 180023 w 349567"/>
                  <a:gd name="connsiteY216" fmla="*/ 244792 h 269557"/>
                  <a:gd name="connsiteX217" fmla="*/ 180975 w 349567"/>
                  <a:gd name="connsiteY217" fmla="*/ 243840 h 269557"/>
                  <a:gd name="connsiteX218" fmla="*/ 180975 w 349567"/>
                  <a:gd name="connsiteY218" fmla="*/ 243840 h 269557"/>
                  <a:gd name="connsiteX219" fmla="*/ 182880 w 349567"/>
                  <a:gd name="connsiteY219" fmla="*/ 241935 h 269557"/>
                  <a:gd name="connsiteX220" fmla="*/ 182880 w 349567"/>
                  <a:gd name="connsiteY220" fmla="*/ 241935 h 269557"/>
                  <a:gd name="connsiteX221" fmla="*/ 182880 w 349567"/>
                  <a:gd name="connsiteY221" fmla="*/ 241935 h 269557"/>
                  <a:gd name="connsiteX222" fmla="*/ 183833 w 349567"/>
                  <a:gd name="connsiteY222" fmla="*/ 240983 h 269557"/>
                  <a:gd name="connsiteX223" fmla="*/ 184785 w 349567"/>
                  <a:gd name="connsiteY223" fmla="*/ 240030 h 269557"/>
                  <a:gd name="connsiteX224" fmla="*/ 184785 w 349567"/>
                  <a:gd name="connsiteY224" fmla="*/ 240030 h 269557"/>
                  <a:gd name="connsiteX225" fmla="*/ 184785 w 349567"/>
                  <a:gd name="connsiteY225" fmla="*/ 240030 h 269557"/>
                  <a:gd name="connsiteX226" fmla="*/ 184785 w 349567"/>
                  <a:gd name="connsiteY226" fmla="*/ 240030 h 269557"/>
                  <a:gd name="connsiteX227" fmla="*/ 185738 w 349567"/>
                  <a:gd name="connsiteY227" fmla="*/ 239078 h 269557"/>
                  <a:gd name="connsiteX228" fmla="*/ 185738 w 349567"/>
                  <a:gd name="connsiteY228" fmla="*/ 239078 h 269557"/>
                  <a:gd name="connsiteX229" fmla="*/ 185738 w 349567"/>
                  <a:gd name="connsiteY229" fmla="*/ 239078 h 269557"/>
                  <a:gd name="connsiteX230" fmla="*/ 185738 w 349567"/>
                  <a:gd name="connsiteY230" fmla="*/ 238125 h 269557"/>
                  <a:gd name="connsiteX231" fmla="*/ 185738 w 349567"/>
                  <a:gd name="connsiteY231" fmla="*/ 238125 h 269557"/>
                  <a:gd name="connsiteX232" fmla="*/ 185738 w 349567"/>
                  <a:gd name="connsiteY232" fmla="*/ 237173 h 269557"/>
                  <a:gd name="connsiteX233" fmla="*/ 185738 w 349567"/>
                  <a:gd name="connsiteY233" fmla="*/ 237173 h 269557"/>
                  <a:gd name="connsiteX234" fmla="*/ 187642 w 349567"/>
                  <a:gd name="connsiteY234" fmla="*/ 234315 h 269557"/>
                  <a:gd name="connsiteX235" fmla="*/ 187642 w 349567"/>
                  <a:gd name="connsiteY235" fmla="*/ 234315 h 269557"/>
                  <a:gd name="connsiteX236" fmla="*/ 185738 w 349567"/>
                  <a:gd name="connsiteY236" fmla="*/ 236220 h 269557"/>
                  <a:gd name="connsiteX237" fmla="*/ 184785 w 349567"/>
                  <a:gd name="connsiteY237" fmla="*/ 235267 h 269557"/>
                  <a:gd name="connsiteX238" fmla="*/ 185738 w 349567"/>
                  <a:gd name="connsiteY238" fmla="*/ 234315 h 269557"/>
                  <a:gd name="connsiteX239" fmla="*/ 185738 w 349567"/>
                  <a:gd name="connsiteY239" fmla="*/ 234315 h 269557"/>
                  <a:gd name="connsiteX240" fmla="*/ 188595 w 349567"/>
                  <a:gd name="connsiteY240" fmla="*/ 231458 h 269557"/>
                  <a:gd name="connsiteX241" fmla="*/ 190500 w 349567"/>
                  <a:gd name="connsiteY241" fmla="*/ 230505 h 269557"/>
                  <a:gd name="connsiteX242" fmla="*/ 190500 w 349567"/>
                  <a:gd name="connsiteY242" fmla="*/ 230505 h 269557"/>
                  <a:gd name="connsiteX243" fmla="*/ 191453 w 349567"/>
                  <a:gd name="connsiteY243" fmla="*/ 229553 h 269557"/>
                  <a:gd name="connsiteX244" fmla="*/ 191453 w 349567"/>
                  <a:gd name="connsiteY244" fmla="*/ 229553 h 269557"/>
                  <a:gd name="connsiteX245" fmla="*/ 211455 w 349567"/>
                  <a:gd name="connsiteY245" fmla="*/ 221933 h 269557"/>
                  <a:gd name="connsiteX246" fmla="*/ 220028 w 349567"/>
                  <a:gd name="connsiteY246" fmla="*/ 221933 h 269557"/>
                  <a:gd name="connsiteX247" fmla="*/ 224790 w 349567"/>
                  <a:gd name="connsiteY247" fmla="*/ 222885 h 269557"/>
                  <a:gd name="connsiteX248" fmla="*/ 206692 w 349567"/>
                  <a:gd name="connsiteY248" fmla="*/ 228600 h 269557"/>
                  <a:gd name="connsiteX249" fmla="*/ 217170 w 349567"/>
                  <a:gd name="connsiteY249" fmla="*/ 193358 h 269557"/>
                  <a:gd name="connsiteX250" fmla="*/ 219075 w 349567"/>
                  <a:gd name="connsiteY250" fmla="*/ 192405 h 269557"/>
                  <a:gd name="connsiteX251" fmla="*/ 215265 w 349567"/>
                  <a:gd name="connsiteY251" fmla="*/ 192405 h 269557"/>
                  <a:gd name="connsiteX252" fmla="*/ 214313 w 349567"/>
                  <a:gd name="connsiteY252" fmla="*/ 191453 h 269557"/>
                  <a:gd name="connsiteX253" fmla="*/ 205740 w 349567"/>
                  <a:gd name="connsiteY253" fmla="*/ 193358 h 269557"/>
                  <a:gd name="connsiteX254" fmla="*/ 195263 w 349567"/>
                  <a:gd name="connsiteY254" fmla="*/ 198120 h 269557"/>
                  <a:gd name="connsiteX255" fmla="*/ 179070 w 349567"/>
                  <a:gd name="connsiteY255" fmla="*/ 206692 h 269557"/>
                  <a:gd name="connsiteX256" fmla="*/ 178117 w 349567"/>
                  <a:gd name="connsiteY256" fmla="*/ 205740 h 269557"/>
                  <a:gd name="connsiteX257" fmla="*/ 181928 w 349567"/>
                  <a:gd name="connsiteY257" fmla="*/ 201930 h 269557"/>
                  <a:gd name="connsiteX258" fmla="*/ 180975 w 349567"/>
                  <a:gd name="connsiteY258" fmla="*/ 200978 h 269557"/>
                  <a:gd name="connsiteX259" fmla="*/ 196215 w 349567"/>
                  <a:gd name="connsiteY259" fmla="*/ 187642 h 269557"/>
                  <a:gd name="connsiteX260" fmla="*/ 196215 w 349567"/>
                  <a:gd name="connsiteY260" fmla="*/ 185738 h 269557"/>
                  <a:gd name="connsiteX261" fmla="*/ 200978 w 349567"/>
                  <a:gd name="connsiteY261" fmla="*/ 180023 h 269557"/>
                  <a:gd name="connsiteX262" fmla="*/ 205740 w 349567"/>
                  <a:gd name="connsiteY262" fmla="*/ 175260 h 269557"/>
                  <a:gd name="connsiteX263" fmla="*/ 203835 w 349567"/>
                  <a:gd name="connsiteY263" fmla="*/ 173355 h 269557"/>
                  <a:gd name="connsiteX264" fmla="*/ 198120 w 349567"/>
                  <a:gd name="connsiteY264" fmla="*/ 172403 h 269557"/>
                  <a:gd name="connsiteX265" fmla="*/ 200978 w 349567"/>
                  <a:gd name="connsiteY265" fmla="*/ 170498 h 269557"/>
                  <a:gd name="connsiteX266" fmla="*/ 200025 w 349567"/>
                  <a:gd name="connsiteY266" fmla="*/ 169545 h 269557"/>
                  <a:gd name="connsiteX267" fmla="*/ 202883 w 349567"/>
                  <a:gd name="connsiteY267" fmla="*/ 166688 h 269557"/>
                  <a:gd name="connsiteX268" fmla="*/ 208598 w 349567"/>
                  <a:gd name="connsiteY268" fmla="*/ 164783 h 269557"/>
                  <a:gd name="connsiteX269" fmla="*/ 197167 w 349567"/>
                  <a:gd name="connsiteY269" fmla="*/ 163830 h 269557"/>
                  <a:gd name="connsiteX270" fmla="*/ 209550 w 349567"/>
                  <a:gd name="connsiteY270" fmla="*/ 148590 h 269557"/>
                  <a:gd name="connsiteX271" fmla="*/ 211455 w 349567"/>
                  <a:gd name="connsiteY271" fmla="*/ 149542 h 269557"/>
                  <a:gd name="connsiteX272" fmla="*/ 207645 w 349567"/>
                  <a:gd name="connsiteY272" fmla="*/ 154305 h 269557"/>
                  <a:gd name="connsiteX273" fmla="*/ 220028 w 349567"/>
                  <a:gd name="connsiteY273" fmla="*/ 157163 h 269557"/>
                  <a:gd name="connsiteX274" fmla="*/ 218123 w 349567"/>
                  <a:gd name="connsiteY274" fmla="*/ 158115 h 269557"/>
                  <a:gd name="connsiteX275" fmla="*/ 226695 w 349567"/>
                  <a:gd name="connsiteY275" fmla="*/ 160973 h 269557"/>
                  <a:gd name="connsiteX276" fmla="*/ 221933 w 349567"/>
                  <a:gd name="connsiteY276" fmla="*/ 160973 h 269557"/>
                  <a:gd name="connsiteX277" fmla="*/ 267653 w 349567"/>
                  <a:gd name="connsiteY277" fmla="*/ 179070 h 269557"/>
                  <a:gd name="connsiteX278" fmla="*/ 232410 w 349567"/>
                  <a:gd name="connsiteY278" fmla="*/ 189548 h 269557"/>
                  <a:gd name="connsiteX279" fmla="*/ 228600 w 349567"/>
                  <a:gd name="connsiteY279" fmla="*/ 188595 h 269557"/>
                  <a:gd name="connsiteX280" fmla="*/ 227648 w 349567"/>
                  <a:gd name="connsiteY280" fmla="*/ 190500 h 269557"/>
                  <a:gd name="connsiteX281" fmla="*/ 222885 w 349567"/>
                  <a:gd name="connsiteY281" fmla="*/ 191453 h 269557"/>
                  <a:gd name="connsiteX282" fmla="*/ 217170 w 349567"/>
                  <a:gd name="connsiteY282" fmla="*/ 193358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</a:cxnLst>
                <a:rect l="l" t="t" r="r" b="b"/>
                <a:pathLst>
                  <a:path w="349567" h="269557">
                    <a:moveTo>
                      <a:pt x="306705" y="237173"/>
                    </a:moveTo>
                    <a:cubicBezTo>
                      <a:pt x="309563" y="234315"/>
                      <a:pt x="312420" y="231458"/>
                      <a:pt x="315278" y="227648"/>
                    </a:cubicBezTo>
                    <a:lnTo>
                      <a:pt x="315278" y="227648"/>
                    </a:lnTo>
                    <a:cubicBezTo>
                      <a:pt x="320993" y="221933"/>
                      <a:pt x="325755" y="215265"/>
                      <a:pt x="332423" y="210503"/>
                    </a:cubicBezTo>
                    <a:cubicBezTo>
                      <a:pt x="334328" y="208598"/>
                      <a:pt x="336233" y="207645"/>
                      <a:pt x="338138" y="205740"/>
                    </a:cubicBezTo>
                    <a:cubicBezTo>
                      <a:pt x="339090" y="204788"/>
                      <a:pt x="339090" y="203835"/>
                      <a:pt x="339090" y="203835"/>
                    </a:cubicBezTo>
                    <a:cubicBezTo>
                      <a:pt x="336233" y="204788"/>
                      <a:pt x="335280" y="206692"/>
                      <a:pt x="332423" y="207645"/>
                    </a:cubicBezTo>
                    <a:cubicBezTo>
                      <a:pt x="331470" y="207645"/>
                      <a:pt x="331470" y="206692"/>
                      <a:pt x="331470" y="206692"/>
                    </a:cubicBezTo>
                    <a:cubicBezTo>
                      <a:pt x="333375" y="205740"/>
                      <a:pt x="335280" y="203835"/>
                      <a:pt x="337185" y="202883"/>
                    </a:cubicBezTo>
                    <a:cubicBezTo>
                      <a:pt x="337185" y="202883"/>
                      <a:pt x="337185" y="202883"/>
                      <a:pt x="337185" y="202883"/>
                    </a:cubicBezTo>
                    <a:cubicBezTo>
                      <a:pt x="336233" y="202883"/>
                      <a:pt x="336233" y="201930"/>
                      <a:pt x="336233" y="201930"/>
                    </a:cubicBezTo>
                    <a:cubicBezTo>
                      <a:pt x="329565" y="201930"/>
                      <a:pt x="324803" y="205740"/>
                      <a:pt x="320040" y="210503"/>
                    </a:cubicBezTo>
                    <a:cubicBezTo>
                      <a:pt x="319088" y="211455"/>
                      <a:pt x="318135" y="209550"/>
                      <a:pt x="317183" y="209550"/>
                    </a:cubicBezTo>
                    <a:cubicBezTo>
                      <a:pt x="309563" y="212408"/>
                      <a:pt x="303848" y="219075"/>
                      <a:pt x="296228" y="221933"/>
                    </a:cubicBezTo>
                    <a:lnTo>
                      <a:pt x="296228" y="220980"/>
                    </a:lnTo>
                    <a:cubicBezTo>
                      <a:pt x="293370" y="221933"/>
                      <a:pt x="290513" y="223838"/>
                      <a:pt x="286703" y="224790"/>
                    </a:cubicBezTo>
                    <a:cubicBezTo>
                      <a:pt x="281940" y="225742"/>
                      <a:pt x="278130" y="225742"/>
                      <a:pt x="274320" y="225742"/>
                    </a:cubicBezTo>
                    <a:cubicBezTo>
                      <a:pt x="268605" y="226695"/>
                      <a:pt x="261938" y="227648"/>
                      <a:pt x="256223" y="228600"/>
                    </a:cubicBezTo>
                    <a:cubicBezTo>
                      <a:pt x="256223" y="228600"/>
                      <a:pt x="256223" y="228600"/>
                      <a:pt x="255270" y="228600"/>
                    </a:cubicBezTo>
                    <a:cubicBezTo>
                      <a:pt x="252413" y="229553"/>
                      <a:pt x="248603" y="230505"/>
                      <a:pt x="245745" y="232410"/>
                    </a:cubicBezTo>
                    <a:cubicBezTo>
                      <a:pt x="245745" y="232410"/>
                      <a:pt x="245745" y="232410"/>
                      <a:pt x="245745" y="232410"/>
                    </a:cubicBezTo>
                    <a:cubicBezTo>
                      <a:pt x="245745" y="232410"/>
                      <a:pt x="244792" y="233363"/>
                      <a:pt x="244792" y="233363"/>
                    </a:cubicBezTo>
                    <a:cubicBezTo>
                      <a:pt x="243840" y="234315"/>
                      <a:pt x="242888" y="235267"/>
                      <a:pt x="240983" y="236220"/>
                    </a:cubicBezTo>
                    <a:cubicBezTo>
                      <a:pt x="238125" y="238125"/>
                      <a:pt x="235267" y="240983"/>
                      <a:pt x="232410" y="242888"/>
                    </a:cubicBezTo>
                    <a:cubicBezTo>
                      <a:pt x="232410" y="242888"/>
                      <a:pt x="231458" y="242888"/>
                      <a:pt x="231458" y="242888"/>
                    </a:cubicBezTo>
                    <a:cubicBezTo>
                      <a:pt x="228600" y="245745"/>
                      <a:pt x="225742" y="248603"/>
                      <a:pt x="222885" y="250508"/>
                    </a:cubicBezTo>
                    <a:cubicBezTo>
                      <a:pt x="222885" y="250508"/>
                      <a:pt x="221933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49555"/>
                    </a:cubicBezTo>
                    <a:cubicBezTo>
                      <a:pt x="220980" y="248603"/>
                      <a:pt x="221933" y="247650"/>
                      <a:pt x="221933" y="247650"/>
                    </a:cubicBezTo>
                    <a:cubicBezTo>
                      <a:pt x="222885" y="246698"/>
                      <a:pt x="222885" y="245745"/>
                      <a:pt x="223838" y="245745"/>
                    </a:cubicBezTo>
                    <a:cubicBezTo>
                      <a:pt x="224790" y="244792"/>
                      <a:pt x="224790" y="243840"/>
                      <a:pt x="225742" y="242888"/>
                    </a:cubicBezTo>
                    <a:cubicBezTo>
                      <a:pt x="225742" y="242888"/>
                      <a:pt x="225742" y="241935"/>
                      <a:pt x="225742" y="241935"/>
                    </a:cubicBezTo>
                    <a:cubicBezTo>
                      <a:pt x="225742" y="241935"/>
                      <a:pt x="225742" y="241935"/>
                      <a:pt x="224790" y="241935"/>
                    </a:cubicBezTo>
                    <a:cubicBezTo>
                      <a:pt x="227648" y="239078"/>
                      <a:pt x="230505" y="237173"/>
                      <a:pt x="233363" y="235267"/>
                    </a:cubicBezTo>
                    <a:lnTo>
                      <a:pt x="233363" y="235267"/>
                    </a:lnTo>
                    <a:cubicBezTo>
                      <a:pt x="233363" y="235267"/>
                      <a:pt x="232410" y="235267"/>
                      <a:pt x="232410" y="234315"/>
                    </a:cubicBezTo>
                    <a:cubicBezTo>
                      <a:pt x="232410" y="234315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4315" y="233363"/>
                      <a:pt x="233363" y="234315"/>
                      <a:pt x="233363" y="234315"/>
                    </a:cubicBezTo>
                    <a:cubicBezTo>
                      <a:pt x="232410" y="235267"/>
                      <a:pt x="231458" y="238125"/>
                      <a:pt x="229553" y="237173"/>
                    </a:cubicBezTo>
                    <a:cubicBezTo>
                      <a:pt x="229553" y="237173"/>
                      <a:pt x="228600" y="237173"/>
                      <a:pt x="228600" y="237173"/>
                    </a:cubicBezTo>
                    <a:cubicBezTo>
                      <a:pt x="228600" y="237173"/>
                      <a:pt x="228600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6220"/>
                    </a:cubicBezTo>
                    <a:cubicBezTo>
                      <a:pt x="227648" y="236220"/>
                      <a:pt x="227648" y="236220"/>
                      <a:pt x="227648" y="236220"/>
                    </a:cubicBezTo>
                    <a:cubicBezTo>
                      <a:pt x="227648" y="236220"/>
                      <a:pt x="227648" y="235267"/>
                      <a:pt x="228600" y="235267"/>
                    </a:cubicBezTo>
                    <a:cubicBezTo>
                      <a:pt x="228600" y="235267"/>
                      <a:pt x="228600" y="235267"/>
                      <a:pt x="228600" y="234315"/>
                    </a:cubicBezTo>
                    <a:cubicBezTo>
                      <a:pt x="228600" y="234315"/>
                      <a:pt x="228600" y="233363"/>
                      <a:pt x="229553" y="233363"/>
                    </a:cubicBezTo>
                    <a:cubicBezTo>
                      <a:pt x="229553" y="233363"/>
                      <a:pt x="229553" y="232410"/>
                      <a:pt x="229553" y="232410"/>
                    </a:cubicBezTo>
                    <a:cubicBezTo>
                      <a:pt x="230505" y="231458"/>
                      <a:pt x="231458" y="230505"/>
                      <a:pt x="233363" y="229553"/>
                    </a:cubicBezTo>
                    <a:lnTo>
                      <a:pt x="233363" y="229553"/>
                    </a:lnTo>
                    <a:cubicBezTo>
                      <a:pt x="235267" y="228600"/>
                      <a:pt x="237173" y="227648"/>
                      <a:pt x="239078" y="226695"/>
                    </a:cubicBezTo>
                    <a:cubicBezTo>
                      <a:pt x="239078" y="226695"/>
                      <a:pt x="240030" y="225742"/>
                      <a:pt x="240030" y="225742"/>
                    </a:cubicBezTo>
                    <a:cubicBezTo>
                      <a:pt x="237173" y="226695"/>
                      <a:pt x="234315" y="227648"/>
                      <a:pt x="231458" y="229553"/>
                    </a:cubicBezTo>
                    <a:cubicBezTo>
                      <a:pt x="231458" y="229553"/>
                      <a:pt x="230505" y="229553"/>
                      <a:pt x="230505" y="229553"/>
                    </a:cubicBezTo>
                    <a:cubicBezTo>
                      <a:pt x="230505" y="229553"/>
                      <a:pt x="229553" y="229553"/>
                      <a:pt x="229553" y="229553"/>
                    </a:cubicBezTo>
                    <a:cubicBezTo>
                      <a:pt x="229553" y="229553"/>
                      <a:pt x="229553" y="229553"/>
                      <a:pt x="229553" y="229553"/>
                    </a:cubicBezTo>
                    <a:cubicBezTo>
                      <a:pt x="230505" y="228600"/>
                      <a:pt x="231458" y="227648"/>
                      <a:pt x="232410" y="226695"/>
                    </a:cubicBezTo>
                    <a:cubicBezTo>
                      <a:pt x="233363" y="226695"/>
                      <a:pt x="233363" y="226695"/>
                      <a:pt x="233363" y="227648"/>
                    </a:cubicBezTo>
                    <a:cubicBezTo>
                      <a:pt x="249555" y="215265"/>
                      <a:pt x="272415" y="218123"/>
                      <a:pt x="291465" y="211455"/>
                    </a:cubicBezTo>
                    <a:cubicBezTo>
                      <a:pt x="293370" y="210503"/>
                      <a:pt x="294323" y="209550"/>
                      <a:pt x="296228" y="208598"/>
                    </a:cubicBezTo>
                    <a:cubicBezTo>
                      <a:pt x="299085" y="207645"/>
                      <a:pt x="300990" y="204788"/>
                      <a:pt x="303848" y="203835"/>
                    </a:cubicBezTo>
                    <a:cubicBezTo>
                      <a:pt x="307658" y="200978"/>
                      <a:pt x="310515" y="197167"/>
                      <a:pt x="312420" y="192405"/>
                    </a:cubicBezTo>
                    <a:cubicBezTo>
                      <a:pt x="312420" y="191453"/>
                      <a:pt x="311468" y="191453"/>
                      <a:pt x="311468" y="191453"/>
                    </a:cubicBezTo>
                    <a:cubicBezTo>
                      <a:pt x="304800" y="199073"/>
                      <a:pt x="297180" y="203835"/>
                      <a:pt x="288608" y="208598"/>
                    </a:cubicBezTo>
                    <a:cubicBezTo>
                      <a:pt x="278130" y="214313"/>
                      <a:pt x="265748" y="213360"/>
                      <a:pt x="255270" y="214313"/>
                    </a:cubicBezTo>
                    <a:cubicBezTo>
                      <a:pt x="256223" y="213360"/>
                      <a:pt x="257175" y="213360"/>
                      <a:pt x="258128" y="213360"/>
                    </a:cubicBezTo>
                    <a:cubicBezTo>
                      <a:pt x="258128" y="211455"/>
                      <a:pt x="259080" y="211455"/>
                      <a:pt x="260033" y="210503"/>
                    </a:cubicBezTo>
                    <a:lnTo>
                      <a:pt x="261938" y="210503"/>
                    </a:lnTo>
                    <a:cubicBezTo>
                      <a:pt x="262890" y="210503"/>
                      <a:pt x="262890" y="209550"/>
                      <a:pt x="262890" y="209550"/>
                    </a:cubicBezTo>
                    <a:cubicBezTo>
                      <a:pt x="263843" y="209550"/>
                      <a:pt x="265748" y="208598"/>
                      <a:pt x="264795" y="208598"/>
                    </a:cubicBezTo>
                    <a:cubicBezTo>
                      <a:pt x="262890" y="206692"/>
                      <a:pt x="260033" y="210503"/>
                      <a:pt x="257175" y="208598"/>
                    </a:cubicBezTo>
                    <a:cubicBezTo>
                      <a:pt x="258128" y="207645"/>
                      <a:pt x="258128" y="205740"/>
                      <a:pt x="259080" y="205740"/>
                    </a:cubicBezTo>
                    <a:lnTo>
                      <a:pt x="260985" y="205740"/>
                    </a:lnTo>
                    <a:cubicBezTo>
                      <a:pt x="260985" y="204788"/>
                      <a:pt x="261938" y="203835"/>
                      <a:pt x="261938" y="203835"/>
                    </a:cubicBezTo>
                    <a:cubicBezTo>
                      <a:pt x="269558" y="199073"/>
                      <a:pt x="277178" y="195263"/>
                      <a:pt x="283845" y="191453"/>
                    </a:cubicBezTo>
                    <a:cubicBezTo>
                      <a:pt x="281940" y="191453"/>
                      <a:pt x="280988" y="193358"/>
                      <a:pt x="280035" y="192405"/>
                    </a:cubicBezTo>
                    <a:cubicBezTo>
                      <a:pt x="280988" y="192405"/>
                      <a:pt x="280035" y="190500"/>
                      <a:pt x="280988" y="190500"/>
                    </a:cubicBezTo>
                    <a:cubicBezTo>
                      <a:pt x="286703" y="188595"/>
                      <a:pt x="291465" y="185738"/>
                      <a:pt x="297180" y="183833"/>
                    </a:cubicBezTo>
                    <a:cubicBezTo>
                      <a:pt x="295275" y="183833"/>
                      <a:pt x="293370" y="185738"/>
                      <a:pt x="291465" y="183833"/>
                    </a:cubicBezTo>
                    <a:cubicBezTo>
                      <a:pt x="292418" y="182880"/>
                      <a:pt x="293370" y="181928"/>
                      <a:pt x="294323" y="181928"/>
                    </a:cubicBezTo>
                    <a:lnTo>
                      <a:pt x="294323" y="180023"/>
                    </a:lnTo>
                    <a:cubicBezTo>
                      <a:pt x="294323" y="179070"/>
                      <a:pt x="295275" y="179070"/>
                      <a:pt x="295275" y="179070"/>
                    </a:cubicBezTo>
                    <a:cubicBezTo>
                      <a:pt x="294323" y="179070"/>
                      <a:pt x="294323" y="178117"/>
                      <a:pt x="294323" y="178117"/>
                    </a:cubicBezTo>
                    <a:cubicBezTo>
                      <a:pt x="295275" y="177165"/>
                      <a:pt x="296228" y="177165"/>
                      <a:pt x="297180" y="176213"/>
                    </a:cubicBezTo>
                    <a:cubicBezTo>
                      <a:pt x="296228" y="176213"/>
                      <a:pt x="295275" y="176213"/>
                      <a:pt x="295275" y="175260"/>
                    </a:cubicBezTo>
                    <a:cubicBezTo>
                      <a:pt x="297180" y="173355"/>
                      <a:pt x="299085" y="172403"/>
                      <a:pt x="301943" y="172403"/>
                    </a:cubicBezTo>
                    <a:cubicBezTo>
                      <a:pt x="300990" y="171450"/>
                      <a:pt x="300038" y="172403"/>
                      <a:pt x="300038" y="171450"/>
                    </a:cubicBezTo>
                    <a:cubicBezTo>
                      <a:pt x="300038" y="170498"/>
                      <a:pt x="300990" y="170498"/>
                      <a:pt x="300990" y="170498"/>
                    </a:cubicBezTo>
                    <a:lnTo>
                      <a:pt x="300990" y="170498"/>
                    </a:lnTo>
                    <a:cubicBezTo>
                      <a:pt x="300038" y="169545"/>
                      <a:pt x="300038" y="168592"/>
                      <a:pt x="300038" y="168592"/>
                    </a:cubicBezTo>
                    <a:cubicBezTo>
                      <a:pt x="302895" y="164783"/>
                      <a:pt x="302895" y="160020"/>
                      <a:pt x="304800" y="156210"/>
                    </a:cubicBezTo>
                    <a:cubicBezTo>
                      <a:pt x="303848" y="156210"/>
                      <a:pt x="303848" y="156210"/>
                      <a:pt x="303848" y="155258"/>
                    </a:cubicBezTo>
                    <a:cubicBezTo>
                      <a:pt x="299085" y="160973"/>
                      <a:pt x="290513" y="162878"/>
                      <a:pt x="282893" y="164783"/>
                    </a:cubicBezTo>
                    <a:lnTo>
                      <a:pt x="280035" y="164783"/>
                    </a:lnTo>
                    <a:cubicBezTo>
                      <a:pt x="277178" y="165735"/>
                      <a:pt x="274320" y="165735"/>
                      <a:pt x="271463" y="163830"/>
                    </a:cubicBezTo>
                    <a:cubicBezTo>
                      <a:pt x="269558" y="162878"/>
                      <a:pt x="268605" y="160973"/>
                      <a:pt x="266700" y="160020"/>
                    </a:cubicBezTo>
                    <a:cubicBezTo>
                      <a:pt x="262890" y="157163"/>
                      <a:pt x="258128" y="155258"/>
                      <a:pt x="254317" y="154305"/>
                    </a:cubicBezTo>
                    <a:cubicBezTo>
                      <a:pt x="240983" y="150495"/>
                      <a:pt x="227648" y="148590"/>
                      <a:pt x="215265" y="148590"/>
                    </a:cubicBezTo>
                    <a:cubicBezTo>
                      <a:pt x="220980" y="145733"/>
                      <a:pt x="226695" y="145733"/>
                      <a:pt x="233363" y="143828"/>
                    </a:cubicBezTo>
                    <a:cubicBezTo>
                      <a:pt x="241935" y="140970"/>
                      <a:pt x="250508" y="138113"/>
                      <a:pt x="259080" y="139065"/>
                    </a:cubicBezTo>
                    <a:cubicBezTo>
                      <a:pt x="257175" y="138113"/>
                      <a:pt x="255270" y="139065"/>
                      <a:pt x="254317" y="139065"/>
                    </a:cubicBezTo>
                    <a:cubicBezTo>
                      <a:pt x="246698" y="138113"/>
                      <a:pt x="240030" y="140970"/>
                      <a:pt x="232410" y="141923"/>
                    </a:cubicBezTo>
                    <a:cubicBezTo>
                      <a:pt x="227648" y="142875"/>
                      <a:pt x="222885" y="144780"/>
                      <a:pt x="217170" y="145733"/>
                    </a:cubicBezTo>
                    <a:cubicBezTo>
                      <a:pt x="214313" y="146685"/>
                      <a:pt x="212408" y="149542"/>
                      <a:pt x="208598" y="149542"/>
                    </a:cubicBezTo>
                    <a:lnTo>
                      <a:pt x="208598" y="147638"/>
                    </a:lnTo>
                    <a:cubicBezTo>
                      <a:pt x="213360" y="141923"/>
                      <a:pt x="220028" y="135255"/>
                      <a:pt x="227648" y="135255"/>
                    </a:cubicBezTo>
                    <a:cubicBezTo>
                      <a:pt x="237173" y="133350"/>
                      <a:pt x="245745" y="135255"/>
                      <a:pt x="254317" y="136208"/>
                    </a:cubicBezTo>
                    <a:cubicBezTo>
                      <a:pt x="260985" y="137160"/>
                      <a:pt x="266700" y="138113"/>
                      <a:pt x="273368" y="140017"/>
                    </a:cubicBezTo>
                    <a:cubicBezTo>
                      <a:pt x="276225" y="140017"/>
                      <a:pt x="276225" y="143828"/>
                      <a:pt x="278130" y="144780"/>
                    </a:cubicBezTo>
                    <a:cubicBezTo>
                      <a:pt x="280988" y="145733"/>
                      <a:pt x="283845" y="144780"/>
                      <a:pt x="287655" y="146685"/>
                    </a:cubicBezTo>
                    <a:cubicBezTo>
                      <a:pt x="287655" y="145733"/>
                      <a:pt x="286703" y="144780"/>
                      <a:pt x="287655" y="143828"/>
                    </a:cubicBezTo>
                    <a:cubicBezTo>
                      <a:pt x="289560" y="141923"/>
                      <a:pt x="292418" y="144780"/>
                      <a:pt x="294323" y="142875"/>
                    </a:cubicBezTo>
                    <a:cubicBezTo>
                      <a:pt x="298133" y="140017"/>
                      <a:pt x="290513" y="136208"/>
                      <a:pt x="288608" y="132398"/>
                    </a:cubicBezTo>
                    <a:cubicBezTo>
                      <a:pt x="288608" y="131445"/>
                      <a:pt x="289560" y="131445"/>
                      <a:pt x="289560" y="131445"/>
                    </a:cubicBezTo>
                    <a:cubicBezTo>
                      <a:pt x="293370" y="135255"/>
                      <a:pt x="296228" y="139065"/>
                      <a:pt x="301943" y="141923"/>
                    </a:cubicBezTo>
                    <a:cubicBezTo>
                      <a:pt x="304800" y="142875"/>
                      <a:pt x="310515" y="144780"/>
                      <a:pt x="309563" y="140970"/>
                    </a:cubicBezTo>
                    <a:cubicBezTo>
                      <a:pt x="306705" y="135255"/>
                      <a:pt x="301943" y="130492"/>
                      <a:pt x="298133" y="125730"/>
                    </a:cubicBezTo>
                    <a:lnTo>
                      <a:pt x="298133" y="123825"/>
                    </a:lnTo>
                    <a:cubicBezTo>
                      <a:pt x="297180" y="123825"/>
                      <a:pt x="297180" y="122873"/>
                      <a:pt x="296228" y="122873"/>
                    </a:cubicBezTo>
                    <a:lnTo>
                      <a:pt x="296228" y="120015"/>
                    </a:lnTo>
                    <a:cubicBezTo>
                      <a:pt x="294323" y="119063"/>
                      <a:pt x="294323" y="117158"/>
                      <a:pt x="293370" y="115253"/>
                    </a:cubicBezTo>
                    <a:cubicBezTo>
                      <a:pt x="291465" y="112395"/>
                      <a:pt x="292418" y="109538"/>
                      <a:pt x="291465" y="105728"/>
                    </a:cubicBezTo>
                    <a:cubicBezTo>
                      <a:pt x="291465" y="103823"/>
                      <a:pt x="291465" y="100965"/>
                      <a:pt x="290513" y="98108"/>
                    </a:cubicBezTo>
                    <a:cubicBezTo>
                      <a:pt x="288608" y="89535"/>
                      <a:pt x="286703" y="81915"/>
                      <a:pt x="285750" y="73342"/>
                    </a:cubicBezTo>
                    <a:cubicBezTo>
                      <a:pt x="284798" y="63817"/>
                      <a:pt x="291465" y="56197"/>
                      <a:pt x="296228" y="47625"/>
                    </a:cubicBezTo>
                    <a:cubicBezTo>
                      <a:pt x="300038" y="41910"/>
                      <a:pt x="303848" y="35242"/>
                      <a:pt x="310515" y="31433"/>
                    </a:cubicBezTo>
                    <a:cubicBezTo>
                      <a:pt x="312420" y="25718"/>
                      <a:pt x="316230" y="20003"/>
                      <a:pt x="320040" y="15240"/>
                    </a:cubicBezTo>
                    <a:cubicBezTo>
                      <a:pt x="323850" y="10478"/>
                      <a:pt x="330518" y="7620"/>
                      <a:pt x="336233" y="4763"/>
                    </a:cubicBezTo>
                    <a:cubicBezTo>
                      <a:pt x="342900" y="1905"/>
                      <a:pt x="349568" y="0"/>
                      <a:pt x="349568" y="0"/>
                    </a:cubicBezTo>
                    <a:lnTo>
                      <a:pt x="0" y="0"/>
                    </a:lnTo>
                    <a:lnTo>
                      <a:pt x="0" y="269558"/>
                    </a:lnTo>
                    <a:lnTo>
                      <a:pt x="247650" y="269558"/>
                    </a:lnTo>
                    <a:cubicBezTo>
                      <a:pt x="257175" y="262890"/>
                      <a:pt x="266700" y="259080"/>
                      <a:pt x="280988" y="252413"/>
                    </a:cubicBezTo>
                    <a:cubicBezTo>
                      <a:pt x="286703" y="249555"/>
                      <a:pt x="301943" y="242888"/>
                      <a:pt x="306705" y="237173"/>
                    </a:cubicBezTo>
                    <a:moveTo>
                      <a:pt x="227648" y="200978"/>
                    </a:moveTo>
                    <a:cubicBezTo>
                      <a:pt x="226695" y="200978"/>
                      <a:pt x="224790" y="201930"/>
                      <a:pt x="224790" y="200025"/>
                    </a:cubicBezTo>
                    <a:cubicBezTo>
                      <a:pt x="225742" y="197167"/>
                      <a:pt x="228600" y="197167"/>
                      <a:pt x="230505" y="196215"/>
                    </a:cubicBezTo>
                    <a:cubicBezTo>
                      <a:pt x="231458" y="195263"/>
                      <a:pt x="233363" y="194310"/>
                      <a:pt x="234315" y="195263"/>
                    </a:cubicBezTo>
                    <a:cubicBezTo>
                      <a:pt x="235267" y="197167"/>
                      <a:pt x="237173" y="196215"/>
                      <a:pt x="238125" y="197167"/>
                    </a:cubicBezTo>
                    <a:cubicBezTo>
                      <a:pt x="235267" y="200978"/>
                      <a:pt x="231458" y="200025"/>
                      <a:pt x="227648" y="200978"/>
                    </a:cubicBezTo>
                    <a:moveTo>
                      <a:pt x="149542" y="189548"/>
                    </a:moveTo>
                    <a:cubicBezTo>
                      <a:pt x="149542" y="189548"/>
                      <a:pt x="148590" y="188595"/>
                      <a:pt x="148590" y="188595"/>
                    </a:cubicBezTo>
                    <a:cubicBezTo>
                      <a:pt x="155258" y="180023"/>
                      <a:pt x="160020" y="171450"/>
                      <a:pt x="164783" y="162878"/>
                    </a:cubicBezTo>
                    <a:cubicBezTo>
                      <a:pt x="171450" y="159067"/>
                      <a:pt x="177165" y="154305"/>
                      <a:pt x="181928" y="148590"/>
                    </a:cubicBezTo>
                    <a:cubicBezTo>
                      <a:pt x="190500" y="139065"/>
                      <a:pt x="200025" y="131445"/>
                      <a:pt x="210503" y="125730"/>
                    </a:cubicBezTo>
                    <a:cubicBezTo>
                      <a:pt x="214313" y="123825"/>
                      <a:pt x="220028" y="124778"/>
                      <a:pt x="223838" y="126683"/>
                    </a:cubicBezTo>
                    <a:cubicBezTo>
                      <a:pt x="221933" y="128588"/>
                      <a:pt x="220028" y="128588"/>
                      <a:pt x="218123" y="129540"/>
                    </a:cubicBezTo>
                    <a:cubicBezTo>
                      <a:pt x="217170" y="129540"/>
                      <a:pt x="217170" y="129540"/>
                      <a:pt x="216217" y="128588"/>
                    </a:cubicBezTo>
                    <a:cubicBezTo>
                      <a:pt x="217170" y="127635"/>
                      <a:pt x="217170" y="127635"/>
                      <a:pt x="217170" y="126683"/>
                    </a:cubicBezTo>
                    <a:cubicBezTo>
                      <a:pt x="212408" y="132398"/>
                      <a:pt x="204788" y="135255"/>
                      <a:pt x="200978" y="141923"/>
                    </a:cubicBezTo>
                    <a:cubicBezTo>
                      <a:pt x="198120" y="146685"/>
                      <a:pt x="196215" y="153353"/>
                      <a:pt x="189548" y="155258"/>
                    </a:cubicBezTo>
                    <a:cubicBezTo>
                      <a:pt x="187642" y="156210"/>
                      <a:pt x="190500" y="153353"/>
                      <a:pt x="188595" y="154305"/>
                    </a:cubicBezTo>
                    <a:cubicBezTo>
                      <a:pt x="173355" y="164783"/>
                      <a:pt x="161925" y="176213"/>
                      <a:pt x="149542" y="189548"/>
                    </a:cubicBezTo>
                    <a:moveTo>
                      <a:pt x="192405" y="156210"/>
                    </a:moveTo>
                    <a:cubicBezTo>
                      <a:pt x="191453" y="157163"/>
                      <a:pt x="191453" y="157163"/>
                      <a:pt x="190500" y="158115"/>
                    </a:cubicBezTo>
                    <a:cubicBezTo>
                      <a:pt x="189548" y="159067"/>
                      <a:pt x="189548" y="160020"/>
                      <a:pt x="188595" y="160020"/>
                    </a:cubicBezTo>
                    <a:cubicBezTo>
                      <a:pt x="187642" y="160020"/>
                      <a:pt x="187642" y="160020"/>
                      <a:pt x="187642" y="159067"/>
                    </a:cubicBezTo>
                    <a:cubicBezTo>
                      <a:pt x="188595" y="157163"/>
                      <a:pt x="189548" y="155258"/>
                      <a:pt x="191453" y="154305"/>
                    </a:cubicBezTo>
                    <a:cubicBezTo>
                      <a:pt x="192405" y="155258"/>
                      <a:pt x="192405" y="155258"/>
                      <a:pt x="192405" y="156210"/>
                    </a:cubicBezTo>
                    <a:moveTo>
                      <a:pt x="216217" y="232410"/>
                    </a:moveTo>
                    <a:cubicBezTo>
                      <a:pt x="216217" y="233363"/>
                      <a:pt x="215265" y="233363"/>
                      <a:pt x="215265" y="234315"/>
                    </a:cubicBezTo>
                    <a:cubicBezTo>
                      <a:pt x="216217" y="234315"/>
                      <a:pt x="216217" y="234315"/>
                      <a:pt x="216217" y="235267"/>
                    </a:cubicBezTo>
                    <a:cubicBezTo>
                      <a:pt x="215265" y="236220"/>
                      <a:pt x="214313" y="237173"/>
                      <a:pt x="212408" y="238125"/>
                    </a:cubicBezTo>
                    <a:cubicBezTo>
                      <a:pt x="212408" y="238125"/>
                      <a:pt x="212408" y="238125"/>
                      <a:pt x="211455" y="238125"/>
                    </a:cubicBezTo>
                    <a:cubicBezTo>
                      <a:pt x="210503" y="239078"/>
                      <a:pt x="210503" y="239078"/>
                      <a:pt x="209550" y="240030"/>
                    </a:cubicBezTo>
                    <a:cubicBezTo>
                      <a:pt x="208598" y="240983"/>
                      <a:pt x="205740" y="240030"/>
                      <a:pt x="206692" y="239078"/>
                    </a:cubicBezTo>
                    <a:cubicBezTo>
                      <a:pt x="207645" y="238125"/>
                      <a:pt x="209550" y="236220"/>
                      <a:pt x="210503" y="235267"/>
                    </a:cubicBezTo>
                    <a:cubicBezTo>
                      <a:pt x="211455" y="234315"/>
                      <a:pt x="212408" y="234315"/>
                      <a:pt x="212408" y="233363"/>
                    </a:cubicBezTo>
                    <a:cubicBezTo>
                      <a:pt x="212408" y="233363"/>
                      <a:pt x="213360" y="232410"/>
                      <a:pt x="213360" y="232410"/>
                    </a:cubicBezTo>
                    <a:cubicBezTo>
                      <a:pt x="213360" y="231458"/>
                      <a:pt x="216217" y="231458"/>
                      <a:pt x="216217" y="232410"/>
                    </a:cubicBezTo>
                    <a:moveTo>
                      <a:pt x="206692" y="228600"/>
                    </a:moveTo>
                    <a:cubicBezTo>
                      <a:pt x="206692" y="228600"/>
                      <a:pt x="206692" y="228600"/>
                      <a:pt x="206692" y="228600"/>
                    </a:cubicBezTo>
                    <a:cubicBezTo>
                      <a:pt x="204788" y="230505"/>
                      <a:pt x="202883" y="231458"/>
                      <a:pt x="200978" y="232410"/>
                    </a:cubicBezTo>
                    <a:cubicBezTo>
                      <a:pt x="199073" y="233363"/>
                      <a:pt x="196215" y="234315"/>
                      <a:pt x="194310" y="235267"/>
                    </a:cubicBezTo>
                    <a:cubicBezTo>
                      <a:pt x="194310" y="235267"/>
                      <a:pt x="194310" y="235267"/>
                      <a:pt x="194310" y="235267"/>
                    </a:cubicBezTo>
                    <a:cubicBezTo>
                      <a:pt x="194310" y="235267"/>
                      <a:pt x="193358" y="235267"/>
                      <a:pt x="193358" y="235267"/>
                    </a:cubicBezTo>
                    <a:cubicBezTo>
                      <a:pt x="191453" y="236220"/>
                      <a:pt x="189548" y="238125"/>
                      <a:pt x="188595" y="239078"/>
                    </a:cubicBezTo>
                    <a:cubicBezTo>
                      <a:pt x="188595" y="239078"/>
                      <a:pt x="188595" y="239078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5738" y="241935"/>
                      <a:pt x="185738" y="241935"/>
                    </a:cubicBezTo>
                    <a:cubicBezTo>
                      <a:pt x="185738" y="241935"/>
                      <a:pt x="185738" y="242888"/>
                      <a:pt x="184785" y="242888"/>
                    </a:cubicBezTo>
                    <a:cubicBezTo>
                      <a:pt x="184785" y="242888"/>
                      <a:pt x="183833" y="242888"/>
                      <a:pt x="183833" y="242888"/>
                    </a:cubicBezTo>
                    <a:cubicBezTo>
                      <a:pt x="183833" y="242888"/>
                      <a:pt x="183833" y="242888"/>
                      <a:pt x="183833" y="242888"/>
                    </a:cubicBezTo>
                    <a:cubicBezTo>
                      <a:pt x="183833" y="242888"/>
                      <a:pt x="182880" y="242888"/>
                      <a:pt x="182880" y="242888"/>
                    </a:cubicBezTo>
                    <a:cubicBezTo>
                      <a:pt x="182880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0975" y="243840"/>
                      <a:pt x="180975" y="243840"/>
                      <a:pt x="180023" y="244792"/>
                    </a:cubicBezTo>
                    <a:cubicBezTo>
                      <a:pt x="179070" y="245745"/>
                      <a:pt x="178117" y="246698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8603"/>
                    </a:cubicBezTo>
                    <a:lnTo>
                      <a:pt x="177165" y="248603"/>
                    </a:ln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7650"/>
                      <a:pt x="177165" y="247650"/>
                    </a:cubicBezTo>
                    <a:lnTo>
                      <a:pt x="177165" y="247650"/>
                    </a:ln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8117" y="246698"/>
                      <a:pt x="178117" y="246698"/>
                      <a:pt x="179070" y="245745"/>
                    </a:cubicBezTo>
                    <a:cubicBezTo>
                      <a:pt x="179070" y="245745"/>
                      <a:pt x="179070" y="245745"/>
                      <a:pt x="179070" y="245745"/>
                    </a:cubicBezTo>
                    <a:cubicBezTo>
                      <a:pt x="179070" y="245745"/>
                      <a:pt x="179070" y="245745"/>
                      <a:pt x="180023" y="244792"/>
                    </a:cubicBezTo>
                    <a:cubicBezTo>
                      <a:pt x="180023" y="244792"/>
                      <a:pt x="180975" y="243840"/>
                      <a:pt x="180975" y="243840"/>
                    </a:cubicBezTo>
                    <a:cubicBezTo>
                      <a:pt x="180975" y="243840"/>
                      <a:pt x="180975" y="243840"/>
                      <a:pt x="180975" y="243840"/>
                    </a:cubicBezTo>
                    <a:cubicBezTo>
                      <a:pt x="181928" y="242888"/>
                      <a:pt x="181928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3833" y="240983"/>
                      <a:pt x="183833" y="240983"/>
                    </a:cubicBezTo>
                    <a:cubicBezTo>
                      <a:pt x="183833" y="240983"/>
                      <a:pt x="183833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8125"/>
                    </a:cubicBezTo>
                    <a:cubicBezTo>
                      <a:pt x="185738" y="238125"/>
                      <a:pt x="185738" y="238125"/>
                      <a:pt x="185738" y="238125"/>
                    </a:cubicBezTo>
                    <a:cubicBezTo>
                      <a:pt x="185738" y="238125"/>
                      <a:pt x="185738" y="237173"/>
                      <a:pt x="185738" y="237173"/>
                    </a:cubicBezTo>
                    <a:cubicBezTo>
                      <a:pt x="185738" y="237173"/>
                      <a:pt x="185738" y="237173"/>
                      <a:pt x="185738" y="237173"/>
                    </a:cubicBezTo>
                    <a:cubicBezTo>
                      <a:pt x="186690" y="236220"/>
                      <a:pt x="186690" y="235267"/>
                      <a:pt x="187642" y="234315"/>
                    </a:cubicBezTo>
                    <a:cubicBezTo>
                      <a:pt x="187642" y="234315"/>
                      <a:pt x="187642" y="234315"/>
                      <a:pt x="187642" y="234315"/>
                    </a:cubicBezTo>
                    <a:cubicBezTo>
                      <a:pt x="186690" y="234315"/>
                      <a:pt x="186690" y="235267"/>
                      <a:pt x="185738" y="236220"/>
                    </a:cubicBezTo>
                    <a:cubicBezTo>
                      <a:pt x="184785" y="236220"/>
                      <a:pt x="183833" y="236220"/>
                      <a:pt x="184785" y="235267"/>
                    </a:cubicBezTo>
                    <a:cubicBezTo>
                      <a:pt x="184785" y="235267"/>
                      <a:pt x="185738" y="234315"/>
                      <a:pt x="185738" y="234315"/>
                    </a:cubicBezTo>
                    <a:cubicBezTo>
                      <a:pt x="185738" y="234315"/>
                      <a:pt x="185738" y="234315"/>
                      <a:pt x="185738" y="234315"/>
                    </a:cubicBezTo>
                    <a:cubicBezTo>
                      <a:pt x="186690" y="233363"/>
                      <a:pt x="187642" y="232410"/>
                      <a:pt x="188595" y="231458"/>
                    </a:cubicBezTo>
                    <a:cubicBezTo>
                      <a:pt x="189548" y="231458"/>
                      <a:pt x="189548" y="230505"/>
                      <a:pt x="190500" y="230505"/>
                    </a:cubicBezTo>
                    <a:cubicBezTo>
                      <a:pt x="190500" y="230505"/>
                      <a:pt x="190500" y="230505"/>
                      <a:pt x="190500" y="230505"/>
                    </a:cubicBezTo>
                    <a:cubicBezTo>
                      <a:pt x="190500" y="230505"/>
                      <a:pt x="191453" y="229553"/>
                      <a:pt x="191453" y="229553"/>
                    </a:cubicBezTo>
                    <a:cubicBezTo>
                      <a:pt x="191453" y="229553"/>
                      <a:pt x="191453" y="229553"/>
                      <a:pt x="191453" y="229553"/>
                    </a:cubicBezTo>
                    <a:cubicBezTo>
                      <a:pt x="196215" y="224790"/>
                      <a:pt x="204788" y="224790"/>
                      <a:pt x="211455" y="221933"/>
                    </a:cubicBezTo>
                    <a:cubicBezTo>
                      <a:pt x="214313" y="220980"/>
                      <a:pt x="217170" y="222885"/>
                      <a:pt x="220028" y="221933"/>
                    </a:cubicBezTo>
                    <a:cubicBezTo>
                      <a:pt x="221933" y="221933"/>
                      <a:pt x="222885" y="221933"/>
                      <a:pt x="224790" y="222885"/>
                    </a:cubicBezTo>
                    <a:cubicBezTo>
                      <a:pt x="215265" y="222885"/>
                      <a:pt x="211455" y="225742"/>
                      <a:pt x="206692" y="228600"/>
                    </a:cubicBezTo>
                    <a:moveTo>
                      <a:pt x="217170" y="193358"/>
                    </a:moveTo>
                    <a:cubicBezTo>
                      <a:pt x="216217" y="192405"/>
                      <a:pt x="219075" y="193358"/>
                      <a:pt x="219075" y="192405"/>
                    </a:cubicBezTo>
                    <a:lnTo>
                      <a:pt x="215265" y="192405"/>
                    </a:lnTo>
                    <a:cubicBezTo>
                      <a:pt x="214313" y="192405"/>
                      <a:pt x="214313" y="191453"/>
                      <a:pt x="214313" y="191453"/>
                    </a:cubicBezTo>
                    <a:cubicBezTo>
                      <a:pt x="211455" y="192405"/>
                      <a:pt x="208598" y="193358"/>
                      <a:pt x="205740" y="193358"/>
                    </a:cubicBezTo>
                    <a:cubicBezTo>
                      <a:pt x="201930" y="194310"/>
                      <a:pt x="199073" y="197167"/>
                      <a:pt x="195263" y="198120"/>
                    </a:cubicBezTo>
                    <a:cubicBezTo>
                      <a:pt x="189548" y="200025"/>
                      <a:pt x="184785" y="204788"/>
                      <a:pt x="179070" y="206692"/>
                    </a:cubicBezTo>
                    <a:cubicBezTo>
                      <a:pt x="178117" y="206692"/>
                      <a:pt x="178117" y="205740"/>
                      <a:pt x="178117" y="205740"/>
                    </a:cubicBezTo>
                    <a:cubicBezTo>
                      <a:pt x="179070" y="203835"/>
                      <a:pt x="180975" y="203835"/>
                      <a:pt x="181928" y="201930"/>
                    </a:cubicBezTo>
                    <a:cubicBezTo>
                      <a:pt x="181928" y="200978"/>
                      <a:pt x="181928" y="200978"/>
                      <a:pt x="180975" y="200978"/>
                    </a:cubicBezTo>
                    <a:cubicBezTo>
                      <a:pt x="184785" y="195263"/>
                      <a:pt x="190500" y="192405"/>
                      <a:pt x="196215" y="187642"/>
                    </a:cubicBezTo>
                    <a:lnTo>
                      <a:pt x="196215" y="185738"/>
                    </a:lnTo>
                    <a:cubicBezTo>
                      <a:pt x="198120" y="183833"/>
                      <a:pt x="200025" y="182880"/>
                      <a:pt x="200978" y="180023"/>
                    </a:cubicBezTo>
                    <a:cubicBezTo>
                      <a:pt x="201930" y="178117"/>
                      <a:pt x="203835" y="176213"/>
                      <a:pt x="205740" y="175260"/>
                    </a:cubicBezTo>
                    <a:cubicBezTo>
                      <a:pt x="204788" y="174308"/>
                      <a:pt x="203835" y="174308"/>
                      <a:pt x="203835" y="173355"/>
                    </a:cubicBezTo>
                    <a:cubicBezTo>
                      <a:pt x="201930" y="173355"/>
                      <a:pt x="200025" y="174308"/>
                      <a:pt x="198120" y="172403"/>
                    </a:cubicBezTo>
                    <a:cubicBezTo>
                      <a:pt x="199073" y="171450"/>
                      <a:pt x="200025" y="170498"/>
                      <a:pt x="200978" y="170498"/>
                    </a:cubicBezTo>
                    <a:cubicBezTo>
                      <a:pt x="200978" y="170498"/>
                      <a:pt x="200025" y="170498"/>
                      <a:pt x="200025" y="169545"/>
                    </a:cubicBezTo>
                    <a:cubicBezTo>
                      <a:pt x="199073" y="168592"/>
                      <a:pt x="200978" y="167640"/>
                      <a:pt x="202883" y="166688"/>
                    </a:cubicBezTo>
                    <a:cubicBezTo>
                      <a:pt x="204788" y="165735"/>
                      <a:pt x="207645" y="165735"/>
                      <a:pt x="208598" y="164783"/>
                    </a:cubicBezTo>
                    <a:cubicBezTo>
                      <a:pt x="204788" y="163830"/>
                      <a:pt x="200978" y="165735"/>
                      <a:pt x="197167" y="163830"/>
                    </a:cubicBezTo>
                    <a:cubicBezTo>
                      <a:pt x="200025" y="157163"/>
                      <a:pt x="203835" y="151448"/>
                      <a:pt x="209550" y="148590"/>
                    </a:cubicBezTo>
                    <a:cubicBezTo>
                      <a:pt x="210503" y="148590"/>
                      <a:pt x="211455" y="148590"/>
                      <a:pt x="211455" y="149542"/>
                    </a:cubicBezTo>
                    <a:cubicBezTo>
                      <a:pt x="211455" y="152400"/>
                      <a:pt x="209550" y="154305"/>
                      <a:pt x="207645" y="154305"/>
                    </a:cubicBezTo>
                    <a:cubicBezTo>
                      <a:pt x="211455" y="155258"/>
                      <a:pt x="216217" y="155258"/>
                      <a:pt x="220028" y="157163"/>
                    </a:cubicBezTo>
                    <a:cubicBezTo>
                      <a:pt x="219075" y="158115"/>
                      <a:pt x="218123" y="158115"/>
                      <a:pt x="218123" y="158115"/>
                    </a:cubicBezTo>
                    <a:cubicBezTo>
                      <a:pt x="220980" y="160020"/>
                      <a:pt x="223838" y="159067"/>
                      <a:pt x="226695" y="160973"/>
                    </a:cubicBezTo>
                    <a:cubicBezTo>
                      <a:pt x="224790" y="162878"/>
                      <a:pt x="223838" y="160973"/>
                      <a:pt x="221933" y="160973"/>
                    </a:cubicBezTo>
                    <a:cubicBezTo>
                      <a:pt x="238125" y="165735"/>
                      <a:pt x="254317" y="169545"/>
                      <a:pt x="267653" y="179070"/>
                    </a:cubicBezTo>
                    <a:cubicBezTo>
                      <a:pt x="256223" y="184785"/>
                      <a:pt x="244792" y="187642"/>
                      <a:pt x="232410" y="189548"/>
                    </a:cubicBezTo>
                    <a:cubicBezTo>
                      <a:pt x="230505" y="189548"/>
                      <a:pt x="229553" y="189548"/>
                      <a:pt x="228600" y="188595"/>
                    </a:cubicBezTo>
                    <a:cubicBezTo>
                      <a:pt x="228600" y="189548"/>
                      <a:pt x="228600" y="190500"/>
                      <a:pt x="227648" y="190500"/>
                    </a:cubicBezTo>
                    <a:cubicBezTo>
                      <a:pt x="225742" y="190500"/>
                      <a:pt x="223838" y="190500"/>
                      <a:pt x="222885" y="191453"/>
                    </a:cubicBezTo>
                    <a:cubicBezTo>
                      <a:pt x="221933" y="194310"/>
                      <a:pt x="219075" y="194310"/>
                      <a:pt x="217170" y="193358"/>
                    </a:cubicBezTo>
                  </a:path>
                </a:pathLst>
              </a:custGeom>
              <a:solidFill>
                <a:srgbClr val="0000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8" name="Forme libre : forme 27">
                <a:extLst>
                  <a:ext uri="{FF2B5EF4-FFF2-40B4-BE49-F238E27FC236}">
                    <a16:creationId xmlns:a16="http://schemas.microsoft.com/office/drawing/2014/main" id="{5128CC23-F937-4C44-A534-5F4DE1A7D780}"/>
                  </a:ext>
                </a:extLst>
              </p:cNvPr>
              <p:cNvSpPr/>
              <p:nvPr/>
            </p:nvSpPr>
            <p:spPr>
              <a:xfrm>
                <a:off x="687476" y="269557"/>
                <a:ext cx="327888" cy="269557"/>
              </a:xfrm>
              <a:custGeom>
                <a:avLst/>
                <a:gdLst>
                  <a:gd name="connsiteX0" fmla="*/ 325031 w 327888"/>
                  <a:gd name="connsiteY0" fmla="*/ 0 h 269557"/>
                  <a:gd name="connsiteX1" fmla="*/ 34519 w 327888"/>
                  <a:gd name="connsiteY1" fmla="*/ 0 h 269557"/>
                  <a:gd name="connsiteX2" fmla="*/ 37376 w 327888"/>
                  <a:gd name="connsiteY2" fmla="*/ 953 h 269557"/>
                  <a:gd name="connsiteX3" fmla="*/ 44996 w 327888"/>
                  <a:gd name="connsiteY3" fmla="*/ 4763 h 269557"/>
                  <a:gd name="connsiteX4" fmla="*/ 54521 w 327888"/>
                  <a:gd name="connsiteY4" fmla="*/ 13335 h 269557"/>
                  <a:gd name="connsiteX5" fmla="*/ 56426 w 327888"/>
                  <a:gd name="connsiteY5" fmla="*/ 20003 h 269557"/>
                  <a:gd name="connsiteX6" fmla="*/ 52616 w 327888"/>
                  <a:gd name="connsiteY6" fmla="*/ 27623 h 269557"/>
                  <a:gd name="connsiteX7" fmla="*/ 42139 w 327888"/>
                  <a:gd name="connsiteY7" fmla="*/ 28575 h 269557"/>
                  <a:gd name="connsiteX8" fmla="*/ 36424 w 327888"/>
                  <a:gd name="connsiteY8" fmla="*/ 27623 h 269557"/>
                  <a:gd name="connsiteX9" fmla="*/ 56426 w 327888"/>
                  <a:gd name="connsiteY9" fmla="*/ 40957 h 269557"/>
                  <a:gd name="connsiteX10" fmla="*/ 61189 w 327888"/>
                  <a:gd name="connsiteY10" fmla="*/ 42863 h 269557"/>
                  <a:gd name="connsiteX11" fmla="*/ 62141 w 327888"/>
                  <a:gd name="connsiteY11" fmla="*/ 44768 h 269557"/>
                  <a:gd name="connsiteX12" fmla="*/ 60236 w 327888"/>
                  <a:gd name="connsiteY12" fmla="*/ 47625 h 269557"/>
                  <a:gd name="connsiteX13" fmla="*/ 62141 w 327888"/>
                  <a:gd name="connsiteY13" fmla="*/ 47625 h 269557"/>
                  <a:gd name="connsiteX14" fmla="*/ 67856 w 327888"/>
                  <a:gd name="connsiteY14" fmla="*/ 42863 h 269557"/>
                  <a:gd name="connsiteX15" fmla="*/ 69761 w 327888"/>
                  <a:gd name="connsiteY15" fmla="*/ 50482 h 269557"/>
                  <a:gd name="connsiteX16" fmla="*/ 64046 w 327888"/>
                  <a:gd name="connsiteY16" fmla="*/ 55245 h 269557"/>
                  <a:gd name="connsiteX17" fmla="*/ 64046 w 327888"/>
                  <a:gd name="connsiteY17" fmla="*/ 59055 h 269557"/>
                  <a:gd name="connsiteX18" fmla="*/ 66904 w 327888"/>
                  <a:gd name="connsiteY18" fmla="*/ 64770 h 269557"/>
                  <a:gd name="connsiteX19" fmla="*/ 70714 w 327888"/>
                  <a:gd name="connsiteY19" fmla="*/ 76200 h 269557"/>
                  <a:gd name="connsiteX20" fmla="*/ 74524 w 327888"/>
                  <a:gd name="connsiteY20" fmla="*/ 99060 h 269557"/>
                  <a:gd name="connsiteX21" fmla="*/ 73571 w 327888"/>
                  <a:gd name="connsiteY21" fmla="*/ 110490 h 269557"/>
                  <a:gd name="connsiteX22" fmla="*/ 79286 w 327888"/>
                  <a:gd name="connsiteY22" fmla="*/ 120968 h 269557"/>
                  <a:gd name="connsiteX23" fmla="*/ 85001 w 327888"/>
                  <a:gd name="connsiteY23" fmla="*/ 129540 h 269557"/>
                  <a:gd name="connsiteX24" fmla="*/ 90716 w 327888"/>
                  <a:gd name="connsiteY24" fmla="*/ 145733 h 269557"/>
                  <a:gd name="connsiteX25" fmla="*/ 80239 w 327888"/>
                  <a:gd name="connsiteY25" fmla="*/ 150495 h 269557"/>
                  <a:gd name="connsiteX26" fmla="*/ 81191 w 327888"/>
                  <a:gd name="connsiteY26" fmla="*/ 160020 h 269557"/>
                  <a:gd name="connsiteX27" fmla="*/ 74524 w 327888"/>
                  <a:gd name="connsiteY27" fmla="*/ 169545 h 269557"/>
                  <a:gd name="connsiteX28" fmla="*/ 78334 w 327888"/>
                  <a:gd name="connsiteY28" fmla="*/ 171450 h 269557"/>
                  <a:gd name="connsiteX29" fmla="*/ 80239 w 327888"/>
                  <a:gd name="connsiteY29" fmla="*/ 178118 h 269557"/>
                  <a:gd name="connsiteX30" fmla="*/ 75476 w 327888"/>
                  <a:gd name="connsiteY30" fmla="*/ 187643 h 269557"/>
                  <a:gd name="connsiteX31" fmla="*/ 74524 w 327888"/>
                  <a:gd name="connsiteY31" fmla="*/ 199073 h 269557"/>
                  <a:gd name="connsiteX32" fmla="*/ 64999 w 327888"/>
                  <a:gd name="connsiteY32" fmla="*/ 206693 h 269557"/>
                  <a:gd name="connsiteX33" fmla="*/ 55474 w 327888"/>
                  <a:gd name="connsiteY33" fmla="*/ 207645 h 269557"/>
                  <a:gd name="connsiteX34" fmla="*/ 49759 w 327888"/>
                  <a:gd name="connsiteY34" fmla="*/ 206693 h 269557"/>
                  <a:gd name="connsiteX35" fmla="*/ 24041 w 327888"/>
                  <a:gd name="connsiteY35" fmla="*/ 202883 h 269557"/>
                  <a:gd name="connsiteX36" fmla="*/ 17374 w 327888"/>
                  <a:gd name="connsiteY36" fmla="*/ 204788 h 269557"/>
                  <a:gd name="connsiteX37" fmla="*/ 11659 w 327888"/>
                  <a:gd name="connsiteY37" fmla="*/ 210503 h 269557"/>
                  <a:gd name="connsiteX38" fmla="*/ 11659 w 327888"/>
                  <a:gd name="connsiteY38" fmla="*/ 210503 h 269557"/>
                  <a:gd name="connsiteX39" fmla="*/ 10706 w 327888"/>
                  <a:gd name="connsiteY39" fmla="*/ 211455 h 269557"/>
                  <a:gd name="connsiteX40" fmla="*/ 9754 w 327888"/>
                  <a:gd name="connsiteY40" fmla="*/ 212408 h 269557"/>
                  <a:gd name="connsiteX41" fmla="*/ 9754 w 327888"/>
                  <a:gd name="connsiteY41" fmla="*/ 213360 h 269557"/>
                  <a:gd name="connsiteX42" fmla="*/ 5944 w 327888"/>
                  <a:gd name="connsiteY42" fmla="*/ 219075 h 269557"/>
                  <a:gd name="connsiteX43" fmla="*/ 5944 w 327888"/>
                  <a:gd name="connsiteY43" fmla="*/ 219075 h 269557"/>
                  <a:gd name="connsiteX44" fmla="*/ 5944 w 327888"/>
                  <a:gd name="connsiteY44" fmla="*/ 220028 h 269557"/>
                  <a:gd name="connsiteX45" fmla="*/ 2134 w 327888"/>
                  <a:gd name="connsiteY45" fmla="*/ 229553 h 269557"/>
                  <a:gd name="connsiteX46" fmla="*/ 3086 w 327888"/>
                  <a:gd name="connsiteY46" fmla="*/ 253365 h 269557"/>
                  <a:gd name="connsiteX47" fmla="*/ 30709 w 327888"/>
                  <a:gd name="connsiteY47" fmla="*/ 263843 h 269557"/>
                  <a:gd name="connsiteX48" fmla="*/ 43091 w 327888"/>
                  <a:gd name="connsiteY48" fmla="*/ 269558 h 269557"/>
                  <a:gd name="connsiteX49" fmla="*/ 327889 w 327888"/>
                  <a:gd name="connsiteY49" fmla="*/ 269558 h 269557"/>
                  <a:gd name="connsiteX50" fmla="*/ 327889 w 327888"/>
                  <a:gd name="connsiteY50" fmla="*/ 0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327888" h="269557">
                    <a:moveTo>
                      <a:pt x="325031" y="0"/>
                    </a:moveTo>
                    <a:lnTo>
                      <a:pt x="34519" y="0"/>
                    </a:lnTo>
                    <a:cubicBezTo>
                      <a:pt x="34519" y="0"/>
                      <a:pt x="35471" y="0"/>
                      <a:pt x="37376" y="953"/>
                    </a:cubicBezTo>
                    <a:cubicBezTo>
                      <a:pt x="39281" y="1905"/>
                      <a:pt x="43091" y="3810"/>
                      <a:pt x="44996" y="4763"/>
                    </a:cubicBezTo>
                    <a:cubicBezTo>
                      <a:pt x="48806" y="6668"/>
                      <a:pt x="52616" y="9525"/>
                      <a:pt x="54521" y="13335"/>
                    </a:cubicBezTo>
                    <a:cubicBezTo>
                      <a:pt x="55474" y="15240"/>
                      <a:pt x="57379" y="18098"/>
                      <a:pt x="56426" y="20003"/>
                    </a:cubicBezTo>
                    <a:cubicBezTo>
                      <a:pt x="55474" y="22860"/>
                      <a:pt x="54521" y="26670"/>
                      <a:pt x="52616" y="27623"/>
                    </a:cubicBezTo>
                    <a:cubicBezTo>
                      <a:pt x="49759" y="29528"/>
                      <a:pt x="45949" y="29528"/>
                      <a:pt x="42139" y="28575"/>
                    </a:cubicBezTo>
                    <a:cubicBezTo>
                      <a:pt x="40234" y="28575"/>
                      <a:pt x="38329" y="27623"/>
                      <a:pt x="36424" y="27623"/>
                    </a:cubicBezTo>
                    <a:cubicBezTo>
                      <a:pt x="44044" y="30480"/>
                      <a:pt x="51664" y="34290"/>
                      <a:pt x="56426" y="40957"/>
                    </a:cubicBezTo>
                    <a:cubicBezTo>
                      <a:pt x="57379" y="41910"/>
                      <a:pt x="59284" y="42863"/>
                      <a:pt x="61189" y="42863"/>
                    </a:cubicBezTo>
                    <a:cubicBezTo>
                      <a:pt x="62141" y="42863"/>
                      <a:pt x="62141" y="43815"/>
                      <a:pt x="62141" y="44768"/>
                    </a:cubicBezTo>
                    <a:cubicBezTo>
                      <a:pt x="61189" y="45720"/>
                      <a:pt x="60236" y="46673"/>
                      <a:pt x="60236" y="47625"/>
                    </a:cubicBezTo>
                    <a:lnTo>
                      <a:pt x="62141" y="47625"/>
                    </a:lnTo>
                    <a:cubicBezTo>
                      <a:pt x="64999" y="46673"/>
                      <a:pt x="64046" y="41910"/>
                      <a:pt x="67856" y="42863"/>
                    </a:cubicBezTo>
                    <a:cubicBezTo>
                      <a:pt x="70714" y="44768"/>
                      <a:pt x="71666" y="47625"/>
                      <a:pt x="69761" y="50482"/>
                    </a:cubicBezTo>
                    <a:cubicBezTo>
                      <a:pt x="67856" y="52388"/>
                      <a:pt x="65951" y="54293"/>
                      <a:pt x="64046" y="55245"/>
                    </a:cubicBezTo>
                    <a:cubicBezTo>
                      <a:pt x="63094" y="56198"/>
                      <a:pt x="63094" y="58103"/>
                      <a:pt x="64046" y="59055"/>
                    </a:cubicBezTo>
                    <a:cubicBezTo>
                      <a:pt x="65951" y="60960"/>
                      <a:pt x="65951" y="62865"/>
                      <a:pt x="66904" y="64770"/>
                    </a:cubicBezTo>
                    <a:cubicBezTo>
                      <a:pt x="68809" y="68580"/>
                      <a:pt x="68809" y="72390"/>
                      <a:pt x="70714" y="76200"/>
                    </a:cubicBezTo>
                    <a:cubicBezTo>
                      <a:pt x="72619" y="83820"/>
                      <a:pt x="74524" y="91440"/>
                      <a:pt x="74524" y="99060"/>
                    </a:cubicBezTo>
                    <a:cubicBezTo>
                      <a:pt x="74524" y="102870"/>
                      <a:pt x="72619" y="106680"/>
                      <a:pt x="73571" y="110490"/>
                    </a:cubicBezTo>
                    <a:cubicBezTo>
                      <a:pt x="74524" y="114300"/>
                      <a:pt x="77381" y="118110"/>
                      <a:pt x="79286" y="120968"/>
                    </a:cubicBezTo>
                    <a:cubicBezTo>
                      <a:pt x="81191" y="123825"/>
                      <a:pt x="83096" y="125730"/>
                      <a:pt x="85001" y="129540"/>
                    </a:cubicBezTo>
                    <a:cubicBezTo>
                      <a:pt x="87859" y="134303"/>
                      <a:pt x="93574" y="140018"/>
                      <a:pt x="90716" y="145733"/>
                    </a:cubicBezTo>
                    <a:cubicBezTo>
                      <a:pt x="88811" y="149543"/>
                      <a:pt x="83096" y="148590"/>
                      <a:pt x="80239" y="150495"/>
                    </a:cubicBezTo>
                    <a:cubicBezTo>
                      <a:pt x="77381" y="153353"/>
                      <a:pt x="79286" y="157163"/>
                      <a:pt x="81191" y="160020"/>
                    </a:cubicBezTo>
                    <a:cubicBezTo>
                      <a:pt x="84049" y="164783"/>
                      <a:pt x="78334" y="167640"/>
                      <a:pt x="74524" y="169545"/>
                    </a:cubicBezTo>
                    <a:cubicBezTo>
                      <a:pt x="75476" y="171450"/>
                      <a:pt x="77381" y="170498"/>
                      <a:pt x="78334" y="171450"/>
                    </a:cubicBezTo>
                    <a:cubicBezTo>
                      <a:pt x="79286" y="174308"/>
                      <a:pt x="81191" y="175260"/>
                      <a:pt x="80239" y="178118"/>
                    </a:cubicBezTo>
                    <a:cubicBezTo>
                      <a:pt x="78334" y="180975"/>
                      <a:pt x="71666" y="182880"/>
                      <a:pt x="75476" y="187643"/>
                    </a:cubicBezTo>
                    <a:cubicBezTo>
                      <a:pt x="77381" y="191453"/>
                      <a:pt x="76429" y="195263"/>
                      <a:pt x="74524" y="199073"/>
                    </a:cubicBezTo>
                    <a:cubicBezTo>
                      <a:pt x="72619" y="203835"/>
                      <a:pt x="68809" y="205740"/>
                      <a:pt x="64999" y="206693"/>
                    </a:cubicBezTo>
                    <a:cubicBezTo>
                      <a:pt x="62141" y="207645"/>
                      <a:pt x="58331" y="207645"/>
                      <a:pt x="55474" y="207645"/>
                    </a:cubicBezTo>
                    <a:cubicBezTo>
                      <a:pt x="51664" y="206693"/>
                      <a:pt x="50711" y="206693"/>
                      <a:pt x="49759" y="206693"/>
                    </a:cubicBezTo>
                    <a:cubicBezTo>
                      <a:pt x="41186" y="205740"/>
                      <a:pt x="32614" y="202883"/>
                      <a:pt x="24041" y="202883"/>
                    </a:cubicBezTo>
                    <a:cubicBezTo>
                      <a:pt x="21184" y="203835"/>
                      <a:pt x="19279" y="203835"/>
                      <a:pt x="17374" y="204788"/>
                    </a:cubicBezTo>
                    <a:cubicBezTo>
                      <a:pt x="15469" y="206693"/>
                      <a:pt x="12611" y="208598"/>
                      <a:pt x="11659" y="210503"/>
                    </a:cubicBezTo>
                    <a:cubicBezTo>
                      <a:pt x="11659" y="210503"/>
                      <a:pt x="11659" y="210503"/>
                      <a:pt x="11659" y="210503"/>
                    </a:cubicBezTo>
                    <a:cubicBezTo>
                      <a:pt x="11659" y="210503"/>
                      <a:pt x="10706" y="211455"/>
                      <a:pt x="10706" y="211455"/>
                    </a:cubicBezTo>
                    <a:cubicBezTo>
                      <a:pt x="10706" y="211455"/>
                      <a:pt x="10706" y="212408"/>
                      <a:pt x="9754" y="212408"/>
                    </a:cubicBezTo>
                    <a:cubicBezTo>
                      <a:pt x="9754" y="212408"/>
                      <a:pt x="9754" y="212408"/>
                      <a:pt x="9754" y="213360"/>
                    </a:cubicBezTo>
                    <a:cubicBezTo>
                      <a:pt x="7849" y="215265"/>
                      <a:pt x="6896" y="217170"/>
                      <a:pt x="5944" y="219075"/>
                    </a:cubicBezTo>
                    <a:cubicBezTo>
                      <a:pt x="5944" y="219075"/>
                      <a:pt x="5944" y="219075"/>
                      <a:pt x="5944" y="219075"/>
                    </a:cubicBezTo>
                    <a:cubicBezTo>
                      <a:pt x="5944" y="219075"/>
                      <a:pt x="5944" y="220028"/>
                      <a:pt x="5944" y="220028"/>
                    </a:cubicBezTo>
                    <a:cubicBezTo>
                      <a:pt x="4039" y="222885"/>
                      <a:pt x="3086" y="226695"/>
                      <a:pt x="2134" y="229553"/>
                    </a:cubicBezTo>
                    <a:cubicBezTo>
                      <a:pt x="-1676" y="240983"/>
                      <a:pt x="229" y="251460"/>
                      <a:pt x="3086" y="253365"/>
                    </a:cubicBezTo>
                    <a:cubicBezTo>
                      <a:pt x="4039" y="254318"/>
                      <a:pt x="20231" y="259080"/>
                      <a:pt x="30709" y="263843"/>
                    </a:cubicBezTo>
                    <a:cubicBezTo>
                      <a:pt x="36424" y="265748"/>
                      <a:pt x="39281" y="267653"/>
                      <a:pt x="43091" y="269558"/>
                    </a:cubicBezTo>
                    <a:lnTo>
                      <a:pt x="327889" y="269558"/>
                    </a:lnTo>
                    <a:lnTo>
                      <a:pt x="327889" y="0"/>
                    </a:lnTo>
                    <a:close/>
                  </a:path>
                </a:pathLst>
              </a:custGeom>
              <a:solidFill>
                <a:srgbClr val="E1000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29" name="Forme libre : forme 28">
                <a:extLst>
                  <a:ext uri="{FF2B5EF4-FFF2-40B4-BE49-F238E27FC236}">
                    <a16:creationId xmlns:a16="http://schemas.microsoft.com/office/drawing/2014/main" id="{6F4489A5-3996-4AF1-B392-21E6091A4C77}"/>
                  </a:ext>
                </a:extLst>
              </p:cNvPr>
              <p:cNvSpPr/>
              <p:nvPr/>
            </p:nvSpPr>
            <p:spPr>
              <a:xfrm>
                <a:off x="717232" y="362507"/>
                <a:ext cx="33524" cy="30636"/>
              </a:xfrm>
              <a:custGeom>
                <a:avLst/>
                <a:gdLst>
                  <a:gd name="connsiteX0" fmla="*/ 21907 w 33524"/>
                  <a:gd name="connsiteY0" fmla="*/ 6110 h 30636"/>
                  <a:gd name="connsiteX1" fmla="*/ 26670 w 33524"/>
                  <a:gd name="connsiteY1" fmla="*/ 8015 h 30636"/>
                  <a:gd name="connsiteX2" fmla="*/ 16192 w 33524"/>
                  <a:gd name="connsiteY2" fmla="*/ 17540 h 30636"/>
                  <a:gd name="connsiteX3" fmla="*/ 14288 w 33524"/>
                  <a:gd name="connsiteY3" fmla="*/ 17540 h 30636"/>
                  <a:gd name="connsiteX4" fmla="*/ 11430 w 33524"/>
                  <a:gd name="connsiteY4" fmla="*/ 21350 h 30636"/>
                  <a:gd name="connsiteX5" fmla="*/ 6667 w 33524"/>
                  <a:gd name="connsiteY5" fmla="*/ 22302 h 30636"/>
                  <a:gd name="connsiteX6" fmla="*/ 14288 w 33524"/>
                  <a:gd name="connsiteY6" fmla="*/ 25160 h 30636"/>
                  <a:gd name="connsiteX7" fmla="*/ 16192 w 33524"/>
                  <a:gd name="connsiteY7" fmla="*/ 27065 h 30636"/>
                  <a:gd name="connsiteX8" fmla="*/ 17145 w 33524"/>
                  <a:gd name="connsiteY8" fmla="*/ 26112 h 30636"/>
                  <a:gd name="connsiteX9" fmla="*/ 18097 w 33524"/>
                  <a:gd name="connsiteY9" fmla="*/ 27065 h 30636"/>
                  <a:gd name="connsiteX10" fmla="*/ 18097 w 33524"/>
                  <a:gd name="connsiteY10" fmla="*/ 28017 h 30636"/>
                  <a:gd name="connsiteX11" fmla="*/ 12382 w 33524"/>
                  <a:gd name="connsiteY11" fmla="*/ 29922 h 30636"/>
                  <a:gd name="connsiteX12" fmla="*/ 23813 w 33524"/>
                  <a:gd name="connsiteY12" fmla="*/ 29922 h 30636"/>
                  <a:gd name="connsiteX13" fmla="*/ 25717 w 33524"/>
                  <a:gd name="connsiteY13" fmla="*/ 21350 h 30636"/>
                  <a:gd name="connsiteX14" fmla="*/ 24765 w 33524"/>
                  <a:gd name="connsiteY14" fmla="*/ 19445 h 30636"/>
                  <a:gd name="connsiteX15" fmla="*/ 27622 w 33524"/>
                  <a:gd name="connsiteY15" fmla="*/ 16587 h 30636"/>
                  <a:gd name="connsiteX16" fmla="*/ 30480 w 33524"/>
                  <a:gd name="connsiteY16" fmla="*/ 14682 h 30636"/>
                  <a:gd name="connsiteX17" fmla="*/ 28575 w 33524"/>
                  <a:gd name="connsiteY17" fmla="*/ 11825 h 30636"/>
                  <a:gd name="connsiteX18" fmla="*/ 33338 w 33524"/>
                  <a:gd name="connsiteY18" fmla="*/ 3252 h 30636"/>
                  <a:gd name="connsiteX19" fmla="*/ 25717 w 33524"/>
                  <a:gd name="connsiteY19" fmla="*/ 395 h 30636"/>
                  <a:gd name="connsiteX20" fmla="*/ 17145 w 33524"/>
                  <a:gd name="connsiteY20" fmla="*/ 1347 h 30636"/>
                  <a:gd name="connsiteX21" fmla="*/ 9525 w 33524"/>
                  <a:gd name="connsiteY21" fmla="*/ 3252 h 30636"/>
                  <a:gd name="connsiteX22" fmla="*/ 0 w 33524"/>
                  <a:gd name="connsiteY22" fmla="*/ 8015 h 30636"/>
                  <a:gd name="connsiteX23" fmla="*/ 11430 w 33524"/>
                  <a:gd name="connsiteY23" fmla="*/ 5157 h 30636"/>
                  <a:gd name="connsiteX24" fmla="*/ 21907 w 33524"/>
                  <a:gd name="connsiteY24" fmla="*/ 6110 h 3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3524" h="30636">
                    <a:moveTo>
                      <a:pt x="21907" y="6110"/>
                    </a:moveTo>
                    <a:cubicBezTo>
                      <a:pt x="23813" y="7062"/>
                      <a:pt x="26670" y="7062"/>
                      <a:pt x="26670" y="8015"/>
                    </a:cubicBezTo>
                    <a:cubicBezTo>
                      <a:pt x="25717" y="11825"/>
                      <a:pt x="20002" y="12777"/>
                      <a:pt x="16192" y="17540"/>
                    </a:cubicBezTo>
                    <a:lnTo>
                      <a:pt x="14288" y="17540"/>
                    </a:lnTo>
                    <a:cubicBezTo>
                      <a:pt x="12382" y="18492"/>
                      <a:pt x="13335" y="21350"/>
                      <a:pt x="11430" y="21350"/>
                    </a:cubicBezTo>
                    <a:cubicBezTo>
                      <a:pt x="9525" y="20397"/>
                      <a:pt x="8572" y="21350"/>
                      <a:pt x="6667" y="22302"/>
                    </a:cubicBezTo>
                    <a:cubicBezTo>
                      <a:pt x="8572" y="24207"/>
                      <a:pt x="11430" y="26112"/>
                      <a:pt x="14288" y="25160"/>
                    </a:cubicBezTo>
                    <a:cubicBezTo>
                      <a:pt x="15240" y="25160"/>
                      <a:pt x="16192" y="26112"/>
                      <a:pt x="16192" y="27065"/>
                    </a:cubicBezTo>
                    <a:cubicBezTo>
                      <a:pt x="16192" y="27065"/>
                      <a:pt x="17145" y="27065"/>
                      <a:pt x="17145" y="26112"/>
                    </a:cubicBezTo>
                    <a:cubicBezTo>
                      <a:pt x="18097" y="26112"/>
                      <a:pt x="18097" y="26112"/>
                      <a:pt x="18097" y="27065"/>
                    </a:cubicBezTo>
                    <a:lnTo>
                      <a:pt x="18097" y="28017"/>
                    </a:lnTo>
                    <a:cubicBezTo>
                      <a:pt x="16192" y="29922"/>
                      <a:pt x="14288" y="28970"/>
                      <a:pt x="12382" y="29922"/>
                    </a:cubicBezTo>
                    <a:cubicBezTo>
                      <a:pt x="16192" y="30875"/>
                      <a:pt x="20955" y="30875"/>
                      <a:pt x="23813" y="29922"/>
                    </a:cubicBezTo>
                    <a:cubicBezTo>
                      <a:pt x="26670" y="28970"/>
                      <a:pt x="23813" y="24207"/>
                      <a:pt x="25717" y="21350"/>
                    </a:cubicBezTo>
                    <a:cubicBezTo>
                      <a:pt x="24765" y="21350"/>
                      <a:pt x="25717" y="19445"/>
                      <a:pt x="24765" y="19445"/>
                    </a:cubicBezTo>
                    <a:cubicBezTo>
                      <a:pt x="25717" y="18492"/>
                      <a:pt x="26670" y="16587"/>
                      <a:pt x="27622" y="16587"/>
                    </a:cubicBezTo>
                    <a:cubicBezTo>
                      <a:pt x="28575" y="16587"/>
                      <a:pt x="30480" y="15635"/>
                      <a:pt x="30480" y="14682"/>
                    </a:cubicBezTo>
                    <a:cubicBezTo>
                      <a:pt x="30480" y="13730"/>
                      <a:pt x="28575" y="12777"/>
                      <a:pt x="28575" y="11825"/>
                    </a:cubicBezTo>
                    <a:cubicBezTo>
                      <a:pt x="31432" y="9920"/>
                      <a:pt x="34290" y="7062"/>
                      <a:pt x="33338" y="3252"/>
                    </a:cubicBezTo>
                    <a:cubicBezTo>
                      <a:pt x="32385" y="1347"/>
                      <a:pt x="28575" y="1347"/>
                      <a:pt x="25717" y="395"/>
                    </a:cubicBezTo>
                    <a:cubicBezTo>
                      <a:pt x="22860" y="-558"/>
                      <a:pt x="20002" y="395"/>
                      <a:pt x="17145" y="1347"/>
                    </a:cubicBezTo>
                    <a:cubicBezTo>
                      <a:pt x="14288" y="1347"/>
                      <a:pt x="12382" y="3252"/>
                      <a:pt x="9525" y="3252"/>
                    </a:cubicBezTo>
                    <a:cubicBezTo>
                      <a:pt x="5715" y="4205"/>
                      <a:pt x="2857" y="6110"/>
                      <a:pt x="0" y="8015"/>
                    </a:cubicBezTo>
                    <a:cubicBezTo>
                      <a:pt x="3810" y="6110"/>
                      <a:pt x="7620" y="6110"/>
                      <a:pt x="11430" y="5157"/>
                    </a:cubicBezTo>
                    <a:cubicBezTo>
                      <a:pt x="16192" y="6110"/>
                      <a:pt x="19050" y="5157"/>
                      <a:pt x="21907" y="6110"/>
                    </a:cubicBezTo>
                  </a:path>
                </a:pathLst>
              </a:custGeom>
              <a:solidFill>
                <a:srgbClr val="9C9B9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981599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ntercalaire - Fond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Espace réservé pour une image  9">
            <a:extLst>
              <a:ext uri="{FF2B5EF4-FFF2-40B4-BE49-F238E27FC236}">
                <a16:creationId xmlns:a16="http://schemas.microsoft.com/office/drawing/2014/main" id="{01EDB64C-C1DC-4435-87B7-BF733F665D9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42923" y="2669868"/>
            <a:ext cx="11649077" cy="3649969"/>
          </a:xfrm>
          <a:solidFill>
            <a:schemeClr val="bg2"/>
          </a:solidFill>
        </p:spPr>
        <p:txBody>
          <a:bodyPr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Imag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A52FDD7-76B5-4B8E-A008-DBC75B8F4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5B3F652-A52F-4445-8844-64FD2938FFB3}" type="datetime1">
              <a:rPr lang="fr-FR" smtClean="0"/>
              <a:t>22/11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02BE54F-4953-4F0A-AA2E-99A3D6292F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COMEX – 9 avril 2021 - POUR INFORMATION</a:t>
            </a:r>
            <a:endParaRPr lang="fr-FR">
              <a:solidFill>
                <a:schemeClr val="tx1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35E73AA-FFC7-4E68-A1E5-2653FA5B5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3598" y="6511056"/>
            <a:ext cx="650240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C02D038-4989-45BB-AD16-38E0E231338A}" type="slidenum">
              <a:rPr lang="fr-FR" smtClean="0"/>
              <a:pPr/>
              <a:t>‹N°›</a:t>
            </a:fld>
            <a:endParaRPr lang="fr-FR" dirty="0"/>
          </a:p>
        </p:txBody>
      </p:sp>
      <p:grpSp>
        <p:nvGrpSpPr>
          <p:cNvPr id="11" name="Graphique 2">
            <a:extLst>
              <a:ext uri="{FF2B5EF4-FFF2-40B4-BE49-F238E27FC236}">
                <a16:creationId xmlns:a16="http://schemas.microsoft.com/office/drawing/2014/main" id="{889398C8-CCDA-460C-8D6D-66F796CDB51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40000" y="270000"/>
            <a:ext cx="432404" cy="504000"/>
            <a:chOff x="269557" y="269557"/>
            <a:chExt cx="1311592" cy="1528762"/>
          </a:xfrm>
        </p:grpSpPr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B68CE830-96CE-42DC-A43C-3F0242DFFD10}"/>
                </a:ext>
              </a:extLst>
            </p:cNvPr>
            <p:cNvSpPr/>
            <p:nvPr/>
          </p:nvSpPr>
          <p:spPr>
            <a:xfrm>
              <a:off x="269557" y="1304925"/>
              <a:ext cx="693419" cy="493395"/>
            </a:xfrm>
            <a:custGeom>
              <a:avLst/>
              <a:gdLst>
                <a:gd name="connsiteX0" fmla="*/ 659130 w 693419"/>
                <a:gd name="connsiteY0" fmla="*/ 422910 h 493395"/>
                <a:gd name="connsiteX1" fmla="*/ 666750 w 693419"/>
                <a:gd name="connsiteY1" fmla="*/ 437197 h 493395"/>
                <a:gd name="connsiteX2" fmla="*/ 641033 w 693419"/>
                <a:gd name="connsiteY2" fmla="*/ 442913 h 493395"/>
                <a:gd name="connsiteX3" fmla="*/ 659130 w 693419"/>
                <a:gd name="connsiteY3" fmla="*/ 422910 h 493395"/>
                <a:gd name="connsiteX4" fmla="*/ 673418 w 693419"/>
                <a:gd name="connsiteY4" fmla="*/ 464820 h 493395"/>
                <a:gd name="connsiteX5" fmla="*/ 668655 w 693419"/>
                <a:gd name="connsiteY5" fmla="*/ 464820 h 493395"/>
                <a:gd name="connsiteX6" fmla="*/ 648653 w 693419"/>
                <a:gd name="connsiteY6" fmla="*/ 478155 h 493395"/>
                <a:gd name="connsiteX7" fmla="*/ 638175 w 693419"/>
                <a:gd name="connsiteY7" fmla="*/ 464820 h 493395"/>
                <a:gd name="connsiteX8" fmla="*/ 639128 w 693419"/>
                <a:gd name="connsiteY8" fmla="*/ 453390 h 493395"/>
                <a:gd name="connsiteX9" fmla="*/ 680085 w 693419"/>
                <a:gd name="connsiteY9" fmla="*/ 440055 h 493395"/>
                <a:gd name="connsiteX10" fmla="*/ 666750 w 693419"/>
                <a:gd name="connsiteY10" fmla="*/ 412433 h 493395"/>
                <a:gd name="connsiteX11" fmla="*/ 624840 w 693419"/>
                <a:gd name="connsiteY11" fmla="*/ 473392 h 493395"/>
                <a:gd name="connsiteX12" fmla="*/ 640080 w 693419"/>
                <a:gd name="connsiteY12" fmla="*/ 493395 h 493395"/>
                <a:gd name="connsiteX13" fmla="*/ 673418 w 693419"/>
                <a:gd name="connsiteY13" fmla="*/ 464820 h 493395"/>
                <a:gd name="connsiteX14" fmla="*/ 664845 w 693419"/>
                <a:gd name="connsiteY14" fmla="*/ 404813 h 493395"/>
                <a:gd name="connsiteX15" fmla="*/ 693420 w 693419"/>
                <a:gd name="connsiteY15" fmla="*/ 378142 h 493395"/>
                <a:gd name="connsiteX16" fmla="*/ 693420 w 693419"/>
                <a:gd name="connsiteY16" fmla="*/ 375285 h 493395"/>
                <a:gd name="connsiteX17" fmla="*/ 678180 w 693419"/>
                <a:gd name="connsiteY17" fmla="*/ 375285 h 493395"/>
                <a:gd name="connsiteX18" fmla="*/ 660083 w 693419"/>
                <a:gd name="connsiteY18" fmla="*/ 405765 h 493395"/>
                <a:gd name="connsiteX19" fmla="*/ 664845 w 693419"/>
                <a:gd name="connsiteY19" fmla="*/ 405765 h 493395"/>
                <a:gd name="connsiteX20" fmla="*/ 576263 w 693419"/>
                <a:gd name="connsiteY20" fmla="*/ 423863 h 493395"/>
                <a:gd name="connsiteX21" fmla="*/ 589598 w 693419"/>
                <a:gd name="connsiteY21" fmla="*/ 423863 h 493395"/>
                <a:gd name="connsiteX22" fmla="*/ 567690 w 693419"/>
                <a:gd name="connsiteY22" fmla="*/ 482917 h 493395"/>
                <a:gd name="connsiteX23" fmla="*/ 573405 w 693419"/>
                <a:gd name="connsiteY23" fmla="*/ 493395 h 493395"/>
                <a:gd name="connsiteX24" fmla="*/ 612458 w 693419"/>
                <a:gd name="connsiteY24" fmla="*/ 464820 h 493395"/>
                <a:gd name="connsiteX25" fmla="*/ 608648 w 693419"/>
                <a:gd name="connsiteY25" fmla="*/ 464820 h 493395"/>
                <a:gd name="connsiteX26" fmla="*/ 583883 w 693419"/>
                <a:gd name="connsiteY26" fmla="*/ 480060 h 493395"/>
                <a:gd name="connsiteX27" fmla="*/ 603885 w 693419"/>
                <a:gd name="connsiteY27" fmla="*/ 424815 h 493395"/>
                <a:gd name="connsiteX28" fmla="*/ 623888 w 693419"/>
                <a:gd name="connsiteY28" fmla="*/ 424815 h 493395"/>
                <a:gd name="connsiteX29" fmla="*/ 626745 w 693419"/>
                <a:gd name="connsiteY29" fmla="*/ 416242 h 493395"/>
                <a:gd name="connsiteX30" fmla="*/ 606743 w 693419"/>
                <a:gd name="connsiteY30" fmla="*/ 416242 h 493395"/>
                <a:gd name="connsiteX31" fmla="*/ 614363 w 693419"/>
                <a:gd name="connsiteY31" fmla="*/ 395288 h 493395"/>
                <a:gd name="connsiteX32" fmla="*/ 606743 w 693419"/>
                <a:gd name="connsiteY32" fmla="*/ 395288 h 493395"/>
                <a:gd name="connsiteX33" fmla="*/ 592455 w 693419"/>
                <a:gd name="connsiteY33" fmla="*/ 416242 h 493395"/>
                <a:gd name="connsiteX34" fmla="*/ 575310 w 693419"/>
                <a:gd name="connsiteY34" fmla="*/ 418147 h 493395"/>
                <a:gd name="connsiteX35" fmla="*/ 575310 w 693419"/>
                <a:gd name="connsiteY35" fmla="*/ 423863 h 493395"/>
                <a:gd name="connsiteX36" fmla="*/ 558165 w 693419"/>
                <a:gd name="connsiteY36" fmla="*/ 421005 h 493395"/>
                <a:gd name="connsiteX37" fmla="*/ 553403 w 693419"/>
                <a:gd name="connsiteY37" fmla="*/ 412433 h 493395"/>
                <a:gd name="connsiteX38" fmla="*/ 521970 w 693419"/>
                <a:gd name="connsiteY38" fmla="*/ 438150 h 493395"/>
                <a:gd name="connsiteX39" fmla="*/ 525780 w 693419"/>
                <a:gd name="connsiteY39" fmla="*/ 438150 h 493395"/>
                <a:gd name="connsiteX40" fmla="*/ 541973 w 693419"/>
                <a:gd name="connsiteY40" fmla="*/ 425767 h 493395"/>
                <a:gd name="connsiteX41" fmla="*/ 519113 w 693419"/>
                <a:gd name="connsiteY41" fmla="*/ 484822 h 493395"/>
                <a:gd name="connsiteX42" fmla="*/ 523875 w 693419"/>
                <a:gd name="connsiteY42" fmla="*/ 493395 h 493395"/>
                <a:gd name="connsiteX43" fmla="*/ 554355 w 693419"/>
                <a:gd name="connsiteY43" fmla="*/ 467678 h 493395"/>
                <a:gd name="connsiteX44" fmla="*/ 550545 w 693419"/>
                <a:gd name="connsiteY44" fmla="*/ 467678 h 493395"/>
                <a:gd name="connsiteX45" fmla="*/ 534353 w 693419"/>
                <a:gd name="connsiteY45" fmla="*/ 480060 h 493395"/>
                <a:gd name="connsiteX46" fmla="*/ 558165 w 693419"/>
                <a:gd name="connsiteY46" fmla="*/ 421005 h 493395"/>
                <a:gd name="connsiteX47" fmla="*/ 561975 w 693419"/>
                <a:gd name="connsiteY47" fmla="*/ 391478 h 493395"/>
                <a:gd name="connsiteX48" fmla="*/ 571500 w 693419"/>
                <a:gd name="connsiteY48" fmla="*/ 381953 h 493395"/>
                <a:gd name="connsiteX49" fmla="*/ 561975 w 693419"/>
                <a:gd name="connsiteY49" fmla="*/ 372428 h 493395"/>
                <a:gd name="connsiteX50" fmla="*/ 552450 w 693419"/>
                <a:gd name="connsiteY50" fmla="*/ 381953 h 493395"/>
                <a:gd name="connsiteX51" fmla="*/ 561975 w 693419"/>
                <a:gd name="connsiteY51" fmla="*/ 391478 h 493395"/>
                <a:gd name="connsiteX52" fmla="*/ 431483 w 693419"/>
                <a:gd name="connsiteY52" fmla="*/ 481965 h 493395"/>
                <a:gd name="connsiteX53" fmla="*/ 438150 w 693419"/>
                <a:gd name="connsiteY53" fmla="*/ 493395 h 493395"/>
                <a:gd name="connsiteX54" fmla="*/ 445770 w 693419"/>
                <a:gd name="connsiteY54" fmla="*/ 487680 h 493395"/>
                <a:gd name="connsiteX55" fmla="*/ 461963 w 693419"/>
                <a:gd name="connsiteY55" fmla="*/ 445770 h 493395"/>
                <a:gd name="connsiteX56" fmla="*/ 490538 w 693419"/>
                <a:gd name="connsiteY56" fmla="*/ 427672 h 493395"/>
                <a:gd name="connsiteX57" fmla="*/ 491490 w 693419"/>
                <a:gd name="connsiteY57" fmla="*/ 436245 h 493395"/>
                <a:gd name="connsiteX58" fmla="*/ 467678 w 693419"/>
                <a:gd name="connsiteY58" fmla="*/ 482917 h 493395"/>
                <a:gd name="connsiteX59" fmla="*/ 473393 w 693419"/>
                <a:gd name="connsiteY59" fmla="*/ 493395 h 493395"/>
                <a:gd name="connsiteX60" fmla="*/ 504825 w 693419"/>
                <a:gd name="connsiteY60" fmla="*/ 467678 h 493395"/>
                <a:gd name="connsiteX61" fmla="*/ 501015 w 693419"/>
                <a:gd name="connsiteY61" fmla="*/ 467678 h 493395"/>
                <a:gd name="connsiteX62" fmla="*/ 484822 w 693419"/>
                <a:gd name="connsiteY62" fmla="*/ 480060 h 493395"/>
                <a:gd name="connsiteX63" fmla="*/ 505778 w 693419"/>
                <a:gd name="connsiteY63" fmla="*/ 438150 h 493395"/>
                <a:gd name="connsiteX64" fmla="*/ 509588 w 693419"/>
                <a:gd name="connsiteY64" fmla="*/ 423863 h 493395"/>
                <a:gd name="connsiteX65" fmla="*/ 498158 w 693419"/>
                <a:gd name="connsiteY65" fmla="*/ 412433 h 493395"/>
                <a:gd name="connsiteX66" fmla="*/ 464820 w 693419"/>
                <a:gd name="connsiteY66" fmla="*/ 438150 h 493395"/>
                <a:gd name="connsiteX67" fmla="*/ 464820 w 693419"/>
                <a:gd name="connsiteY67" fmla="*/ 426720 h 493395"/>
                <a:gd name="connsiteX68" fmla="*/ 455295 w 693419"/>
                <a:gd name="connsiteY68" fmla="*/ 411480 h 493395"/>
                <a:gd name="connsiteX69" fmla="*/ 442913 w 693419"/>
                <a:gd name="connsiteY69" fmla="*/ 421005 h 493395"/>
                <a:gd name="connsiteX70" fmla="*/ 442913 w 693419"/>
                <a:gd name="connsiteY70" fmla="*/ 422910 h 493395"/>
                <a:gd name="connsiteX71" fmla="*/ 448628 w 693419"/>
                <a:gd name="connsiteY71" fmla="*/ 445770 h 493395"/>
                <a:gd name="connsiteX72" fmla="*/ 431483 w 693419"/>
                <a:gd name="connsiteY72" fmla="*/ 481965 h 493395"/>
                <a:gd name="connsiteX73" fmla="*/ 431483 w 693419"/>
                <a:gd name="connsiteY73" fmla="*/ 430530 h 493395"/>
                <a:gd name="connsiteX74" fmla="*/ 425768 w 693419"/>
                <a:gd name="connsiteY74" fmla="*/ 412433 h 493395"/>
                <a:gd name="connsiteX75" fmla="*/ 405765 w 693419"/>
                <a:gd name="connsiteY75" fmla="*/ 438150 h 493395"/>
                <a:gd name="connsiteX76" fmla="*/ 405765 w 693419"/>
                <a:gd name="connsiteY76" fmla="*/ 426720 h 493395"/>
                <a:gd name="connsiteX77" fmla="*/ 396240 w 693419"/>
                <a:gd name="connsiteY77" fmla="*/ 411480 h 493395"/>
                <a:gd name="connsiteX78" fmla="*/ 374333 w 693419"/>
                <a:gd name="connsiteY78" fmla="*/ 437197 h 493395"/>
                <a:gd name="connsiteX79" fmla="*/ 378143 w 693419"/>
                <a:gd name="connsiteY79" fmla="*/ 437197 h 493395"/>
                <a:gd name="connsiteX80" fmla="*/ 388620 w 693419"/>
                <a:gd name="connsiteY80" fmla="*/ 427672 h 493395"/>
                <a:gd name="connsiteX81" fmla="*/ 388620 w 693419"/>
                <a:gd name="connsiteY81" fmla="*/ 445770 h 493395"/>
                <a:gd name="connsiteX82" fmla="*/ 372428 w 693419"/>
                <a:gd name="connsiteY82" fmla="*/ 481013 h 493395"/>
                <a:gd name="connsiteX83" fmla="*/ 379095 w 693419"/>
                <a:gd name="connsiteY83" fmla="*/ 492442 h 493395"/>
                <a:gd name="connsiteX84" fmla="*/ 386715 w 693419"/>
                <a:gd name="connsiteY84" fmla="*/ 486728 h 493395"/>
                <a:gd name="connsiteX85" fmla="*/ 402908 w 693419"/>
                <a:gd name="connsiteY85" fmla="*/ 444817 h 493395"/>
                <a:gd name="connsiteX86" fmla="*/ 416243 w 693419"/>
                <a:gd name="connsiteY86" fmla="*/ 429578 h 493395"/>
                <a:gd name="connsiteX87" fmla="*/ 431483 w 693419"/>
                <a:gd name="connsiteY87" fmla="*/ 429578 h 493395"/>
                <a:gd name="connsiteX88" fmla="*/ 340043 w 693419"/>
                <a:gd name="connsiteY88" fmla="*/ 422910 h 493395"/>
                <a:gd name="connsiteX89" fmla="*/ 347663 w 693419"/>
                <a:gd name="connsiteY89" fmla="*/ 437197 h 493395"/>
                <a:gd name="connsiteX90" fmla="*/ 321945 w 693419"/>
                <a:gd name="connsiteY90" fmla="*/ 442913 h 493395"/>
                <a:gd name="connsiteX91" fmla="*/ 340043 w 693419"/>
                <a:gd name="connsiteY91" fmla="*/ 422910 h 493395"/>
                <a:gd name="connsiteX92" fmla="*/ 354330 w 693419"/>
                <a:gd name="connsiteY92" fmla="*/ 464820 h 493395"/>
                <a:gd name="connsiteX93" fmla="*/ 349568 w 693419"/>
                <a:gd name="connsiteY93" fmla="*/ 464820 h 493395"/>
                <a:gd name="connsiteX94" fmla="*/ 329565 w 693419"/>
                <a:gd name="connsiteY94" fmla="*/ 478155 h 493395"/>
                <a:gd name="connsiteX95" fmla="*/ 319088 w 693419"/>
                <a:gd name="connsiteY95" fmla="*/ 464820 h 493395"/>
                <a:gd name="connsiteX96" fmla="*/ 320040 w 693419"/>
                <a:gd name="connsiteY96" fmla="*/ 453390 h 493395"/>
                <a:gd name="connsiteX97" fmla="*/ 360997 w 693419"/>
                <a:gd name="connsiteY97" fmla="*/ 440055 h 493395"/>
                <a:gd name="connsiteX98" fmla="*/ 347663 w 693419"/>
                <a:gd name="connsiteY98" fmla="*/ 412433 h 493395"/>
                <a:gd name="connsiteX99" fmla="*/ 305753 w 693419"/>
                <a:gd name="connsiteY99" fmla="*/ 473392 h 493395"/>
                <a:gd name="connsiteX100" fmla="*/ 320993 w 693419"/>
                <a:gd name="connsiteY100" fmla="*/ 493395 h 493395"/>
                <a:gd name="connsiteX101" fmla="*/ 354330 w 693419"/>
                <a:gd name="connsiteY101" fmla="*/ 464820 h 493395"/>
                <a:gd name="connsiteX102" fmla="*/ 257175 w 693419"/>
                <a:gd name="connsiteY102" fmla="*/ 423863 h 493395"/>
                <a:gd name="connsiteX103" fmla="*/ 270510 w 693419"/>
                <a:gd name="connsiteY103" fmla="*/ 423863 h 493395"/>
                <a:gd name="connsiteX104" fmla="*/ 248603 w 693419"/>
                <a:gd name="connsiteY104" fmla="*/ 482917 h 493395"/>
                <a:gd name="connsiteX105" fmla="*/ 254318 w 693419"/>
                <a:gd name="connsiteY105" fmla="*/ 493395 h 493395"/>
                <a:gd name="connsiteX106" fmla="*/ 293370 w 693419"/>
                <a:gd name="connsiteY106" fmla="*/ 464820 h 493395"/>
                <a:gd name="connsiteX107" fmla="*/ 289560 w 693419"/>
                <a:gd name="connsiteY107" fmla="*/ 464820 h 493395"/>
                <a:gd name="connsiteX108" fmla="*/ 264795 w 693419"/>
                <a:gd name="connsiteY108" fmla="*/ 480060 h 493395"/>
                <a:gd name="connsiteX109" fmla="*/ 284798 w 693419"/>
                <a:gd name="connsiteY109" fmla="*/ 424815 h 493395"/>
                <a:gd name="connsiteX110" fmla="*/ 304800 w 693419"/>
                <a:gd name="connsiteY110" fmla="*/ 424815 h 493395"/>
                <a:gd name="connsiteX111" fmla="*/ 307658 w 693419"/>
                <a:gd name="connsiteY111" fmla="*/ 416242 h 493395"/>
                <a:gd name="connsiteX112" fmla="*/ 287655 w 693419"/>
                <a:gd name="connsiteY112" fmla="*/ 416242 h 493395"/>
                <a:gd name="connsiteX113" fmla="*/ 295275 w 693419"/>
                <a:gd name="connsiteY113" fmla="*/ 395288 h 493395"/>
                <a:gd name="connsiteX114" fmla="*/ 287655 w 693419"/>
                <a:gd name="connsiteY114" fmla="*/ 395288 h 493395"/>
                <a:gd name="connsiteX115" fmla="*/ 273368 w 693419"/>
                <a:gd name="connsiteY115" fmla="*/ 416242 h 493395"/>
                <a:gd name="connsiteX116" fmla="*/ 256223 w 693419"/>
                <a:gd name="connsiteY116" fmla="*/ 418147 h 493395"/>
                <a:gd name="connsiteX117" fmla="*/ 256223 w 693419"/>
                <a:gd name="connsiteY117" fmla="*/ 423863 h 493395"/>
                <a:gd name="connsiteX118" fmla="*/ 181928 w 693419"/>
                <a:gd name="connsiteY118" fmla="*/ 469583 h 493395"/>
                <a:gd name="connsiteX119" fmla="*/ 213360 w 693419"/>
                <a:gd name="connsiteY119" fmla="*/ 426720 h 493395"/>
                <a:gd name="connsiteX120" fmla="*/ 220028 w 693419"/>
                <a:gd name="connsiteY120" fmla="*/ 427672 h 493395"/>
                <a:gd name="connsiteX121" fmla="*/ 208598 w 693419"/>
                <a:gd name="connsiteY121" fmla="*/ 459105 h 493395"/>
                <a:gd name="connsiteX122" fmla="*/ 186690 w 693419"/>
                <a:gd name="connsiteY122" fmla="*/ 477203 h 493395"/>
                <a:gd name="connsiteX123" fmla="*/ 181928 w 693419"/>
                <a:gd name="connsiteY123" fmla="*/ 469583 h 493395"/>
                <a:gd name="connsiteX124" fmla="*/ 244793 w 693419"/>
                <a:gd name="connsiteY124" fmla="*/ 408622 h 493395"/>
                <a:gd name="connsiteX125" fmla="*/ 238125 w 693419"/>
                <a:gd name="connsiteY125" fmla="*/ 408622 h 493395"/>
                <a:gd name="connsiteX126" fmla="*/ 231458 w 693419"/>
                <a:gd name="connsiteY126" fmla="*/ 415290 h 493395"/>
                <a:gd name="connsiteX127" fmla="*/ 229553 w 693419"/>
                <a:gd name="connsiteY127" fmla="*/ 415290 h 493395"/>
                <a:gd name="connsiteX128" fmla="*/ 166688 w 693419"/>
                <a:gd name="connsiteY128" fmla="*/ 481013 h 493395"/>
                <a:gd name="connsiteX129" fmla="*/ 179070 w 693419"/>
                <a:gd name="connsiteY129" fmla="*/ 493395 h 493395"/>
                <a:gd name="connsiteX130" fmla="*/ 205740 w 693419"/>
                <a:gd name="connsiteY130" fmla="*/ 467678 h 493395"/>
                <a:gd name="connsiteX131" fmla="*/ 205740 w 693419"/>
                <a:gd name="connsiteY131" fmla="*/ 472440 h 493395"/>
                <a:gd name="connsiteX132" fmla="*/ 216218 w 693419"/>
                <a:gd name="connsiteY132" fmla="*/ 493395 h 493395"/>
                <a:gd name="connsiteX133" fmla="*/ 238125 w 693419"/>
                <a:gd name="connsiteY133" fmla="*/ 467678 h 493395"/>
                <a:gd name="connsiteX134" fmla="*/ 234315 w 693419"/>
                <a:gd name="connsiteY134" fmla="*/ 467678 h 493395"/>
                <a:gd name="connsiteX135" fmla="*/ 223838 w 693419"/>
                <a:gd name="connsiteY135" fmla="*/ 477203 h 493395"/>
                <a:gd name="connsiteX136" fmla="*/ 223838 w 693419"/>
                <a:gd name="connsiteY136" fmla="*/ 459105 h 493395"/>
                <a:gd name="connsiteX137" fmla="*/ 244793 w 693419"/>
                <a:gd name="connsiteY137" fmla="*/ 408622 h 493395"/>
                <a:gd name="connsiteX138" fmla="*/ 172403 w 693419"/>
                <a:gd name="connsiteY138" fmla="*/ 430530 h 493395"/>
                <a:gd name="connsiteX139" fmla="*/ 166688 w 693419"/>
                <a:gd name="connsiteY139" fmla="*/ 412433 h 493395"/>
                <a:gd name="connsiteX140" fmla="*/ 146685 w 693419"/>
                <a:gd name="connsiteY140" fmla="*/ 438150 h 493395"/>
                <a:gd name="connsiteX141" fmla="*/ 146685 w 693419"/>
                <a:gd name="connsiteY141" fmla="*/ 426720 h 493395"/>
                <a:gd name="connsiteX142" fmla="*/ 137160 w 693419"/>
                <a:gd name="connsiteY142" fmla="*/ 411480 h 493395"/>
                <a:gd name="connsiteX143" fmla="*/ 115253 w 693419"/>
                <a:gd name="connsiteY143" fmla="*/ 437197 h 493395"/>
                <a:gd name="connsiteX144" fmla="*/ 119063 w 693419"/>
                <a:gd name="connsiteY144" fmla="*/ 437197 h 493395"/>
                <a:gd name="connsiteX145" fmla="*/ 129540 w 693419"/>
                <a:gd name="connsiteY145" fmla="*/ 427672 h 493395"/>
                <a:gd name="connsiteX146" fmla="*/ 129540 w 693419"/>
                <a:gd name="connsiteY146" fmla="*/ 445770 h 493395"/>
                <a:gd name="connsiteX147" fmla="*/ 113348 w 693419"/>
                <a:gd name="connsiteY147" fmla="*/ 481013 h 493395"/>
                <a:gd name="connsiteX148" fmla="*/ 120015 w 693419"/>
                <a:gd name="connsiteY148" fmla="*/ 492442 h 493395"/>
                <a:gd name="connsiteX149" fmla="*/ 127635 w 693419"/>
                <a:gd name="connsiteY149" fmla="*/ 486728 h 493395"/>
                <a:gd name="connsiteX150" fmla="*/ 143828 w 693419"/>
                <a:gd name="connsiteY150" fmla="*/ 444817 h 493395"/>
                <a:gd name="connsiteX151" fmla="*/ 157163 w 693419"/>
                <a:gd name="connsiteY151" fmla="*/ 429578 h 493395"/>
                <a:gd name="connsiteX152" fmla="*/ 172403 w 693419"/>
                <a:gd name="connsiteY152" fmla="*/ 429578 h 493395"/>
                <a:gd name="connsiteX153" fmla="*/ 59055 w 693419"/>
                <a:gd name="connsiteY153" fmla="*/ 489585 h 493395"/>
                <a:gd name="connsiteX154" fmla="*/ 60960 w 693419"/>
                <a:gd name="connsiteY154" fmla="*/ 484822 h 493395"/>
                <a:gd name="connsiteX155" fmla="*/ 46673 w 693419"/>
                <a:gd name="connsiteY155" fmla="*/ 460058 h 493395"/>
                <a:gd name="connsiteX156" fmla="*/ 54293 w 693419"/>
                <a:gd name="connsiteY156" fmla="*/ 438150 h 493395"/>
                <a:gd name="connsiteX157" fmla="*/ 76200 w 693419"/>
                <a:gd name="connsiteY157" fmla="*/ 438150 h 493395"/>
                <a:gd name="connsiteX158" fmla="*/ 84773 w 693419"/>
                <a:gd name="connsiteY158" fmla="*/ 452438 h 493395"/>
                <a:gd name="connsiteX159" fmla="*/ 90488 w 693419"/>
                <a:gd name="connsiteY159" fmla="*/ 452438 h 493395"/>
                <a:gd name="connsiteX160" fmla="*/ 103823 w 693419"/>
                <a:gd name="connsiteY160" fmla="*/ 416242 h 493395"/>
                <a:gd name="connsiteX161" fmla="*/ 98107 w 693419"/>
                <a:gd name="connsiteY161" fmla="*/ 416242 h 493395"/>
                <a:gd name="connsiteX162" fmla="*/ 79057 w 693419"/>
                <a:gd name="connsiteY162" fmla="*/ 430530 h 493395"/>
                <a:gd name="connsiteX163" fmla="*/ 57150 w 693419"/>
                <a:gd name="connsiteY163" fmla="*/ 430530 h 493395"/>
                <a:gd name="connsiteX164" fmla="*/ 68580 w 693419"/>
                <a:gd name="connsiteY164" fmla="*/ 399097 h 493395"/>
                <a:gd name="connsiteX165" fmla="*/ 87630 w 693419"/>
                <a:gd name="connsiteY165" fmla="*/ 386715 h 493395"/>
                <a:gd name="connsiteX166" fmla="*/ 97155 w 693419"/>
                <a:gd name="connsiteY166" fmla="*/ 386715 h 493395"/>
                <a:gd name="connsiteX167" fmla="*/ 112395 w 693419"/>
                <a:gd name="connsiteY167" fmla="*/ 404813 h 493395"/>
                <a:gd name="connsiteX168" fmla="*/ 118110 w 693419"/>
                <a:gd name="connsiteY168" fmla="*/ 404813 h 493395"/>
                <a:gd name="connsiteX169" fmla="*/ 122873 w 693419"/>
                <a:gd name="connsiteY169" fmla="*/ 380047 h 493395"/>
                <a:gd name="connsiteX170" fmla="*/ 40957 w 693419"/>
                <a:gd name="connsiteY170" fmla="*/ 380047 h 493395"/>
                <a:gd name="connsiteX171" fmla="*/ 39053 w 693419"/>
                <a:gd name="connsiteY171" fmla="*/ 384810 h 493395"/>
                <a:gd name="connsiteX172" fmla="*/ 48578 w 693419"/>
                <a:gd name="connsiteY172" fmla="*/ 409575 h 493395"/>
                <a:gd name="connsiteX173" fmla="*/ 30480 w 693419"/>
                <a:gd name="connsiteY173" fmla="*/ 458153 h 493395"/>
                <a:gd name="connsiteX174" fmla="*/ 1905 w 693419"/>
                <a:gd name="connsiteY174" fmla="*/ 482917 h 493395"/>
                <a:gd name="connsiteX175" fmla="*/ 953 w 693419"/>
                <a:gd name="connsiteY175" fmla="*/ 487680 h 493395"/>
                <a:gd name="connsiteX176" fmla="*/ 59055 w 693419"/>
                <a:gd name="connsiteY176" fmla="*/ 487680 h 493395"/>
                <a:gd name="connsiteX177" fmla="*/ 460058 w 693419"/>
                <a:gd name="connsiteY177" fmla="*/ 238125 h 493395"/>
                <a:gd name="connsiteX178" fmla="*/ 467678 w 693419"/>
                <a:gd name="connsiteY178" fmla="*/ 252413 h 493395"/>
                <a:gd name="connsiteX179" fmla="*/ 441960 w 693419"/>
                <a:gd name="connsiteY179" fmla="*/ 258128 h 493395"/>
                <a:gd name="connsiteX180" fmla="*/ 460058 w 693419"/>
                <a:gd name="connsiteY180" fmla="*/ 238125 h 493395"/>
                <a:gd name="connsiteX181" fmla="*/ 474345 w 693419"/>
                <a:gd name="connsiteY181" fmla="*/ 279083 h 493395"/>
                <a:gd name="connsiteX182" fmla="*/ 469583 w 693419"/>
                <a:gd name="connsiteY182" fmla="*/ 279083 h 493395"/>
                <a:gd name="connsiteX183" fmla="*/ 449580 w 693419"/>
                <a:gd name="connsiteY183" fmla="*/ 292417 h 493395"/>
                <a:gd name="connsiteX184" fmla="*/ 439103 w 693419"/>
                <a:gd name="connsiteY184" fmla="*/ 279083 h 493395"/>
                <a:gd name="connsiteX185" fmla="*/ 440055 w 693419"/>
                <a:gd name="connsiteY185" fmla="*/ 267653 h 493395"/>
                <a:gd name="connsiteX186" fmla="*/ 481013 w 693419"/>
                <a:gd name="connsiteY186" fmla="*/ 254317 h 493395"/>
                <a:gd name="connsiteX187" fmla="*/ 467678 w 693419"/>
                <a:gd name="connsiteY187" fmla="*/ 226695 h 493395"/>
                <a:gd name="connsiteX188" fmla="*/ 425768 w 693419"/>
                <a:gd name="connsiteY188" fmla="*/ 287655 h 493395"/>
                <a:gd name="connsiteX189" fmla="*/ 441008 w 693419"/>
                <a:gd name="connsiteY189" fmla="*/ 307658 h 493395"/>
                <a:gd name="connsiteX190" fmla="*/ 474345 w 693419"/>
                <a:gd name="connsiteY190" fmla="*/ 279083 h 493395"/>
                <a:gd name="connsiteX191" fmla="*/ 466725 w 693419"/>
                <a:gd name="connsiteY191" fmla="*/ 219075 h 493395"/>
                <a:gd name="connsiteX192" fmla="*/ 495300 w 693419"/>
                <a:gd name="connsiteY192" fmla="*/ 192405 h 493395"/>
                <a:gd name="connsiteX193" fmla="*/ 495300 w 693419"/>
                <a:gd name="connsiteY193" fmla="*/ 189547 h 493395"/>
                <a:gd name="connsiteX194" fmla="*/ 480060 w 693419"/>
                <a:gd name="connsiteY194" fmla="*/ 189547 h 493395"/>
                <a:gd name="connsiteX195" fmla="*/ 461963 w 693419"/>
                <a:gd name="connsiteY195" fmla="*/ 220028 h 493395"/>
                <a:gd name="connsiteX196" fmla="*/ 466725 w 693419"/>
                <a:gd name="connsiteY196" fmla="*/ 220028 h 493395"/>
                <a:gd name="connsiteX197" fmla="*/ 378143 w 693419"/>
                <a:gd name="connsiteY197" fmla="*/ 238125 h 493395"/>
                <a:gd name="connsiteX198" fmla="*/ 391478 w 693419"/>
                <a:gd name="connsiteY198" fmla="*/ 238125 h 493395"/>
                <a:gd name="connsiteX199" fmla="*/ 369570 w 693419"/>
                <a:gd name="connsiteY199" fmla="*/ 297180 h 493395"/>
                <a:gd name="connsiteX200" fmla="*/ 375285 w 693419"/>
                <a:gd name="connsiteY200" fmla="*/ 307658 h 493395"/>
                <a:gd name="connsiteX201" fmla="*/ 414338 w 693419"/>
                <a:gd name="connsiteY201" fmla="*/ 279083 h 493395"/>
                <a:gd name="connsiteX202" fmla="*/ 410528 w 693419"/>
                <a:gd name="connsiteY202" fmla="*/ 279083 h 493395"/>
                <a:gd name="connsiteX203" fmla="*/ 385763 w 693419"/>
                <a:gd name="connsiteY203" fmla="*/ 294322 h 493395"/>
                <a:gd name="connsiteX204" fmla="*/ 405765 w 693419"/>
                <a:gd name="connsiteY204" fmla="*/ 239078 h 493395"/>
                <a:gd name="connsiteX205" fmla="*/ 425768 w 693419"/>
                <a:gd name="connsiteY205" fmla="*/ 239078 h 493395"/>
                <a:gd name="connsiteX206" fmla="*/ 428625 w 693419"/>
                <a:gd name="connsiteY206" fmla="*/ 230505 h 493395"/>
                <a:gd name="connsiteX207" fmla="*/ 408622 w 693419"/>
                <a:gd name="connsiteY207" fmla="*/ 230505 h 493395"/>
                <a:gd name="connsiteX208" fmla="*/ 416243 w 693419"/>
                <a:gd name="connsiteY208" fmla="*/ 209550 h 493395"/>
                <a:gd name="connsiteX209" fmla="*/ 408622 w 693419"/>
                <a:gd name="connsiteY209" fmla="*/ 209550 h 493395"/>
                <a:gd name="connsiteX210" fmla="*/ 394335 w 693419"/>
                <a:gd name="connsiteY210" fmla="*/ 230505 h 493395"/>
                <a:gd name="connsiteX211" fmla="*/ 377190 w 693419"/>
                <a:gd name="connsiteY211" fmla="*/ 232410 h 493395"/>
                <a:gd name="connsiteX212" fmla="*/ 377190 w 693419"/>
                <a:gd name="connsiteY212" fmla="*/ 238125 h 493395"/>
                <a:gd name="connsiteX213" fmla="*/ 359093 w 693419"/>
                <a:gd name="connsiteY213" fmla="*/ 235267 h 493395"/>
                <a:gd name="connsiteX214" fmla="*/ 354330 w 693419"/>
                <a:gd name="connsiteY214" fmla="*/ 226695 h 493395"/>
                <a:gd name="connsiteX215" fmla="*/ 322898 w 693419"/>
                <a:gd name="connsiteY215" fmla="*/ 252413 h 493395"/>
                <a:gd name="connsiteX216" fmla="*/ 326708 w 693419"/>
                <a:gd name="connsiteY216" fmla="*/ 252413 h 493395"/>
                <a:gd name="connsiteX217" fmla="*/ 342900 w 693419"/>
                <a:gd name="connsiteY217" fmla="*/ 240030 h 493395"/>
                <a:gd name="connsiteX218" fmla="*/ 320040 w 693419"/>
                <a:gd name="connsiteY218" fmla="*/ 299085 h 493395"/>
                <a:gd name="connsiteX219" fmla="*/ 324803 w 693419"/>
                <a:gd name="connsiteY219" fmla="*/ 307658 h 493395"/>
                <a:gd name="connsiteX220" fmla="*/ 355283 w 693419"/>
                <a:gd name="connsiteY220" fmla="*/ 281940 h 493395"/>
                <a:gd name="connsiteX221" fmla="*/ 351472 w 693419"/>
                <a:gd name="connsiteY221" fmla="*/ 281940 h 493395"/>
                <a:gd name="connsiteX222" fmla="*/ 335280 w 693419"/>
                <a:gd name="connsiteY222" fmla="*/ 294322 h 493395"/>
                <a:gd name="connsiteX223" fmla="*/ 359093 w 693419"/>
                <a:gd name="connsiteY223" fmla="*/ 235267 h 493395"/>
                <a:gd name="connsiteX224" fmla="*/ 363855 w 693419"/>
                <a:gd name="connsiteY224" fmla="*/ 205740 h 493395"/>
                <a:gd name="connsiteX225" fmla="*/ 373380 w 693419"/>
                <a:gd name="connsiteY225" fmla="*/ 196215 h 493395"/>
                <a:gd name="connsiteX226" fmla="*/ 363855 w 693419"/>
                <a:gd name="connsiteY226" fmla="*/ 186690 h 493395"/>
                <a:gd name="connsiteX227" fmla="*/ 354330 w 693419"/>
                <a:gd name="connsiteY227" fmla="*/ 196215 h 493395"/>
                <a:gd name="connsiteX228" fmla="*/ 363855 w 693419"/>
                <a:gd name="connsiteY228" fmla="*/ 205740 h 493395"/>
                <a:gd name="connsiteX229" fmla="*/ 284798 w 693419"/>
                <a:gd name="connsiteY229" fmla="*/ 294322 h 493395"/>
                <a:gd name="connsiteX230" fmla="*/ 325755 w 693419"/>
                <a:gd name="connsiteY230" fmla="*/ 185738 h 493395"/>
                <a:gd name="connsiteX231" fmla="*/ 324803 w 693419"/>
                <a:gd name="connsiteY231" fmla="*/ 183833 h 493395"/>
                <a:gd name="connsiteX232" fmla="*/ 299085 w 693419"/>
                <a:gd name="connsiteY232" fmla="*/ 186690 h 493395"/>
                <a:gd name="connsiteX233" fmla="*/ 299085 w 693419"/>
                <a:gd name="connsiteY233" fmla="*/ 189547 h 493395"/>
                <a:gd name="connsiteX234" fmla="*/ 303848 w 693419"/>
                <a:gd name="connsiteY234" fmla="*/ 193358 h 493395"/>
                <a:gd name="connsiteX235" fmla="*/ 302895 w 693419"/>
                <a:gd name="connsiteY235" fmla="*/ 211455 h 493395"/>
                <a:gd name="connsiteX236" fmla="*/ 270510 w 693419"/>
                <a:gd name="connsiteY236" fmla="*/ 296228 h 493395"/>
                <a:gd name="connsiteX237" fmla="*/ 276225 w 693419"/>
                <a:gd name="connsiteY237" fmla="*/ 306705 h 493395"/>
                <a:gd name="connsiteX238" fmla="*/ 306705 w 693419"/>
                <a:gd name="connsiteY238" fmla="*/ 280988 h 493395"/>
                <a:gd name="connsiteX239" fmla="*/ 302895 w 693419"/>
                <a:gd name="connsiteY239" fmla="*/ 280988 h 493395"/>
                <a:gd name="connsiteX240" fmla="*/ 284798 w 693419"/>
                <a:gd name="connsiteY240" fmla="*/ 294322 h 493395"/>
                <a:gd name="connsiteX241" fmla="*/ 205740 w 693419"/>
                <a:gd name="connsiteY241" fmla="*/ 284797 h 493395"/>
                <a:gd name="connsiteX242" fmla="*/ 237173 w 693419"/>
                <a:gd name="connsiteY242" fmla="*/ 241935 h 493395"/>
                <a:gd name="connsiteX243" fmla="*/ 243840 w 693419"/>
                <a:gd name="connsiteY243" fmla="*/ 242888 h 493395"/>
                <a:gd name="connsiteX244" fmla="*/ 232410 w 693419"/>
                <a:gd name="connsiteY244" fmla="*/ 274320 h 493395"/>
                <a:gd name="connsiteX245" fmla="*/ 210503 w 693419"/>
                <a:gd name="connsiteY245" fmla="*/ 292417 h 493395"/>
                <a:gd name="connsiteX246" fmla="*/ 205740 w 693419"/>
                <a:gd name="connsiteY246" fmla="*/ 284797 h 493395"/>
                <a:gd name="connsiteX247" fmla="*/ 268605 w 693419"/>
                <a:gd name="connsiteY247" fmla="*/ 223838 h 493395"/>
                <a:gd name="connsiteX248" fmla="*/ 261938 w 693419"/>
                <a:gd name="connsiteY248" fmla="*/ 223838 h 493395"/>
                <a:gd name="connsiteX249" fmla="*/ 255270 w 693419"/>
                <a:gd name="connsiteY249" fmla="*/ 230505 h 493395"/>
                <a:gd name="connsiteX250" fmla="*/ 253365 w 693419"/>
                <a:gd name="connsiteY250" fmla="*/ 230505 h 493395"/>
                <a:gd name="connsiteX251" fmla="*/ 190500 w 693419"/>
                <a:gd name="connsiteY251" fmla="*/ 296228 h 493395"/>
                <a:gd name="connsiteX252" fmla="*/ 202883 w 693419"/>
                <a:gd name="connsiteY252" fmla="*/ 308610 h 493395"/>
                <a:gd name="connsiteX253" fmla="*/ 229553 w 693419"/>
                <a:gd name="connsiteY253" fmla="*/ 282892 h 493395"/>
                <a:gd name="connsiteX254" fmla="*/ 229553 w 693419"/>
                <a:gd name="connsiteY254" fmla="*/ 287655 h 493395"/>
                <a:gd name="connsiteX255" fmla="*/ 240030 w 693419"/>
                <a:gd name="connsiteY255" fmla="*/ 308610 h 493395"/>
                <a:gd name="connsiteX256" fmla="*/ 261938 w 693419"/>
                <a:gd name="connsiteY256" fmla="*/ 282892 h 493395"/>
                <a:gd name="connsiteX257" fmla="*/ 258128 w 693419"/>
                <a:gd name="connsiteY257" fmla="*/ 282892 h 493395"/>
                <a:gd name="connsiteX258" fmla="*/ 247650 w 693419"/>
                <a:gd name="connsiteY258" fmla="*/ 292417 h 493395"/>
                <a:gd name="connsiteX259" fmla="*/ 247650 w 693419"/>
                <a:gd name="connsiteY259" fmla="*/ 274320 h 493395"/>
                <a:gd name="connsiteX260" fmla="*/ 268605 w 693419"/>
                <a:gd name="connsiteY260" fmla="*/ 223838 h 493395"/>
                <a:gd name="connsiteX261" fmla="*/ 117157 w 693419"/>
                <a:gd name="connsiteY261" fmla="*/ 321945 h 493395"/>
                <a:gd name="connsiteX262" fmla="*/ 135255 w 693419"/>
                <a:gd name="connsiteY262" fmla="*/ 304800 h 493395"/>
                <a:gd name="connsiteX263" fmla="*/ 151448 w 693419"/>
                <a:gd name="connsiteY263" fmla="*/ 310515 h 493395"/>
                <a:gd name="connsiteX264" fmla="*/ 166688 w 693419"/>
                <a:gd name="connsiteY264" fmla="*/ 319088 h 493395"/>
                <a:gd name="connsiteX265" fmla="*/ 137160 w 693419"/>
                <a:gd name="connsiteY265" fmla="*/ 331470 h 493395"/>
                <a:gd name="connsiteX266" fmla="*/ 117157 w 693419"/>
                <a:gd name="connsiteY266" fmla="*/ 321945 h 493395"/>
                <a:gd name="connsiteX267" fmla="*/ 147638 w 693419"/>
                <a:gd name="connsiteY267" fmla="*/ 274320 h 493395"/>
                <a:gd name="connsiteX268" fmla="*/ 140970 w 693419"/>
                <a:gd name="connsiteY268" fmla="*/ 265747 h 493395"/>
                <a:gd name="connsiteX269" fmla="*/ 159068 w 693419"/>
                <a:gd name="connsiteY269" fmla="*/ 233363 h 493395"/>
                <a:gd name="connsiteX270" fmla="*/ 165735 w 693419"/>
                <a:gd name="connsiteY270" fmla="*/ 241935 h 493395"/>
                <a:gd name="connsiteX271" fmla="*/ 147638 w 693419"/>
                <a:gd name="connsiteY271" fmla="*/ 274320 h 493395"/>
                <a:gd name="connsiteX272" fmla="*/ 180023 w 693419"/>
                <a:gd name="connsiteY272" fmla="*/ 314325 h 493395"/>
                <a:gd name="connsiteX273" fmla="*/ 158115 w 693419"/>
                <a:gd name="connsiteY273" fmla="*/ 297180 h 493395"/>
                <a:gd name="connsiteX274" fmla="*/ 140970 w 693419"/>
                <a:gd name="connsiteY274" fmla="*/ 288608 h 493395"/>
                <a:gd name="connsiteX275" fmla="*/ 148590 w 693419"/>
                <a:gd name="connsiteY275" fmla="*/ 279083 h 493395"/>
                <a:gd name="connsiteX276" fmla="*/ 180975 w 693419"/>
                <a:gd name="connsiteY276" fmla="*/ 245745 h 493395"/>
                <a:gd name="connsiteX277" fmla="*/ 179070 w 693419"/>
                <a:gd name="connsiteY277" fmla="*/ 237172 h 493395"/>
                <a:gd name="connsiteX278" fmla="*/ 195263 w 693419"/>
                <a:gd name="connsiteY278" fmla="*/ 237172 h 493395"/>
                <a:gd name="connsiteX279" fmla="*/ 198120 w 693419"/>
                <a:gd name="connsiteY279" fmla="*/ 228600 h 493395"/>
                <a:gd name="connsiteX280" fmla="*/ 172403 w 693419"/>
                <a:gd name="connsiteY280" fmla="*/ 228600 h 493395"/>
                <a:gd name="connsiteX281" fmla="*/ 161925 w 693419"/>
                <a:gd name="connsiteY281" fmla="*/ 225742 h 493395"/>
                <a:gd name="connsiteX282" fmla="*/ 127635 w 693419"/>
                <a:gd name="connsiteY282" fmla="*/ 258128 h 493395"/>
                <a:gd name="connsiteX283" fmla="*/ 143828 w 693419"/>
                <a:gd name="connsiteY283" fmla="*/ 278130 h 493395"/>
                <a:gd name="connsiteX284" fmla="*/ 128588 w 693419"/>
                <a:gd name="connsiteY284" fmla="*/ 293370 h 493395"/>
                <a:gd name="connsiteX285" fmla="*/ 132398 w 693419"/>
                <a:gd name="connsiteY285" fmla="*/ 300990 h 493395"/>
                <a:gd name="connsiteX286" fmla="*/ 100965 w 693419"/>
                <a:gd name="connsiteY286" fmla="*/ 325755 h 493395"/>
                <a:gd name="connsiteX287" fmla="*/ 130493 w 693419"/>
                <a:gd name="connsiteY287" fmla="*/ 340042 h 493395"/>
                <a:gd name="connsiteX288" fmla="*/ 180023 w 693419"/>
                <a:gd name="connsiteY288" fmla="*/ 314325 h 493395"/>
                <a:gd name="connsiteX289" fmla="*/ 76200 w 693419"/>
                <a:gd name="connsiteY289" fmla="*/ 251460 h 493395"/>
                <a:gd name="connsiteX290" fmla="*/ 84773 w 693419"/>
                <a:gd name="connsiteY290" fmla="*/ 265747 h 493395"/>
                <a:gd name="connsiteX291" fmla="*/ 90488 w 693419"/>
                <a:gd name="connsiteY291" fmla="*/ 265747 h 493395"/>
                <a:gd name="connsiteX292" fmla="*/ 103823 w 693419"/>
                <a:gd name="connsiteY292" fmla="*/ 229553 h 493395"/>
                <a:gd name="connsiteX293" fmla="*/ 98107 w 693419"/>
                <a:gd name="connsiteY293" fmla="*/ 229553 h 493395"/>
                <a:gd name="connsiteX294" fmla="*/ 79057 w 693419"/>
                <a:gd name="connsiteY294" fmla="*/ 243840 h 493395"/>
                <a:gd name="connsiteX295" fmla="*/ 57150 w 693419"/>
                <a:gd name="connsiteY295" fmla="*/ 243840 h 493395"/>
                <a:gd name="connsiteX296" fmla="*/ 67628 w 693419"/>
                <a:gd name="connsiteY296" fmla="*/ 214313 h 493395"/>
                <a:gd name="connsiteX297" fmla="*/ 86678 w 693419"/>
                <a:gd name="connsiteY297" fmla="*/ 202883 h 493395"/>
                <a:gd name="connsiteX298" fmla="*/ 96203 w 693419"/>
                <a:gd name="connsiteY298" fmla="*/ 202883 h 493395"/>
                <a:gd name="connsiteX299" fmla="*/ 111443 w 693419"/>
                <a:gd name="connsiteY299" fmla="*/ 220028 h 493395"/>
                <a:gd name="connsiteX300" fmla="*/ 117157 w 693419"/>
                <a:gd name="connsiteY300" fmla="*/ 220028 h 493395"/>
                <a:gd name="connsiteX301" fmla="*/ 121920 w 693419"/>
                <a:gd name="connsiteY301" fmla="*/ 195263 h 493395"/>
                <a:gd name="connsiteX302" fmla="*/ 40005 w 693419"/>
                <a:gd name="connsiteY302" fmla="*/ 195263 h 493395"/>
                <a:gd name="connsiteX303" fmla="*/ 38100 w 693419"/>
                <a:gd name="connsiteY303" fmla="*/ 200025 h 493395"/>
                <a:gd name="connsiteX304" fmla="*/ 47625 w 693419"/>
                <a:gd name="connsiteY304" fmla="*/ 224790 h 493395"/>
                <a:gd name="connsiteX305" fmla="*/ 29528 w 693419"/>
                <a:gd name="connsiteY305" fmla="*/ 273367 h 493395"/>
                <a:gd name="connsiteX306" fmla="*/ 953 w 693419"/>
                <a:gd name="connsiteY306" fmla="*/ 298133 h 493395"/>
                <a:gd name="connsiteX307" fmla="*/ 0 w 693419"/>
                <a:gd name="connsiteY307" fmla="*/ 302895 h 493395"/>
                <a:gd name="connsiteX308" fmla="*/ 91440 w 693419"/>
                <a:gd name="connsiteY308" fmla="*/ 302895 h 493395"/>
                <a:gd name="connsiteX309" fmla="*/ 107632 w 693419"/>
                <a:gd name="connsiteY309" fmla="*/ 277178 h 493395"/>
                <a:gd name="connsiteX310" fmla="*/ 101918 w 693419"/>
                <a:gd name="connsiteY310" fmla="*/ 277178 h 493395"/>
                <a:gd name="connsiteX311" fmla="*/ 60007 w 693419"/>
                <a:gd name="connsiteY311" fmla="*/ 296228 h 493395"/>
                <a:gd name="connsiteX312" fmla="*/ 45720 w 693419"/>
                <a:gd name="connsiteY312" fmla="*/ 273367 h 493395"/>
                <a:gd name="connsiteX313" fmla="*/ 54293 w 693419"/>
                <a:gd name="connsiteY313" fmla="*/ 249555 h 493395"/>
                <a:gd name="connsiteX314" fmla="*/ 76200 w 693419"/>
                <a:gd name="connsiteY314" fmla="*/ 249555 h 493395"/>
                <a:gd name="connsiteX315" fmla="*/ 88582 w 693419"/>
                <a:gd name="connsiteY315" fmla="*/ 188595 h 493395"/>
                <a:gd name="connsiteX316" fmla="*/ 117157 w 693419"/>
                <a:gd name="connsiteY316" fmla="*/ 168592 h 493395"/>
                <a:gd name="connsiteX317" fmla="*/ 117157 w 693419"/>
                <a:gd name="connsiteY317" fmla="*/ 165735 h 493395"/>
                <a:gd name="connsiteX318" fmla="*/ 100013 w 693419"/>
                <a:gd name="connsiteY318" fmla="*/ 165735 h 493395"/>
                <a:gd name="connsiteX319" fmla="*/ 83820 w 693419"/>
                <a:gd name="connsiteY319" fmla="*/ 188595 h 493395"/>
                <a:gd name="connsiteX320" fmla="*/ 88582 w 693419"/>
                <a:gd name="connsiteY320" fmla="*/ 188595 h 493395"/>
                <a:gd name="connsiteX321" fmla="*/ 450533 w 693419"/>
                <a:gd name="connsiteY321" fmla="*/ 52388 h 493395"/>
                <a:gd name="connsiteX322" fmla="*/ 458153 w 693419"/>
                <a:gd name="connsiteY322" fmla="*/ 66675 h 493395"/>
                <a:gd name="connsiteX323" fmla="*/ 432435 w 693419"/>
                <a:gd name="connsiteY323" fmla="*/ 72390 h 493395"/>
                <a:gd name="connsiteX324" fmla="*/ 450533 w 693419"/>
                <a:gd name="connsiteY324" fmla="*/ 52388 h 493395"/>
                <a:gd name="connsiteX325" fmla="*/ 464820 w 693419"/>
                <a:gd name="connsiteY325" fmla="*/ 93345 h 493395"/>
                <a:gd name="connsiteX326" fmla="*/ 460058 w 693419"/>
                <a:gd name="connsiteY326" fmla="*/ 93345 h 493395"/>
                <a:gd name="connsiteX327" fmla="*/ 440055 w 693419"/>
                <a:gd name="connsiteY327" fmla="*/ 106680 h 493395"/>
                <a:gd name="connsiteX328" fmla="*/ 429578 w 693419"/>
                <a:gd name="connsiteY328" fmla="*/ 93345 h 493395"/>
                <a:gd name="connsiteX329" fmla="*/ 430530 w 693419"/>
                <a:gd name="connsiteY329" fmla="*/ 81915 h 493395"/>
                <a:gd name="connsiteX330" fmla="*/ 471488 w 693419"/>
                <a:gd name="connsiteY330" fmla="*/ 68580 h 493395"/>
                <a:gd name="connsiteX331" fmla="*/ 458153 w 693419"/>
                <a:gd name="connsiteY331" fmla="*/ 40958 h 493395"/>
                <a:gd name="connsiteX332" fmla="*/ 416243 w 693419"/>
                <a:gd name="connsiteY332" fmla="*/ 101917 h 493395"/>
                <a:gd name="connsiteX333" fmla="*/ 431483 w 693419"/>
                <a:gd name="connsiteY333" fmla="*/ 121920 h 493395"/>
                <a:gd name="connsiteX334" fmla="*/ 464820 w 693419"/>
                <a:gd name="connsiteY334" fmla="*/ 93345 h 493395"/>
                <a:gd name="connsiteX335" fmla="*/ 457200 w 693419"/>
                <a:gd name="connsiteY335" fmla="*/ 33338 h 493395"/>
                <a:gd name="connsiteX336" fmla="*/ 485775 w 693419"/>
                <a:gd name="connsiteY336" fmla="*/ 6667 h 493395"/>
                <a:gd name="connsiteX337" fmla="*/ 485775 w 693419"/>
                <a:gd name="connsiteY337" fmla="*/ 3810 h 493395"/>
                <a:gd name="connsiteX338" fmla="*/ 470535 w 693419"/>
                <a:gd name="connsiteY338" fmla="*/ 3810 h 493395"/>
                <a:gd name="connsiteX339" fmla="*/ 452438 w 693419"/>
                <a:gd name="connsiteY339" fmla="*/ 34290 h 493395"/>
                <a:gd name="connsiteX340" fmla="*/ 457200 w 693419"/>
                <a:gd name="connsiteY340" fmla="*/ 34290 h 493395"/>
                <a:gd name="connsiteX341" fmla="*/ 371475 w 693419"/>
                <a:gd name="connsiteY341" fmla="*/ 52388 h 493395"/>
                <a:gd name="connsiteX342" fmla="*/ 381953 w 693419"/>
                <a:gd name="connsiteY342" fmla="*/ 52388 h 493395"/>
                <a:gd name="connsiteX343" fmla="*/ 360045 w 693419"/>
                <a:gd name="connsiteY343" fmla="*/ 111442 h 493395"/>
                <a:gd name="connsiteX344" fmla="*/ 365760 w 693419"/>
                <a:gd name="connsiteY344" fmla="*/ 121920 h 493395"/>
                <a:gd name="connsiteX345" fmla="*/ 404813 w 693419"/>
                <a:gd name="connsiteY345" fmla="*/ 93345 h 493395"/>
                <a:gd name="connsiteX346" fmla="*/ 401003 w 693419"/>
                <a:gd name="connsiteY346" fmla="*/ 93345 h 493395"/>
                <a:gd name="connsiteX347" fmla="*/ 376238 w 693419"/>
                <a:gd name="connsiteY347" fmla="*/ 108585 h 493395"/>
                <a:gd name="connsiteX348" fmla="*/ 396240 w 693419"/>
                <a:gd name="connsiteY348" fmla="*/ 53340 h 493395"/>
                <a:gd name="connsiteX349" fmla="*/ 416243 w 693419"/>
                <a:gd name="connsiteY349" fmla="*/ 53340 h 493395"/>
                <a:gd name="connsiteX350" fmla="*/ 419100 w 693419"/>
                <a:gd name="connsiteY350" fmla="*/ 44767 h 493395"/>
                <a:gd name="connsiteX351" fmla="*/ 399097 w 693419"/>
                <a:gd name="connsiteY351" fmla="*/ 44767 h 493395"/>
                <a:gd name="connsiteX352" fmla="*/ 406718 w 693419"/>
                <a:gd name="connsiteY352" fmla="*/ 23813 h 493395"/>
                <a:gd name="connsiteX353" fmla="*/ 399097 w 693419"/>
                <a:gd name="connsiteY353" fmla="*/ 23813 h 493395"/>
                <a:gd name="connsiteX354" fmla="*/ 384810 w 693419"/>
                <a:gd name="connsiteY354" fmla="*/ 44767 h 493395"/>
                <a:gd name="connsiteX355" fmla="*/ 370522 w 693419"/>
                <a:gd name="connsiteY355" fmla="*/ 46672 h 493395"/>
                <a:gd name="connsiteX356" fmla="*/ 370522 w 693419"/>
                <a:gd name="connsiteY356" fmla="*/ 52388 h 493395"/>
                <a:gd name="connsiteX357" fmla="*/ 360997 w 693419"/>
                <a:gd name="connsiteY357" fmla="*/ 59055 h 493395"/>
                <a:gd name="connsiteX358" fmla="*/ 355283 w 693419"/>
                <a:gd name="connsiteY358" fmla="*/ 40958 h 493395"/>
                <a:gd name="connsiteX359" fmla="*/ 335280 w 693419"/>
                <a:gd name="connsiteY359" fmla="*/ 66675 h 493395"/>
                <a:gd name="connsiteX360" fmla="*/ 335280 w 693419"/>
                <a:gd name="connsiteY360" fmla="*/ 55245 h 493395"/>
                <a:gd name="connsiteX361" fmla="*/ 325755 w 693419"/>
                <a:gd name="connsiteY361" fmla="*/ 40005 h 493395"/>
                <a:gd name="connsiteX362" fmla="*/ 303848 w 693419"/>
                <a:gd name="connsiteY362" fmla="*/ 65722 h 493395"/>
                <a:gd name="connsiteX363" fmla="*/ 307658 w 693419"/>
                <a:gd name="connsiteY363" fmla="*/ 65722 h 493395"/>
                <a:gd name="connsiteX364" fmla="*/ 318135 w 693419"/>
                <a:gd name="connsiteY364" fmla="*/ 56197 h 493395"/>
                <a:gd name="connsiteX365" fmla="*/ 318135 w 693419"/>
                <a:gd name="connsiteY365" fmla="*/ 74295 h 493395"/>
                <a:gd name="connsiteX366" fmla="*/ 301943 w 693419"/>
                <a:gd name="connsiteY366" fmla="*/ 109538 h 493395"/>
                <a:gd name="connsiteX367" fmla="*/ 308610 w 693419"/>
                <a:gd name="connsiteY367" fmla="*/ 120967 h 493395"/>
                <a:gd name="connsiteX368" fmla="*/ 316230 w 693419"/>
                <a:gd name="connsiteY368" fmla="*/ 115253 h 493395"/>
                <a:gd name="connsiteX369" fmla="*/ 332423 w 693419"/>
                <a:gd name="connsiteY369" fmla="*/ 73342 h 493395"/>
                <a:gd name="connsiteX370" fmla="*/ 345758 w 693419"/>
                <a:gd name="connsiteY370" fmla="*/ 58103 h 493395"/>
                <a:gd name="connsiteX371" fmla="*/ 360997 w 693419"/>
                <a:gd name="connsiteY371" fmla="*/ 58103 h 493395"/>
                <a:gd name="connsiteX372" fmla="*/ 269558 w 693419"/>
                <a:gd name="connsiteY372" fmla="*/ 52388 h 493395"/>
                <a:gd name="connsiteX373" fmla="*/ 277178 w 693419"/>
                <a:gd name="connsiteY373" fmla="*/ 66675 h 493395"/>
                <a:gd name="connsiteX374" fmla="*/ 251460 w 693419"/>
                <a:gd name="connsiteY374" fmla="*/ 72390 h 493395"/>
                <a:gd name="connsiteX375" fmla="*/ 269558 w 693419"/>
                <a:gd name="connsiteY375" fmla="*/ 52388 h 493395"/>
                <a:gd name="connsiteX376" fmla="*/ 283845 w 693419"/>
                <a:gd name="connsiteY376" fmla="*/ 93345 h 493395"/>
                <a:gd name="connsiteX377" fmla="*/ 279083 w 693419"/>
                <a:gd name="connsiteY377" fmla="*/ 93345 h 493395"/>
                <a:gd name="connsiteX378" fmla="*/ 259080 w 693419"/>
                <a:gd name="connsiteY378" fmla="*/ 106680 h 493395"/>
                <a:gd name="connsiteX379" fmla="*/ 248603 w 693419"/>
                <a:gd name="connsiteY379" fmla="*/ 93345 h 493395"/>
                <a:gd name="connsiteX380" fmla="*/ 249555 w 693419"/>
                <a:gd name="connsiteY380" fmla="*/ 81915 h 493395"/>
                <a:gd name="connsiteX381" fmla="*/ 290513 w 693419"/>
                <a:gd name="connsiteY381" fmla="*/ 68580 h 493395"/>
                <a:gd name="connsiteX382" fmla="*/ 277178 w 693419"/>
                <a:gd name="connsiteY382" fmla="*/ 40958 h 493395"/>
                <a:gd name="connsiteX383" fmla="*/ 235268 w 693419"/>
                <a:gd name="connsiteY383" fmla="*/ 101917 h 493395"/>
                <a:gd name="connsiteX384" fmla="*/ 250508 w 693419"/>
                <a:gd name="connsiteY384" fmla="*/ 121920 h 493395"/>
                <a:gd name="connsiteX385" fmla="*/ 283845 w 693419"/>
                <a:gd name="connsiteY385" fmla="*/ 93345 h 493395"/>
                <a:gd name="connsiteX386" fmla="*/ 182880 w 693419"/>
                <a:gd name="connsiteY386" fmla="*/ 110490 h 493395"/>
                <a:gd name="connsiteX387" fmla="*/ 173355 w 693419"/>
                <a:gd name="connsiteY387" fmla="*/ 103822 h 493395"/>
                <a:gd name="connsiteX388" fmla="*/ 177165 w 693419"/>
                <a:gd name="connsiteY388" fmla="*/ 92392 h 493395"/>
                <a:gd name="connsiteX389" fmla="*/ 183833 w 693419"/>
                <a:gd name="connsiteY389" fmla="*/ 74295 h 493395"/>
                <a:gd name="connsiteX390" fmla="*/ 207645 w 693419"/>
                <a:gd name="connsiteY390" fmla="*/ 57150 h 493395"/>
                <a:gd name="connsiteX391" fmla="*/ 214313 w 693419"/>
                <a:gd name="connsiteY391" fmla="*/ 64770 h 493395"/>
                <a:gd name="connsiteX392" fmla="*/ 182880 w 693419"/>
                <a:gd name="connsiteY392" fmla="*/ 110490 h 493395"/>
                <a:gd name="connsiteX393" fmla="*/ 230505 w 693419"/>
                <a:gd name="connsiteY393" fmla="*/ 58103 h 493395"/>
                <a:gd name="connsiteX394" fmla="*/ 218123 w 693419"/>
                <a:gd name="connsiteY394" fmla="*/ 41910 h 493395"/>
                <a:gd name="connsiteX395" fmla="*/ 188595 w 693419"/>
                <a:gd name="connsiteY395" fmla="*/ 66675 h 493395"/>
                <a:gd name="connsiteX396" fmla="*/ 213360 w 693419"/>
                <a:gd name="connsiteY396" fmla="*/ 1905 h 493395"/>
                <a:gd name="connsiteX397" fmla="*/ 212408 w 693419"/>
                <a:gd name="connsiteY397" fmla="*/ 0 h 493395"/>
                <a:gd name="connsiteX398" fmla="*/ 186690 w 693419"/>
                <a:gd name="connsiteY398" fmla="*/ 2858 h 493395"/>
                <a:gd name="connsiteX399" fmla="*/ 186690 w 693419"/>
                <a:gd name="connsiteY399" fmla="*/ 5715 h 493395"/>
                <a:gd name="connsiteX400" fmla="*/ 191453 w 693419"/>
                <a:gd name="connsiteY400" fmla="*/ 9525 h 493395"/>
                <a:gd name="connsiteX401" fmla="*/ 190500 w 693419"/>
                <a:gd name="connsiteY401" fmla="*/ 27622 h 493395"/>
                <a:gd name="connsiteX402" fmla="*/ 163830 w 693419"/>
                <a:gd name="connsiteY402" fmla="*/ 96203 h 493395"/>
                <a:gd name="connsiteX403" fmla="*/ 159068 w 693419"/>
                <a:gd name="connsiteY403" fmla="*/ 108585 h 493395"/>
                <a:gd name="connsiteX404" fmla="*/ 177165 w 693419"/>
                <a:gd name="connsiteY404" fmla="*/ 121920 h 493395"/>
                <a:gd name="connsiteX405" fmla="*/ 230505 w 693419"/>
                <a:gd name="connsiteY405" fmla="*/ 58103 h 493395"/>
                <a:gd name="connsiteX406" fmla="*/ 149543 w 693419"/>
                <a:gd name="connsiteY406" fmla="*/ 49530 h 493395"/>
                <a:gd name="connsiteX407" fmla="*/ 144780 w 693419"/>
                <a:gd name="connsiteY407" fmla="*/ 40958 h 493395"/>
                <a:gd name="connsiteX408" fmla="*/ 113348 w 693419"/>
                <a:gd name="connsiteY408" fmla="*/ 66675 h 493395"/>
                <a:gd name="connsiteX409" fmla="*/ 117157 w 693419"/>
                <a:gd name="connsiteY409" fmla="*/ 66675 h 493395"/>
                <a:gd name="connsiteX410" fmla="*/ 133350 w 693419"/>
                <a:gd name="connsiteY410" fmla="*/ 54292 h 493395"/>
                <a:gd name="connsiteX411" fmla="*/ 110490 w 693419"/>
                <a:gd name="connsiteY411" fmla="*/ 113347 h 493395"/>
                <a:gd name="connsiteX412" fmla="*/ 115253 w 693419"/>
                <a:gd name="connsiteY412" fmla="*/ 121920 h 493395"/>
                <a:gd name="connsiteX413" fmla="*/ 145733 w 693419"/>
                <a:gd name="connsiteY413" fmla="*/ 96203 h 493395"/>
                <a:gd name="connsiteX414" fmla="*/ 141923 w 693419"/>
                <a:gd name="connsiteY414" fmla="*/ 96203 h 493395"/>
                <a:gd name="connsiteX415" fmla="*/ 125730 w 693419"/>
                <a:gd name="connsiteY415" fmla="*/ 108585 h 493395"/>
                <a:gd name="connsiteX416" fmla="*/ 149543 w 693419"/>
                <a:gd name="connsiteY416" fmla="*/ 49530 h 493395"/>
                <a:gd name="connsiteX417" fmla="*/ 153353 w 693419"/>
                <a:gd name="connsiteY417" fmla="*/ 20003 h 493395"/>
                <a:gd name="connsiteX418" fmla="*/ 162878 w 693419"/>
                <a:gd name="connsiteY418" fmla="*/ 10478 h 493395"/>
                <a:gd name="connsiteX419" fmla="*/ 153353 w 693419"/>
                <a:gd name="connsiteY419" fmla="*/ 953 h 493395"/>
                <a:gd name="connsiteX420" fmla="*/ 143828 w 693419"/>
                <a:gd name="connsiteY420" fmla="*/ 10478 h 493395"/>
                <a:gd name="connsiteX421" fmla="*/ 153353 w 693419"/>
                <a:gd name="connsiteY421" fmla="*/ 20003 h 493395"/>
                <a:gd name="connsiteX422" fmla="*/ 93345 w 693419"/>
                <a:gd name="connsiteY422" fmla="*/ 10478 h 493395"/>
                <a:gd name="connsiteX423" fmla="*/ 39053 w 693419"/>
                <a:gd name="connsiteY423" fmla="*/ 10478 h 493395"/>
                <a:gd name="connsiteX424" fmla="*/ 37148 w 693419"/>
                <a:gd name="connsiteY424" fmla="*/ 15240 h 493395"/>
                <a:gd name="connsiteX425" fmla="*/ 46673 w 693419"/>
                <a:gd name="connsiteY425" fmla="*/ 40005 h 493395"/>
                <a:gd name="connsiteX426" fmla="*/ 29528 w 693419"/>
                <a:gd name="connsiteY426" fmla="*/ 88583 h 493395"/>
                <a:gd name="connsiteX427" fmla="*/ 953 w 693419"/>
                <a:gd name="connsiteY427" fmla="*/ 113347 h 493395"/>
                <a:gd name="connsiteX428" fmla="*/ 0 w 693419"/>
                <a:gd name="connsiteY428" fmla="*/ 118110 h 493395"/>
                <a:gd name="connsiteX429" fmla="*/ 82868 w 693419"/>
                <a:gd name="connsiteY429" fmla="*/ 118110 h 493395"/>
                <a:gd name="connsiteX430" fmla="*/ 100965 w 693419"/>
                <a:gd name="connsiteY430" fmla="*/ 86678 h 493395"/>
                <a:gd name="connsiteX431" fmla="*/ 94298 w 693419"/>
                <a:gd name="connsiteY431" fmla="*/ 86678 h 493395"/>
                <a:gd name="connsiteX432" fmla="*/ 54293 w 693419"/>
                <a:gd name="connsiteY432" fmla="*/ 111442 h 493395"/>
                <a:gd name="connsiteX433" fmla="*/ 46673 w 693419"/>
                <a:gd name="connsiteY433" fmla="*/ 88583 h 493395"/>
                <a:gd name="connsiteX434" fmla="*/ 63818 w 693419"/>
                <a:gd name="connsiteY434" fmla="*/ 40005 h 493395"/>
                <a:gd name="connsiteX435" fmla="*/ 92393 w 693419"/>
                <a:gd name="connsiteY435" fmla="*/ 15240 h 493395"/>
                <a:gd name="connsiteX436" fmla="*/ 93345 w 693419"/>
                <a:gd name="connsiteY436" fmla="*/ 10478 h 49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</a:cxnLst>
              <a:rect l="l" t="t" r="r" b="b"/>
              <a:pathLst>
                <a:path w="693419" h="493395">
                  <a:moveTo>
                    <a:pt x="659130" y="422910"/>
                  </a:moveTo>
                  <a:cubicBezTo>
                    <a:pt x="664845" y="422910"/>
                    <a:pt x="669608" y="426720"/>
                    <a:pt x="666750" y="437197"/>
                  </a:cubicBezTo>
                  <a:lnTo>
                    <a:pt x="641033" y="442913"/>
                  </a:lnTo>
                  <a:cubicBezTo>
                    <a:pt x="645795" y="432435"/>
                    <a:pt x="653415" y="422910"/>
                    <a:pt x="659130" y="422910"/>
                  </a:cubicBezTo>
                  <a:moveTo>
                    <a:pt x="673418" y="464820"/>
                  </a:moveTo>
                  <a:lnTo>
                    <a:pt x="668655" y="464820"/>
                  </a:lnTo>
                  <a:cubicBezTo>
                    <a:pt x="661988" y="472440"/>
                    <a:pt x="655320" y="478155"/>
                    <a:pt x="648653" y="478155"/>
                  </a:cubicBezTo>
                  <a:cubicBezTo>
                    <a:pt x="641985" y="478155"/>
                    <a:pt x="638175" y="474345"/>
                    <a:pt x="638175" y="464820"/>
                  </a:cubicBezTo>
                  <a:cubicBezTo>
                    <a:pt x="638175" y="461010"/>
                    <a:pt x="638175" y="457200"/>
                    <a:pt x="639128" y="453390"/>
                  </a:cubicBezTo>
                  <a:lnTo>
                    <a:pt x="680085" y="440055"/>
                  </a:lnTo>
                  <a:cubicBezTo>
                    <a:pt x="687705" y="421005"/>
                    <a:pt x="678180" y="412433"/>
                    <a:pt x="666750" y="412433"/>
                  </a:cubicBezTo>
                  <a:cubicBezTo>
                    <a:pt x="647700" y="412433"/>
                    <a:pt x="624840" y="444817"/>
                    <a:pt x="624840" y="473392"/>
                  </a:cubicBezTo>
                  <a:cubicBezTo>
                    <a:pt x="624840" y="485775"/>
                    <a:pt x="630555" y="493395"/>
                    <a:pt x="640080" y="493395"/>
                  </a:cubicBezTo>
                  <a:cubicBezTo>
                    <a:pt x="652463" y="493395"/>
                    <a:pt x="663893" y="481965"/>
                    <a:pt x="673418" y="464820"/>
                  </a:cubicBezTo>
                  <a:moveTo>
                    <a:pt x="664845" y="404813"/>
                  </a:moveTo>
                  <a:lnTo>
                    <a:pt x="693420" y="378142"/>
                  </a:lnTo>
                  <a:lnTo>
                    <a:pt x="693420" y="375285"/>
                  </a:lnTo>
                  <a:lnTo>
                    <a:pt x="678180" y="375285"/>
                  </a:lnTo>
                  <a:lnTo>
                    <a:pt x="660083" y="405765"/>
                  </a:lnTo>
                  <a:lnTo>
                    <a:pt x="664845" y="405765"/>
                  </a:lnTo>
                  <a:close/>
                  <a:moveTo>
                    <a:pt x="576263" y="423863"/>
                  </a:moveTo>
                  <a:lnTo>
                    <a:pt x="589598" y="423863"/>
                  </a:lnTo>
                  <a:lnTo>
                    <a:pt x="567690" y="482917"/>
                  </a:lnTo>
                  <a:cubicBezTo>
                    <a:pt x="565785" y="487680"/>
                    <a:pt x="568643" y="493395"/>
                    <a:pt x="573405" y="493395"/>
                  </a:cubicBezTo>
                  <a:cubicBezTo>
                    <a:pt x="585788" y="493395"/>
                    <a:pt x="605790" y="481013"/>
                    <a:pt x="612458" y="464820"/>
                  </a:cubicBezTo>
                  <a:lnTo>
                    <a:pt x="608648" y="464820"/>
                  </a:lnTo>
                  <a:cubicBezTo>
                    <a:pt x="602933" y="470535"/>
                    <a:pt x="592455" y="478155"/>
                    <a:pt x="583883" y="480060"/>
                  </a:cubicBezTo>
                  <a:lnTo>
                    <a:pt x="603885" y="424815"/>
                  </a:lnTo>
                  <a:lnTo>
                    <a:pt x="623888" y="424815"/>
                  </a:lnTo>
                  <a:lnTo>
                    <a:pt x="626745" y="416242"/>
                  </a:lnTo>
                  <a:lnTo>
                    <a:pt x="606743" y="416242"/>
                  </a:lnTo>
                  <a:lnTo>
                    <a:pt x="614363" y="395288"/>
                  </a:lnTo>
                  <a:lnTo>
                    <a:pt x="606743" y="395288"/>
                  </a:lnTo>
                  <a:lnTo>
                    <a:pt x="592455" y="416242"/>
                  </a:lnTo>
                  <a:lnTo>
                    <a:pt x="575310" y="418147"/>
                  </a:lnTo>
                  <a:lnTo>
                    <a:pt x="575310" y="423863"/>
                  </a:lnTo>
                  <a:close/>
                  <a:moveTo>
                    <a:pt x="558165" y="421005"/>
                  </a:moveTo>
                  <a:cubicBezTo>
                    <a:pt x="560070" y="415290"/>
                    <a:pt x="556260" y="412433"/>
                    <a:pt x="553403" y="412433"/>
                  </a:cubicBezTo>
                  <a:cubicBezTo>
                    <a:pt x="541973" y="412433"/>
                    <a:pt x="527685" y="422910"/>
                    <a:pt x="521970" y="438150"/>
                  </a:cubicBezTo>
                  <a:lnTo>
                    <a:pt x="525780" y="438150"/>
                  </a:lnTo>
                  <a:cubicBezTo>
                    <a:pt x="529590" y="432435"/>
                    <a:pt x="536258" y="426720"/>
                    <a:pt x="541973" y="425767"/>
                  </a:cubicBezTo>
                  <a:lnTo>
                    <a:pt x="519113" y="484822"/>
                  </a:lnTo>
                  <a:cubicBezTo>
                    <a:pt x="517208" y="490538"/>
                    <a:pt x="521018" y="493395"/>
                    <a:pt x="523875" y="493395"/>
                  </a:cubicBezTo>
                  <a:cubicBezTo>
                    <a:pt x="535305" y="493395"/>
                    <a:pt x="548640" y="482917"/>
                    <a:pt x="554355" y="467678"/>
                  </a:cubicBezTo>
                  <a:lnTo>
                    <a:pt x="550545" y="467678"/>
                  </a:lnTo>
                  <a:cubicBezTo>
                    <a:pt x="546735" y="473392"/>
                    <a:pt x="540068" y="479108"/>
                    <a:pt x="534353" y="480060"/>
                  </a:cubicBezTo>
                  <a:lnTo>
                    <a:pt x="558165" y="421005"/>
                  </a:lnTo>
                  <a:close/>
                  <a:moveTo>
                    <a:pt x="561975" y="391478"/>
                  </a:moveTo>
                  <a:cubicBezTo>
                    <a:pt x="567690" y="391478"/>
                    <a:pt x="571500" y="386715"/>
                    <a:pt x="571500" y="381953"/>
                  </a:cubicBezTo>
                  <a:cubicBezTo>
                    <a:pt x="571500" y="376238"/>
                    <a:pt x="566738" y="372428"/>
                    <a:pt x="561975" y="372428"/>
                  </a:cubicBezTo>
                  <a:cubicBezTo>
                    <a:pt x="556260" y="372428"/>
                    <a:pt x="552450" y="377190"/>
                    <a:pt x="552450" y="381953"/>
                  </a:cubicBezTo>
                  <a:cubicBezTo>
                    <a:pt x="552450" y="386715"/>
                    <a:pt x="556260" y="391478"/>
                    <a:pt x="561975" y="391478"/>
                  </a:cubicBezTo>
                  <a:moveTo>
                    <a:pt x="431483" y="481965"/>
                  </a:moveTo>
                  <a:cubicBezTo>
                    <a:pt x="428625" y="488633"/>
                    <a:pt x="431483" y="493395"/>
                    <a:pt x="438150" y="493395"/>
                  </a:cubicBezTo>
                  <a:cubicBezTo>
                    <a:pt x="441960" y="493395"/>
                    <a:pt x="443865" y="492442"/>
                    <a:pt x="445770" y="487680"/>
                  </a:cubicBezTo>
                  <a:lnTo>
                    <a:pt x="461963" y="445770"/>
                  </a:lnTo>
                  <a:cubicBezTo>
                    <a:pt x="469583" y="437197"/>
                    <a:pt x="483870" y="427672"/>
                    <a:pt x="490538" y="427672"/>
                  </a:cubicBezTo>
                  <a:cubicBezTo>
                    <a:pt x="495300" y="427672"/>
                    <a:pt x="494347" y="431483"/>
                    <a:pt x="491490" y="436245"/>
                  </a:cubicBezTo>
                  <a:lnTo>
                    <a:pt x="467678" y="482917"/>
                  </a:lnTo>
                  <a:cubicBezTo>
                    <a:pt x="465772" y="487680"/>
                    <a:pt x="468630" y="493395"/>
                    <a:pt x="473393" y="493395"/>
                  </a:cubicBezTo>
                  <a:cubicBezTo>
                    <a:pt x="484822" y="493395"/>
                    <a:pt x="499110" y="482917"/>
                    <a:pt x="504825" y="467678"/>
                  </a:cubicBezTo>
                  <a:lnTo>
                    <a:pt x="501015" y="467678"/>
                  </a:lnTo>
                  <a:cubicBezTo>
                    <a:pt x="497205" y="473392"/>
                    <a:pt x="490538" y="479108"/>
                    <a:pt x="484822" y="480060"/>
                  </a:cubicBezTo>
                  <a:lnTo>
                    <a:pt x="505778" y="438150"/>
                  </a:lnTo>
                  <a:cubicBezTo>
                    <a:pt x="508635" y="432435"/>
                    <a:pt x="509588" y="427672"/>
                    <a:pt x="509588" y="423863"/>
                  </a:cubicBezTo>
                  <a:cubicBezTo>
                    <a:pt x="509588" y="417195"/>
                    <a:pt x="505778" y="412433"/>
                    <a:pt x="498158" y="412433"/>
                  </a:cubicBezTo>
                  <a:cubicBezTo>
                    <a:pt x="487680" y="412433"/>
                    <a:pt x="477203" y="423863"/>
                    <a:pt x="464820" y="438150"/>
                  </a:cubicBezTo>
                  <a:lnTo>
                    <a:pt x="464820" y="426720"/>
                  </a:lnTo>
                  <a:cubicBezTo>
                    <a:pt x="464820" y="419100"/>
                    <a:pt x="461963" y="411480"/>
                    <a:pt x="455295" y="411480"/>
                  </a:cubicBezTo>
                  <a:cubicBezTo>
                    <a:pt x="450533" y="411480"/>
                    <a:pt x="446722" y="415290"/>
                    <a:pt x="442913" y="421005"/>
                  </a:cubicBezTo>
                  <a:lnTo>
                    <a:pt x="442913" y="422910"/>
                  </a:lnTo>
                  <a:cubicBezTo>
                    <a:pt x="450533" y="422910"/>
                    <a:pt x="454343" y="434340"/>
                    <a:pt x="448628" y="445770"/>
                  </a:cubicBezTo>
                  <a:lnTo>
                    <a:pt x="431483" y="481965"/>
                  </a:lnTo>
                  <a:close/>
                  <a:moveTo>
                    <a:pt x="431483" y="430530"/>
                  </a:moveTo>
                  <a:cubicBezTo>
                    <a:pt x="434340" y="421005"/>
                    <a:pt x="432435" y="412433"/>
                    <a:pt x="425768" y="412433"/>
                  </a:cubicBezTo>
                  <a:cubicBezTo>
                    <a:pt x="417195" y="412433"/>
                    <a:pt x="414338" y="419100"/>
                    <a:pt x="405765" y="438150"/>
                  </a:cubicBezTo>
                  <a:lnTo>
                    <a:pt x="405765" y="426720"/>
                  </a:lnTo>
                  <a:cubicBezTo>
                    <a:pt x="405765" y="419100"/>
                    <a:pt x="402908" y="411480"/>
                    <a:pt x="396240" y="411480"/>
                  </a:cubicBezTo>
                  <a:cubicBezTo>
                    <a:pt x="387668" y="411480"/>
                    <a:pt x="380047" y="424815"/>
                    <a:pt x="374333" y="437197"/>
                  </a:cubicBezTo>
                  <a:lnTo>
                    <a:pt x="378143" y="437197"/>
                  </a:lnTo>
                  <a:cubicBezTo>
                    <a:pt x="381953" y="431483"/>
                    <a:pt x="385763" y="427672"/>
                    <a:pt x="388620" y="427672"/>
                  </a:cubicBezTo>
                  <a:cubicBezTo>
                    <a:pt x="392430" y="427672"/>
                    <a:pt x="394335" y="433388"/>
                    <a:pt x="388620" y="445770"/>
                  </a:cubicBezTo>
                  <a:lnTo>
                    <a:pt x="372428" y="481013"/>
                  </a:lnTo>
                  <a:cubicBezTo>
                    <a:pt x="369570" y="487680"/>
                    <a:pt x="372428" y="492442"/>
                    <a:pt x="379095" y="492442"/>
                  </a:cubicBezTo>
                  <a:cubicBezTo>
                    <a:pt x="382905" y="492442"/>
                    <a:pt x="384810" y="491490"/>
                    <a:pt x="386715" y="486728"/>
                  </a:cubicBezTo>
                  <a:lnTo>
                    <a:pt x="402908" y="444817"/>
                  </a:lnTo>
                  <a:cubicBezTo>
                    <a:pt x="407670" y="439103"/>
                    <a:pt x="411480" y="434340"/>
                    <a:pt x="416243" y="429578"/>
                  </a:cubicBezTo>
                  <a:lnTo>
                    <a:pt x="431483" y="429578"/>
                  </a:lnTo>
                  <a:close/>
                  <a:moveTo>
                    <a:pt x="340043" y="422910"/>
                  </a:moveTo>
                  <a:cubicBezTo>
                    <a:pt x="345758" y="422910"/>
                    <a:pt x="350520" y="426720"/>
                    <a:pt x="347663" y="437197"/>
                  </a:cubicBezTo>
                  <a:lnTo>
                    <a:pt x="321945" y="442913"/>
                  </a:lnTo>
                  <a:cubicBezTo>
                    <a:pt x="326708" y="432435"/>
                    <a:pt x="334328" y="422910"/>
                    <a:pt x="340043" y="422910"/>
                  </a:cubicBezTo>
                  <a:moveTo>
                    <a:pt x="354330" y="464820"/>
                  </a:moveTo>
                  <a:lnTo>
                    <a:pt x="349568" y="464820"/>
                  </a:lnTo>
                  <a:cubicBezTo>
                    <a:pt x="342900" y="472440"/>
                    <a:pt x="336233" y="478155"/>
                    <a:pt x="329565" y="478155"/>
                  </a:cubicBezTo>
                  <a:cubicBezTo>
                    <a:pt x="322898" y="478155"/>
                    <a:pt x="319088" y="474345"/>
                    <a:pt x="319088" y="464820"/>
                  </a:cubicBezTo>
                  <a:cubicBezTo>
                    <a:pt x="319088" y="461010"/>
                    <a:pt x="319088" y="457200"/>
                    <a:pt x="320040" y="453390"/>
                  </a:cubicBezTo>
                  <a:lnTo>
                    <a:pt x="360997" y="440055"/>
                  </a:lnTo>
                  <a:cubicBezTo>
                    <a:pt x="368618" y="421005"/>
                    <a:pt x="359093" y="412433"/>
                    <a:pt x="347663" y="412433"/>
                  </a:cubicBezTo>
                  <a:cubicBezTo>
                    <a:pt x="328613" y="412433"/>
                    <a:pt x="305753" y="444817"/>
                    <a:pt x="305753" y="473392"/>
                  </a:cubicBezTo>
                  <a:cubicBezTo>
                    <a:pt x="305753" y="485775"/>
                    <a:pt x="311468" y="493395"/>
                    <a:pt x="320993" y="493395"/>
                  </a:cubicBezTo>
                  <a:cubicBezTo>
                    <a:pt x="333375" y="493395"/>
                    <a:pt x="344805" y="481965"/>
                    <a:pt x="354330" y="464820"/>
                  </a:cubicBezTo>
                  <a:moveTo>
                    <a:pt x="257175" y="423863"/>
                  </a:moveTo>
                  <a:lnTo>
                    <a:pt x="270510" y="423863"/>
                  </a:lnTo>
                  <a:lnTo>
                    <a:pt x="248603" y="482917"/>
                  </a:lnTo>
                  <a:cubicBezTo>
                    <a:pt x="246698" y="487680"/>
                    <a:pt x="249555" y="493395"/>
                    <a:pt x="254318" y="493395"/>
                  </a:cubicBezTo>
                  <a:cubicBezTo>
                    <a:pt x="266700" y="493395"/>
                    <a:pt x="286703" y="481013"/>
                    <a:pt x="293370" y="464820"/>
                  </a:cubicBezTo>
                  <a:lnTo>
                    <a:pt x="289560" y="464820"/>
                  </a:lnTo>
                  <a:cubicBezTo>
                    <a:pt x="283845" y="470535"/>
                    <a:pt x="273368" y="478155"/>
                    <a:pt x="264795" y="480060"/>
                  </a:cubicBezTo>
                  <a:lnTo>
                    <a:pt x="284798" y="424815"/>
                  </a:lnTo>
                  <a:lnTo>
                    <a:pt x="304800" y="424815"/>
                  </a:lnTo>
                  <a:lnTo>
                    <a:pt x="307658" y="416242"/>
                  </a:lnTo>
                  <a:lnTo>
                    <a:pt x="287655" y="416242"/>
                  </a:lnTo>
                  <a:lnTo>
                    <a:pt x="295275" y="395288"/>
                  </a:lnTo>
                  <a:lnTo>
                    <a:pt x="287655" y="395288"/>
                  </a:lnTo>
                  <a:lnTo>
                    <a:pt x="273368" y="416242"/>
                  </a:lnTo>
                  <a:lnTo>
                    <a:pt x="256223" y="418147"/>
                  </a:lnTo>
                  <a:lnTo>
                    <a:pt x="256223" y="423863"/>
                  </a:lnTo>
                  <a:close/>
                  <a:moveTo>
                    <a:pt x="181928" y="469583"/>
                  </a:moveTo>
                  <a:cubicBezTo>
                    <a:pt x="181928" y="451485"/>
                    <a:pt x="201930" y="426720"/>
                    <a:pt x="213360" y="426720"/>
                  </a:cubicBezTo>
                  <a:cubicBezTo>
                    <a:pt x="216218" y="426720"/>
                    <a:pt x="218123" y="426720"/>
                    <a:pt x="220028" y="427672"/>
                  </a:cubicBezTo>
                  <a:lnTo>
                    <a:pt x="208598" y="459105"/>
                  </a:lnTo>
                  <a:cubicBezTo>
                    <a:pt x="201930" y="467678"/>
                    <a:pt x="191453" y="477203"/>
                    <a:pt x="186690" y="477203"/>
                  </a:cubicBezTo>
                  <a:cubicBezTo>
                    <a:pt x="183833" y="478155"/>
                    <a:pt x="181928" y="475297"/>
                    <a:pt x="181928" y="469583"/>
                  </a:cubicBezTo>
                  <a:moveTo>
                    <a:pt x="244793" y="408622"/>
                  </a:moveTo>
                  <a:lnTo>
                    <a:pt x="238125" y="408622"/>
                  </a:lnTo>
                  <a:lnTo>
                    <a:pt x="231458" y="415290"/>
                  </a:lnTo>
                  <a:lnTo>
                    <a:pt x="229553" y="415290"/>
                  </a:lnTo>
                  <a:cubicBezTo>
                    <a:pt x="195263" y="415290"/>
                    <a:pt x="166688" y="453390"/>
                    <a:pt x="166688" y="481013"/>
                  </a:cubicBezTo>
                  <a:cubicBezTo>
                    <a:pt x="166688" y="488633"/>
                    <a:pt x="171450" y="493395"/>
                    <a:pt x="179070" y="493395"/>
                  </a:cubicBezTo>
                  <a:cubicBezTo>
                    <a:pt x="187643" y="493395"/>
                    <a:pt x="196215" y="481013"/>
                    <a:pt x="205740" y="467678"/>
                  </a:cubicBezTo>
                  <a:lnTo>
                    <a:pt x="205740" y="472440"/>
                  </a:lnTo>
                  <a:cubicBezTo>
                    <a:pt x="204788" y="485775"/>
                    <a:pt x="208598" y="493395"/>
                    <a:pt x="216218" y="493395"/>
                  </a:cubicBezTo>
                  <a:cubicBezTo>
                    <a:pt x="224790" y="493395"/>
                    <a:pt x="232410" y="480060"/>
                    <a:pt x="238125" y="467678"/>
                  </a:cubicBezTo>
                  <a:lnTo>
                    <a:pt x="234315" y="467678"/>
                  </a:lnTo>
                  <a:cubicBezTo>
                    <a:pt x="230505" y="473392"/>
                    <a:pt x="226695" y="477203"/>
                    <a:pt x="223838" y="477203"/>
                  </a:cubicBezTo>
                  <a:cubicBezTo>
                    <a:pt x="220980" y="477203"/>
                    <a:pt x="218123" y="471488"/>
                    <a:pt x="223838" y="459105"/>
                  </a:cubicBezTo>
                  <a:lnTo>
                    <a:pt x="244793" y="408622"/>
                  </a:lnTo>
                  <a:close/>
                  <a:moveTo>
                    <a:pt x="172403" y="430530"/>
                  </a:moveTo>
                  <a:cubicBezTo>
                    <a:pt x="175260" y="421005"/>
                    <a:pt x="173355" y="412433"/>
                    <a:pt x="166688" y="412433"/>
                  </a:cubicBezTo>
                  <a:cubicBezTo>
                    <a:pt x="158115" y="412433"/>
                    <a:pt x="155258" y="419100"/>
                    <a:pt x="146685" y="438150"/>
                  </a:cubicBezTo>
                  <a:lnTo>
                    <a:pt x="146685" y="426720"/>
                  </a:lnTo>
                  <a:cubicBezTo>
                    <a:pt x="146685" y="419100"/>
                    <a:pt x="143828" y="411480"/>
                    <a:pt x="137160" y="411480"/>
                  </a:cubicBezTo>
                  <a:cubicBezTo>
                    <a:pt x="128588" y="411480"/>
                    <a:pt x="120968" y="424815"/>
                    <a:pt x="115253" y="437197"/>
                  </a:cubicBezTo>
                  <a:lnTo>
                    <a:pt x="119063" y="437197"/>
                  </a:lnTo>
                  <a:cubicBezTo>
                    <a:pt x="122873" y="431483"/>
                    <a:pt x="126682" y="427672"/>
                    <a:pt x="129540" y="427672"/>
                  </a:cubicBezTo>
                  <a:cubicBezTo>
                    <a:pt x="133350" y="427672"/>
                    <a:pt x="135255" y="433388"/>
                    <a:pt x="129540" y="445770"/>
                  </a:cubicBezTo>
                  <a:lnTo>
                    <a:pt x="113348" y="481013"/>
                  </a:lnTo>
                  <a:cubicBezTo>
                    <a:pt x="110490" y="487680"/>
                    <a:pt x="113348" y="492442"/>
                    <a:pt x="120015" y="492442"/>
                  </a:cubicBezTo>
                  <a:cubicBezTo>
                    <a:pt x="123825" y="492442"/>
                    <a:pt x="125730" y="491490"/>
                    <a:pt x="127635" y="486728"/>
                  </a:cubicBezTo>
                  <a:lnTo>
                    <a:pt x="143828" y="444817"/>
                  </a:lnTo>
                  <a:cubicBezTo>
                    <a:pt x="148590" y="439103"/>
                    <a:pt x="152400" y="434340"/>
                    <a:pt x="157163" y="429578"/>
                  </a:cubicBezTo>
                  <a:lnTo>
                    <a:pt x="172403" y="429578"/>
                  </a:lnTo>
                  <a:close/>
                  <a:moveTo>
                    <a:pt x="59055" y="489585"/>
                  </a:moveTo>
                  <a:lnTo>
                    <a:pt x="60960" y="484822"/>
                  </a:lnTo>
                  <a:cubicBezTo>
                    <a:pt x="40957" y="481013"/>
                    <a:pt x="39053" y="481013"/>
                    <a:pt x="46673" y="460058"/>
                  </a:cubicBezTo>
                  <a:lnTo>
                    <a:pt x="54293" y="438150"/>
                  </a:lnTo>
                  <a:lnTo>
                    <a:pt x="76200" y="438150"/>
                  </a:lnTo>
                  <a:cubicBezTo>
                    <a:pt x="85725" y="438150"/>
                    <a:pt x="85725" y="441960"/>
                    <a:pt x="84773" y="452438"/>
                  </a:cubicBezTo>
                  <a:lnTo>
                    <a:pt x="90488" y="452438"/>
                  </a:lnTo>
                  <a:lnTo>
                    <a:pt x="103823" y="416242"/>
                  </a:lnTo>
                  <a:lnTo>
                    <a:pt x="98107" y="416242"/>
                  </a:lnTo>
                  <a:cubicBezTo>
                    <a:pt x="93345" y="424815"/>
                    <a:pt x="89535" y="430530"/>
                    <a:pt x="79057" y="430530"/>
                  </a:cubicBezTo>
                  <a:lnTo>
                    <a:pt x="57150" y="430530"/>
                  </a:lnTo>
                  <a:lnTo>
                    <a:pt x="68580" y="399097"/>
                  </a:lnTo>
                  <a:cubicBezTo>
                    <a:pt x="72390" y="389572"/>
                    <a:pt x="74295" y="386715"/>
                    <a:pt x="87630" y="386715"/>
                  </a:cubicBezTo>
                  <a:lnTo>
                    <a:pt x="97155" y="386715"/>
                  </a:lnTo>
                  <a:cubicBezTo>
                    <a:pt x="110490" y="386715"/>
                    <a:pt x="112395" y="390525"/>
                    <a:pt x="112395" y="404813"/>
                  </a:cubicBezTo>
                  <a:lnTo>
                    <a:pt x="118110" y="404813"/>
                  </a:lnTo>
                  <a:lnTo>
                    <a:pt x="122873" y="380047"/>
                  </a:lnTo>
                  <a:lnTo>
                    <a:pt x="40957" y="380047"/>
                  </a:lnTo>
                  <a:lnTo>
                    <a:pt x="39053" y="384810"/>
                  </a:lnTo>
                  <a:cubicBezTo>
                    <a:pt x="55245" y="387667"/>
                    <a:pt x="56198" y="389572"/>
                    <a:pt x="48578" y="409575"/>
                  </a:cubicBezTo>
                  <a:lnTo>
                    <a:pt x="30480" y="458153"/>
                  </a:lnTo>
                  <a:cubicBezTo>
                    <a:pt x="22860" y="478155"/>
                    <a:pt x="20003" y="480060"/>
                    <a:pt x="1905" y="482917"/>
                  </a:cubicBezTo>
                  <a:lnTo>
                    <a:pt x="953" y="487680"/>
                  </a:lnTo>
                  <a:lnTo>
                    <a:pt x="59055" y="487680"/>
                  </a:lnTo>
                  <a:close/>
                  <a:moveTo>
                    <a:pt x="460058" y="238125"/>
                  </a:moveTo>
                  <a:cubicBezTo>
                    <a:pt x="465772" y="238125"/>
                    <a:pt x="470535" y="241935"/>
                    <a:pt x="467678" y="252413"/>
                  </a:cubicBezTo>
                  <a:lnTo>
                    <a:pt x="441960" y="258128"/>
                  </a:lnTo>
                  <a:cubicBezTo>
                    <a:pt x="446722" y="246697"/>
                    <a:pt x="454343" y="238125"/>
                    <a:pt x="460058" y="238125"/>
                  </a:cubicBezTo>
                  <a:moveTo>
                    <a:pt x="474345" y="279083"/>
                  </a:moveTo>
                  <a:lnTo>
                    <a:pt x="469583" y="279083"/>
                  </a:lnTo>
                  <a:cubicBezTo>
                    <a:pt x="462915" y="286703"/>
                    <a:pt x="456247" y="292417"/>
                    <a:pt x="449580" y="292417"/>
                  </a:cubicBezTo>
                  <a:cubicBezTo>
                    <a:pt x="442913" y="292417"/>
                    <a:pt x="439103" y="288608"/>
                    <a:pt x="439103" y="279083"/>
                  </a:cubicBezTo>
                  <a:cubicBezTo>
                    <a:pt x="439103" y="275272"/>
                    <a:pt x="439103" y="271463"/>
                    <a:pt x="440055" y="267653"/>
                  </a:cubicBezTo>
                  <a:lnTo>
                    <a:pt x="481013" y="254317"/>
                  </a:lnTo>
                  <a:cubicBezTo>
                    <a:pt x="488633" y="235267"/>
                    <a:pt x="479108" y="226695"/>
                    <a:pt x="467678" y="226695"/>
                  </a:cubicBezTo>
                  <a:cubicBezTo>
                    <a:pt x="448628" y="226695"/>
                    <a:pt x="425768" y="259080"/>
                    <a:pt x="425768" y="287655"/>
                  </a:cubicBezTo>
                  <a:cubicBezTo>
                    <a:pt x="425768" y="300038"/>
                    <a:pt x="431483" y="307658"/>
                    <a:pt x="441008" y="307658"/>
                  </a:cubicBezTo>
                  <a:cubicBezTo>
                    <a:pt x="453390" y="307658"/>
                    <a:pt x="464820" y="297180"/>
                    <a:pt x="474345" y="279083"/>
                  </a:cubicBezTo>
                  <a:moveTo>
                    <a:pt x="466725" y="219075"/>
                  </a:moveTo>
                  <a:lnTo>
                    <a:pt x="495300" y="192405"/>
                  </a:lnTo>
                  <a:lnTo>
                    <a:pt x="495300" y="189547"/>
                  </a:lnTo>
                  <a:lnTo>
                    <a:pt x="480060" y="189547"/>
                  </a:lnTo>
                  <a:lnTo>
                    <a:pt x="461963" y="220028"/>
                  </a:lnTo>
                  <a:lnTo>
                    <a:pt x="466725" y="220028"/>
                  </a:lnTo>
                  <a:close/>
                  <a:moveTo>
                    <a:pt x="378143" y="238125"/>
                  </a:moveTo>
                  <a:lnTo>
                    <a:pt x="391478" y="238125"/>
                  </a:lnTo>
                  <a:lnTo>
                    <a:pt x="369570" y="297180"/>
                  </a:lnTo>
                  <a:cubicBezTo>
                    <a:pt x="367665" y="301942"/>
                    <a:pt x="370522" y="307658"/>
                    <a:pt x="375285" y="307658"/>
                  </a:cubicBezTo>
                  <a:cubicBezTo>
                    <a:pt x="387668" y="307658"/>
                    <a:pt x="407670" y="295275"/>
                    <a:pt x="414338" y="279083"/>
                  </a:cubicBezTo>
                  <a:lnTo>
                    <a:pt x="410528" y="279083"/>
                  </a:lnTo>
                  <a:cubicBezTo>
                    <a:pt x="404813" y="284797"/>
                    <a:pt x="394335" y="292417"/>
                    <a:pt x="385763" y="294322"/>
                  </a:cubicBezTo>
                  <a:lnTo>
                    <a:pt x="405765" y="239078"/>
                  </a:lnTo>
                  <a:lnTo>
                    <a:pt x="425768" y="239078"/>
                  </a:lnTo>
                  <a:lnTo>
                    <a:pt x="428625" y="230505"/>
                  </a:lnTo>
                  <a:lnTo>
                    <a:pt x="408622" y="230505"/>
                  </a:lnTo>
                  <a:lnTo>
                    <a:pt x="416243" y="209550"/>
                  </a:lnTo>
                  <a:lnTo>
                    <a:pt x="408622" y="209550"/>
                  </a:lnTo>
                  <a:lnTo>
                    <a:pt x="394335" y="230505"/>
                  </a:lnTo>
                  <a:lnTo>
                    <a:pt x="377190" y="232410"/>
                  </a:lnTo>
                  <a:lnTo>
                    <a:pt x="377190" y="238125"/>
                  </a:lnTo>
                  <a:close/>
                  <a:moveTo>
                    <a:pt x="359093" y="235267"/>
                  </a:moveTo>
                  <a:cubicBezTo>
                    <a:pt x="360997" y="229553"/>
                    <a:pt x="357188" y="226695"/>
                    <a:pt x="354330" y="226695"/>
                  </a:cubicBezTo>
                  <a:cubicBezTo>
                    <a:pt x="342900" y="226695"/>
                    <a:pt x="328613" y="237172"/>
                    <a:pt x="322898" y="252413"/>
                  </a:cubicBezTo>
                  <a:lnTo>
                    <a:pt x="326708" y="252413"/>
                  </a:lnTo>
                  <a:cubicBezTo>
                    <a:pt x="330518" y="246697"/>
                    <a:pt x="337185" y="240983"/>
                    <a:pt x="342900" y="240030"/>
                  </a:cubicBezTo>
                  <a:lnTo>
                    <a:pt x="320040" y="299085"/>
                  </a:lnTo>
                  <a:cubicBezTo>
                    <a:pt x="318135" y="304800"/>
                    <a:pt x="321945" y="307658"/>
                    <a:pt x="324803" y="307658"/>
                  </a:cubicBezTo>
                  <a:cubicBezTo>
                    <a:pt x="336233" y="307658"/>
                    <a:pt x="349568" y="297180"/>
                    <a:pt x="355283" y="281940"/>
                  </a:cubicBezTo>
                  <a:lnTo>
                    <a:pt x="351472" y="281940"/>
                  </a:lnTo>
                  <a:cubicBezTo>
                    <a:pt x="347663" y="287655"/>
                    <a:pt x="340995" y="293370"/>
                    <a:pt x="335280" y="294322"/>
                  </a:cubicBezTo>
                  <a:lnTo>
                    <a:pt x="359093" y="235267"/>
                  </a:lnTo>
                  <a:close/>
                  <a:moveTo>
                    <a:pt x="363855" y="205740"/>
                  </a:moveTo>
                  <a:cubicBezTo>
                    <a:pt x="369570" y="205740"/>
                    <a:pt x="373380" y="200978"/>
                    <a:pt x="373380" y="196215"/>
                  </a:cubicBezTo>
                  <a:cubicBezTo>
                    <a:pt x="373380" y="190500"/>
                    <a:pt x="368618" y="186690"/>
                    <a:pt x="363855" y="186690"/>
                  </a:cubicBezTo>
                  <a:cubicBezTo>
                    <a:pt x="358140" y="186690"/>
                    <a:pt x="354330" y="191453"/>
                    <a:pt x="354330" y="196215"/>
                  </a:cubicBezTo>
                  <a:cubicBezTo>
                    <a:pt x="353378" y="201930"/>
                    <a:pt x="358140" y="205740"/>
                    <a:pt x="363855" y="205740"/>
                  </a:cubicBezTo>
                  <a:moveTo>
                    <a:pt x="284798" y="294322"/>
                  </a:moveTo>
                  <a:lnTo>
                    <a:pt x="325755" y="185738"/>
                  </a:lnTo>
                  <a:lnTo>
                    <a:pt x="324803" y="183833"/>
                  </a:lnTo>
                  <a:lnTo>
                    <a:pt x="299085" y="186690"/>
                  </a:lnTo>
                  <a:lnTo>
                    <a:pt x="299085" y="189547"/>
                  </a:lnTo>
                  <a:lnTo>
                    <a:pt x="303848" y="193358"/>
                  </a:lnTo>
                  <a:cubicBezTo>
                    <a:pt x="308610" y="197167"/>
                    <a:pt x="306705" y="200025"/>
                    <a:pt x="302895" y="211455"/>
                  </a:cubicBezTo>
                  <a:lnTo>
                    <a:pt x="270510" y="296228"/>
                  </a:lnTo>
                  <a:cubicBezTo>
                    <a:pt x="268605" y="300990"/>
                    <a:pt x="271463" y="306705"/>
                    <a:pt x="276225" y="306705"/>
                  </a:cubicBezTo>
                  <a:cubicBezTo>
                    <a:pt x="287655" y="306705"/>
                    <a:pt x="300990" y="296228"/>
                    <a:pt x="306705" y="280988"/>
                  </a:cubicBezTo>
                  <a:lnTo>
                    <a:pt x="302895" y="280988"/>
                  </a:lnTo>
                  <a:cubicBezTo>
                    <a:pt x="299085" y="287655"/>
                    <a:pt x="290513" y="293370"/>
                    <a:pt x="284798" y="294322"/>
                  </a:cubicBezTo>
                  <a:moveTo>
                    <a:pt x="205740" y="284797"/>
                  </a:moveTo>
                  <a:cubicBezTo>
                    <a:pt x="205740" y="266700"/>
                    <a:pt x="225743" y="241935"/>
                    <a:pt x="237173" y="241935"/>
                  </a:cubicBezTo>
                  <a:cubicBezTo>
                    <a:pt x="240030" y="241935"/>
                    <a:pt x="241935" y="241935"/>
                    <a:pt x="243840" y="242888"/>
                  </a:cubicBezTo>
                  <a:lnTo>
                    <a:pt x="232410" y="274320"/>
                  </a:lnTo>
                  <a:cubicBezTo>
                    <a:pt x="225743" y="282892"/>
                    <a:pt x="215265" y="292417"/>
                    <a:pt x="210503" y="292417"/>
                  </a:cubicBezTo>
                  <a:cubicBezTo>
                    <a:pt x="207645" y="292417"/>
                    <a:pt x="205740" y="289560"/>
                    <a:pt x="205740" y="284797"/>
                  </a:cubicBezTo>
                  <a:moveTo>
                    <a:pt x="268605" y="223838"/>
                  </a:moveTo>
                  <a:lnTo>
                    <a:pt x="261938" y="223838"/>
                  </a:lnTo>
                  <a:lnTo>
                    <a:pt x="255270" y="230505"/>
                  </a:lnTo>
                  <a:lnTo>
                    <a:pt x="253365" y="230505"/>
                  </a:lnTo>
                  <a:cubicBezTo>
                    <a:pt x="219075" y="230505"/>
                    <a:pt x="190500" y="268605"/>
                    <a:pt x="190500" y="296228"/>
                  </a:cubicBezTo>
                  <a:cubicBezTo>
                    <a:pt x="190500" y="303847"/>
                    <a:pt x="195263" y="308610"/>
                    <a:pt x="202883" y="308610"/>
                  </a:cubicBezTo>
                  <a:cubicBezTo>
                    <a:pt x="211455" y="308610"/>
                    <a:pt x="220028" y="296228"/>
                    <a:pt x="229553" y="282892"/>
                  </a:cubicBezTo>
                  <a:lnTo>
                    <a:pt x="229553" y="287655"/>
                  </a:lnTo>
                  <a:cubicBezTo>
                    <a:pt x="228600" y="300990"/>
                    <a:pt x="232410" y="308610"/>
                    <a:pt x="240030" y="308610"/>
                  </a:cubicBezTo>
                  <a:cubicBezTo>
                    <a:pt x="248603" y="308610"/>
                    <a:pt x="256223" y="295275"/>
                    <a:pt x="261938" y="282892"/>
                  </a:cubicBezTo>
                  <a:lnTo>
                    <a:pt x="258128" y="282892"/>
                  </a:lnTo>
                  <a:cubicBezTo>
                    <a:pt x="254318" y="288608"/>
                    <a:pt x="250508" y="292417"/>
                    <a:pt x="247650" y="292417"/>
                  </a:cubicBezTo>
                  <a:cubicBezTo>
                    <a:pt x="244793" y="292417"/>
                    <a:pt x="241935" y="286703"/>
                    <a:pt x="247650" y="274320"/>
                  </a:cubicBezTo>
                  <a:lnTo>
                    <a:pt x="268605" y="223838"/>
                  </a:lnTo>
                  <a:close/>
                  <a:moveTo>
                    <a:pt x="117157" y="321945"/>
                  </a:moveTo>
                  <a:cubicBezTo>
                    <a:pt x="117157" y="314325"/>
                    <a:pt x="124778" y="309563"/>
                    <a:pt x="135255" y="304800"/>
                  </a:cubicBezTo>
                  <a:cubicBezTo>
                    <a:pt x="139065" y="306705"/>
                    <a:pt x="143828" y="308610"/>
                    <a:pt x="151448" y="310515"/>
                  </a:cubicBezTo>
                  <a:cubicBezTo>
                    <a:pt x="162878" y="314325"/>
                    <a:pt x="166688" y="315278"/>
                    <a:pt x="166688" y="319088"/>
                  </a:cubicBezTo>
                  <a:cubicBezTo>
                    <a:pt x="166688" y="326708"/>
                    <a:pt x="154305" y="331470"/>
                    <a:pt x="137160" y="331470"/>
                  </a:cubicBezTo>
                  <a:cubicBezTo>
                    <a:pt x="123825" y="332422"/>
                    <a:pt x="117157" y="329565"/>
                    <a:pt x="117157" y="321945"/>
                  </a:cubicBezTo>
                  <a:moveTo>
                    <a:pt x="147638" y="274320"/>
                  </a:moveTo>
                  <a:cubicBezTo>
                    <a:pt x="142875" y="274320"/>
                    <a:pt x="140970" y="270510"/>
                    <a:pt x="140970" y="265747"/>
                  </a:cubicBezTo>
                  <a:cubicBezTo>
                    <a:pt x="140970" y="252413"/>
                    <a:pt x="147638" y="233363"/>
                    <a:pt x="159068" y="233363"/>
                  </a:cubicBezTo>
                  <a:cubicBezTo>
                    <a:pt x="163830" y="233363"/>
                    <a:pt x="165735" y="237172"/>
                    <a:pt x="165735" y="241935"/>
                  </a:cubicBezTo>
                  <a:cubicBezTo>
                    <a:pt x="166688" y="254317"/>
                    <a:pt x="159068" y="274320"/>
                    <a:pt x="147638" y="274320"/>
                  </a:cubicBezTo>
                  <a:moveTo>
                    <a:pt x="180023" y="314325"/>
                  </a:moveTo>
                  <a:cubicBezTo>
                    <a:pt x="180023" y="304800"/>
                    <a:pt x="171450" y="300990"/>
                    <a:pt x="158115" y="297180"/>
                  </a:cubicBezTo>
                  <a:cubicBezTo>
                    <a:pt x="146685" y="293370"/>
                    <a:pt x="140970" y="292417"/>
                    <a:pt x="140970" y="288608"/>
                  </a:cubicBezTo>
                  <a:cubicBezTo>
                    <a:pt x="140970" y="285750"/>
                    <a:pt x="143828" y="281940"/>
                    <a:pt x="148590" y="279083"/>
                  </a:cubicBezTo>
                  <a:cubicBezTo>
                    <a:pt x="167640" y="278130"/>
                    <a:pt x="180975" y="260985"/>
                    <a:pt x="180975" y="245745"/>
                  </a:cubicBezTo>
                  <a:cubicBezTo>
                    <a:pt x="180975" y="242888"/>
                    <a:pt x="180023" y="240030"/>
                    <a:pt x="179070" y="237172"/>
                  </a:cubicBezTo>
                  <a:lnTo>
                    <a:pt x="195263" y="237172"/>
                  </a:lnTo>
                  <a:lnTo>
                    <a:pt x="198120" y="228600"/>
                  </a:lnTo>
                  <a:lnTo>
                    <a:pt x="172403" y="228600"/>
                  </a:lnTo>
                  <a:cubicBezTo>
                    <a:pt x="169545" y="226695"/>
                    <a:pt x="165735" y="225742"/>
                    <a:pt x="161925" y="225742"/>
                  </a:cubicBezTo>
                  <a:cubicBezTo>
                    <a:pt x="140970" y="225742"/>
                    <a:pt x="127635" y="243840"/>
                    <a:pt x="127635" y="258128"/>
                  </a:cubicBezTo>
                  <a:cubicBezTo>
                    <a:pt x="127635" y="269558"/>
                    <a:pt x="134303" y="276225"/>
                    <a:pt x="143828" y="278130"/>
                  </a:cubicBezTo>
                  <a:cubicBezTo>
                    <a:pt x="134303" y="282892"/>
                    <a:pt x="128588" y="287655"/>
                    <a:pt x="128588" y="293370"/>
                  </a:cubicBezTo>
                  <a:cubicBezTo>
                    <a:pt x="128588" y="297180"/>
                    <a:pt x="129540" y="299085"/>
                    <a:pt x="132398" y="300990"/>
                  </a:cubicBezTo>
                  <a:cubicBezTo>
                    <a:pt x="110490" y="307658"/>
                    <a:pt x="100965" y="315278"/>
                    <a:pt x="100965" y="325755"/>
                  </a:cubicBezTo>
                  <a:cubicBezTo>
                    <a:pt x="100965" y="336233"/>
                    <a:pt x="114300" y="340042"/>
                    <a:pt x="130493" y="340042"/>
                  </a:cubicBezTo>
                  <a:cubicBezTo>
                    <a:pt x="157163" y="341947"/>
                    <a:pt x="180023" y="326708"/>
                    <a:pt x="180023" y="314325"/>
                  </a:cubicBezTo>
                  <a:moveTo>
                    <a:pt x="76200" y="251460"/>
                  </a:moveTo>
                  <a:cubicBezTo>
                    <a:pt x="85725" y="251460"/>
                    <a:pt x="85725" y="255270"/>
                    <a:pt x="84773" y="265747"/>
                  </a:cubicBezTo>
                  <a:lnTo>
                    <a:pt x="90488" y="265747"/>
                  </a:lnTo>
                  <a:lnTo>
                    <a:pt x="103823" y="229553"/>
                  </a:lnTo>
                  <a:lnTo>
                    <a:pt x="98107" y="229553"/>
                  </a:lnTo>
                  <a:cubicBezTo>
                    <a:pt x="93345" y="238125"/>
                    <a:pt x="89535" y="243840"/>
                    <a:pt x="79057" y="243840"/>
                  </a:cubicBezTo>
                  <a:lnTo>
                    <a:pt x="57150" y="243840"/>
                  </a:lnTo>
                  <a:lnTo>
                    <a:pt x="67628" y="214313"/>
                  </a:lnTo>
                  <a:cubicBezTo>
                    <a:pt x="71438" y="204788"/>
                    <a:pt x="73343" y="202883"/>
                    <a:pt x="86678" y="202883"/>
                  </a:cubicBezTo>
                  <a:lnTo>
                    <a:pt x="96203" y="202883"/>
                  </a:lnTo>
                  <a:cubicBezTo>
                    <a:pt x="109538" y="202883"/>
                    <a:pt x="111443" y="206692"/>
                    <a:pt x="111443" y="220028"/>
                  </a:cubicBezTo>
                  <a:lnTo>
                    <a:pt x="117157" y="220028"/>
                  </a:lnTo>
                  <a:lnTo>
                    <a:pt x="121920" y="195263"/>
                  </a:lnTo>
                  <a:lnTo>
                    <a:pt x="40005" y="195263"/>
                  </a:lnTo>
                  <a:lnTo>
                    <a:pt x="38100" y="200025"/>
                  </a:lnTo>
                  <a:cubicBezTo>
                    <a:pt x="54293" y="202883"/>
                    <a:pt x="55245" y="204788"/>
                    <a:pt x="47625" y="224790"/>
                  </a:cubicBezTo>
                  <a:lnTo>
                    <a:pt x="29528" y="273367"/>
                  </a:lnTo>
                  <a:cubicBezTo>
                    <a:pt x="21908" y="293370"/>
                    <a:pt x="19050" y="295275"/>
                    <a:pt x="953" y="298133"/>
                  </a:cubicBezTo>
                  <a:lnTo>
                    <a:pt x="0" y="302895"/>
                  </a:lnTo>
                  <a:lnTo>
                    <a:pt x="91440" y="302895"/>
                  </a:lnTo>
                  <a:lnTo>
                    <a:pt x="107632" y="277178"/>
                  </a:lnTo>
                  <a:lnTo>
                    <a:pt x="101918" y="277178"/>
                  </a:lnTo>
                  <a:cubicBezTo>
                    <a:pt x="91440" y="286703"/>
                    <a:pt x="78105" y="296228"/>
                    <a:pt x="60007" y="296228"/>
                  </a:cubicBezTo>
                  <a:cubicBezTo>
                    <a:pt x="36195" y="296228"/>
                    <a:pt x="38100" y="295275"/>
                    <a:pt x="45720" y="273367"/>
                  </a:cubicBezTo>
                  <a:lnTo>
                    <a:pt x="54293" y="249555"/>
                  </a:lnTo>
                  <a:lnTo>
                    <a:pt x="76200" y="249555"/>
                  </a:lnTo>
                  <a:close/>
                  <a:moveTo>
                    <a:pt x="88582" y="188595"/>
                  </a:moveTo>
                  <a:lnTo>
                    <a:pt x="117157" y="168592"/>
                  </a:lnTo>
                  <a:lnTo>
                    <a:pt x="117157" y="165735"/>
                  </a:lnTo>
                  <a:lnTo>
                    <a:pt x="100013" y="165735"/>
                  </a:lnTo>
                  <a:lnTo>
                    <a:pt x="83820" y="188595"/>
                  </a:lnTo>
                  <a:lnTo>
                    <a:pt x="88582" y="188595"/>
                  </a:lnTo>
                  <a:close/>
                  <a:moveTo>
                    <a:pt x="450533" y="52388"/>
                  </a:moveTo>
                  <a:cubicBezTo>
                    <a:pt x="456247" y="52388"/>
                    <a:pt x="461010" y="56197"/>
                    <a:pt x="458153" y="66675"/>
                  </a:cubicBezTo>
                  <a:lnTo>
                    <a:pt x="432435" y="72390"/>
                  </a:lnTo>
                  <a:cubicBezTo>
                    <a:pt x="437197" y="60960"/>
                    <a:pt x="444818" y="52388"/>
                    <a:pt x="450533" y="52388"/>
                  </a:cubicBezTo>
                  <a:moveTo>
                    <a:pt x="464820" y="93345"/>
                  </a:moveTo>
                  <a:lnTo>
                    <a:pt x="460058" y="93345"/>
                  </a:lnTo>
                  <a:cubicBezTo>
                    <a:pt x="453390" y="100965"/>
                    <a:pt x="446722" y="106680"/>
                    <a:pt x="440055" y="106680"/>
                  </a:cubicBezTo>
                  <a:cubicBezTo>
                    <a:pt x="433388" y="106680"/>
                    <a:pt x="429578" y="102870"/>
                    <a:pt x="429578" y="93345"/>
                  </a:cubicBezTo>
                  <a:cubicBezTo>
                    <a:pt x="429578" y="89535"/>
                    <a:pt x="429578" y="85725"/>
                    <a:pt x="430530" y="81915"/>
                  </a:cubicBezTo>
                  <a:lnTo>
                    <a:pt x="471488" y="68580"/>
                  </a:lnTo>
                  <a:cubicBezTo>
                    <a:pt x="479108" y="49530"/>
                    <a:pt x="469583" y="40958"/>
                    <a:pt x="458153" y="40958"/>
                  </a:cubicBezTo>
                  <a:cubicBezTo>
                    <a:pt x="439103" y="40958"/>
                    <a:pt x="416243" y="73342"/>
                    <a:pt x="416243" y="101917"/>
                  </a:cubicBezTo>
                  <a:cubicBezTo>
                    <a:pt x="416243" y="114300"/>
                    <a:pt x="421958" y="121920"/>
                    <a:pt x="431483" y="121920"/>
                  </a:cubicBezTo>
                  <a:cubicBezTo>
                    <a:pt x="443865" y="121920"/>
                    <a:pt x="455295" y="111442"/>
                    <a:pt x="464820" y="93345"/>
                  </a:cubicBezTo>
                  <a:moveTo>
                    <a:pt x="457200" y="33338"/>
                  </a:moveTo>
                  <a:lnTo>
                    <a:pt x="485775" y="6667"/>
                  </a:lnTo>
                  <a:lnTo>
                    <a:pt x="485775" y="3810"/>
                  </a:lnTo>
                  <a:lnTo>
                    <a:pt x="470535" y="3810"/>
                  </a:lnTo>
                  <a:lnTo>
                    <a:pt x="452438" y="34290"/>
                  </a:lnTo>
                  <a:lnTo>
                    <a:pt x="457200" y="34290"/>
                  </a:lnTo>
                  <a:close/>
                  <a:moveTo>
                    <a:pt x="371475" y="52388"/>
                  </a:moveTo>
                  <a:lnTo>
                    <a:pt x="381953" y="52388"/>
                  </a:lnTo>
                  <a:lnTo>
                    <a:pt x="360045" y="111442"/>
                  </a:lnTo>
                  <a:cubicBezTo>
                    <a:pt x="358140" y="116205"/>
                    <a:pt x="360997" y="121920"/>
                    <a:pt x="365760" y="121920"/>
                  </a:cubicBezTo>
                  <a:cubicBezTo>
                    <a:pt x="378143" y="121920"/>
                    <a:pt x="398145" y="109538"/>
                    <a:pt x="404813" y="93345"/>
                  </a:cubicBezTo>
                  <a:lnTo>
                    <a:pt x="401003" y="93345"/>
                  </a:lnTo>
                  <a:cubicBezTo>
                    <a:pt x="395288" y="99060"/>
                    <a:pt x="384810" y="106680"/>
                    <a:pt x="376238" y="108585"/>
                  </a:cubicBezTo>
                  <a:lnTo>
                    <a:pt x="396240" y="53340"/>
                  </a:lnTo>
                  <a:lnTo>
                    <a:pt x="416243" y="53340"/>
                  </a:lnTo>
                  <a:lnTo>
                    <a:pt x="419100" y="44767"/>
                  </a:lnTo>
                  <a:lnTo>
                    <a:pt x="399097" y="44767"/>
                  </a:lnTo>
                  <a:lnTo>
                    <a:pt x="406718" y="23813"/>
                  </a:lnTo>
                  <a:lnTo>
                    <a:pt x="399097" y="23813"/>
                  </a:lnTo>
                  <a:lnTo>
                    <a:pt x="384810" y="44767"/>
                  </a:lnTo>
                  <a:lnTo>
                    <a:pt x="370522" y="46672"/>
                  </a:lnTo>
                  <a:lnTo>
                    <a:pt x="370522" y="52388"/>
                  </a:lnTo>
                  <a:close/>
                  <a:moveTo>
                    <a:pt x="360997" y="59055"/>
                  </a:moveTo>
                  <a:cubicBezTo>
                    <a:pt x="363855" y="49530"/>
                    <a:pt x="361950" y="40958"/>
                    <a:pt x="355283" y="40958"/>
                  </a:cubicBezTo>
                  <a:cubicBezTo>
                    <a:pt x="346710" y="40958"/>
                    <a:pt x="343853" y="47625"/>
                    <a:pt x="335280" y="66675"/>
                  </a:cubicBezTo>
                  <a:lnTo>
                    <a:pt x="335280" y="55245"/>
                  </a:lnTo>
                  <a:cubicBezTo>
                    <a:pt x="335280" y="47625"/>
                    <a:pt x="332423" y="40005"/>
                    <a:pt x="325755" y="40005"/>
                  </a:cubicBezTo>
                  <a:cubicBezTo>
                    <a:pt x="317183" y="40005"/>
                    <a:pt x="309563" y="53340"/>
                    <a:pt x="303848" y="65722"/>
                  </a:cubicBezTo>
                  <a:lnTo>
                    <a:pt x="307658" y="65722"/>
                  </a:lnTo>
                  <a:cubicBezTo>
                    <a:pt x="311468" y="60008"/>
                    <a:pt x="315278" y="56197"/>
                    <a:pt x="318135" y="56197"/>
                  </a:cubicBezTo>
                  <a:cubicBezTo>
                    <a:pt x="321945" y="56197"/>
                    <a:pt x="323850" y="61913"/>
                    <a:pt x="318135" y="74295"/>
                  </a:cubicBezTo>
                  <a:lnTo>
                    <a:pt x="301943" y="109538"/>
                  </a:lnTo>
                  <a:cubicBezTo>
                    <a:pt x="299085" y="116205"/>
                    <a:pt x="301943" y="120967"/>
                    <a:pt x="308610" y="120967"/>
                  </a:cubicBezTo>
                  <a:cubicBezTo>
                    <a:pt x="312420" y="120967"/>
                    <a:pt x="314325" y="120015"/>
                    <a:pt x="316230" y="115253"/>
                  </a:cubicBezTo>
                  <a:lnTo>
                    <a:pt x="332423" y="73342"/>
                  </a:lnTo>
                  <a:cubicBezTo>
                    <a:pt x="337185" y="67628"/>
                    <a:pt x="340995" y="62865"/>
                    <a:pt x="345758" y="58103"/>
                  </a:cubicBezTo>
                  <a:lnTo>
                    <a:pt x="360997" y="58103"/>
                  </a:lnTo>
                  <a:close/>
                  <a:moveTo>
                    <a:pt x="269558" y="52388"/>
                  </a:moveTo>
                  <a:cubicBezTo>
                    <a:pt x="275273" y="52388"/>
                    <a:pt x="280035" y="56197"/>
                    <a:pt x="277178" y="66675"/>
                  </a:cubicBezTo>
                  <a:lnTo>
                    <a:pt x="251460" y="72390"/>
                  </a:lnTo>
                  <a:cubicBezTo>
                    <a:pt x="256223" y="60960"/>
                    <a:pt x="263843" y="52388"/>
                    <a:pt x="269558" y="52388"/>
                  </a:cubicBezTo>
                  <a:moveTo>
                    <a:pt x="283845" y="93345"/>
                  </a:moveTo>
                  <a:lnTo>
                    <a:pt x="279083" y="93345"/>
                  </a:lnTo>
                  <a:cubicBezTo>
                    <a:pt x="272415" y="100965"/>
                    <a:pt x="265748" y="106680"/>
                    <a:pt x="259080" y="106680"/>
                  </a:cubicBezTo>
                  <a:cubicBezTo>
                    <a:pt x="252413" y="106680"/>
                    <a:pt x="248603" y="102870"/>
                    <a:pt x="248603" y="93345"/>
                  </a:cubicBezTo>
                  <a:cubicBezTo>
                    <a:pt x="248603" y="89535"/>
                    <a:pt x="248603" y="85725"/>
                    <a:pt x="249555" y="81915"/>
                  </a:cubicBezTo>
                  <a:lnTo>
                    <a:pt x="290513" y="68580"/>
                  </a:lnTo>
                  <a:cubicBezTo>
                    <a:pt x="298133" y="49530"/>
                    <a:pt x="288608" y="40958"/>
                    <a:pt x="277178" y="40958"/>
                  </a:cubicBezTo>
                  <a:cubicBezTo>
                    <a:pt x="258128" y="40958"/>
                    <a:pt x="235268" y="73342"/>
                    <a:pt x="235268" y="101917"/>
                  </a:cubicBezTo>
                  <a:cubicBezTo>
                    <a:pt x="235268" y="114300"/>
                    <a:pt x="240983" y="121920"/>
                    <a:pt x="250508" y="121920"/>
                  </a:cubicBezTo>
                  <a:cubicBezTo>
                    <a:pt x="262890" y="121920"/>
                    <a:pt x="274320" y="111442"/>
                    <a:pt x="283845" y="93345"/>
                  </a:cubicBezTo>
                  <a:moveTo>
                    <a:pt x="182880" y="110490"/>
                  </a:moveTo>
                  <a:cubicBezTo>
                    <a:pt x="179070" y="110490"/>
                    <a:pt x="173355" y="106680"/>
                    <a:pt x="173355" y="103822"/>
                  </a:cubicBezTo>
                  <a:cubicBezTo>
                    <a:pt x="173355" y="102870"/>
                    <a:pt x="175260" y="98108"/>
                    <a:pt x="177165" y="92392"/>
                  </a:cubicBezTo>
                  <a:lnTo>
                    <a:pt x="183833" y="74295"/>
                  </a:lnTo>
                  <a:cubicBezTo>
                    <a:pt x="190500" y="65722"/>
                    <a:pt x="201930" y="57150"/>
                    <a:pt x="207645" y="57150"/>
                  </a:cubicBezTo>
                  <a:cubicBezTo>
                    <a:pt x="211455" y="57150"/>
                    <a:pt x="214313" y="59055"/>
                    <a:pt x="214313" y="64770"/>
                  </a:cubicBezTo>
                  <a:cubicBezTo>
                    <a:pt x="215265" y="80963"/>
                    <a:pt x="200025" y="110490"/>
                    <a:pt x="182880" y="110490"/>
                  </a:cubicBezTo>
                  <a:moveTo>
                    <a:pt x="230505" y="58103"/>
                  </a:moveTo>
                  <a:cubicBezTo>
                    <a:pt x="230505" y="45720"/>
                    <a:pt x="225743" y="41910"/>
                    <a:pt x="218123" y="41910"/>
                  </a:cubicBezTo>
                  <a:cubicBezTo>
                    <a:pt x="207645" y="41910"/>
                    <a:pt x="198120" y="53340"/>
                    <a:pt x="188595" y="66675"/>
                  </a:cubicBezTo>
                  <a:lnTo>
                    <a:pt x="213360" y="1905"/>
                  </a:lnTo>
                  <a:lnTo>
                    <a:pt x="212408" y="0"/>
                  </a:lnTo>
                  <a:lnTo>
                    <a:pt x="186690" y="2858"/>
                  </a:lnTo>
                  <a:lnTo>
                    <a:pt x="186690" y="5715"/>
                  </a:lnTo>
                  <a:lnTo>
                    <a:pt x="191453" y="9525"/>
                  </a:lnTo>
                  <a:cubicBezTo>
                    <a:pt x="196215" y="13335"/>
                    <a:pt x="194310" y="17145"/>
                    <a:pt x="190500" y="27622"/>
                  </a:cubicBezTo>
                  <a:lnTo>
                    <a:pt x="163830" y="96203"/>
                  </a:lnTo>
                  <a:cubicBezTo>
                    <a:pt x="161925" y="100965"/>
                    <a:pt x="159068" y="107633"/>
                    <a:pt x="159068" y="108585"/>
                  </a:cubicBezTo>
                  <a:cubicBezTo>
                    <a:pt x="159068" y="115253"/>
                    <a:pt x="168593" y="121920"/>
                    <a:pt x="177165" y="121920"/>
                  </a:cubicBezTo>
                  <a:cubicBezTo>
                    <a:pt x="196215" y="121920"/>
                    <a:pt x="230505" y="85725"/>
                    <a:pt x="230505" y="58103"/>
                  </a:cubicBezTo>
                  <a:moveTo>
                    <a:pt x="149543" y="49530"/>
                  </a:moveTo>
                  <a:cubicBezTo>
                    <a:pt x="151448" y="43815"/>
                    <a:pt x="147638" y="40958"/>
                    <a:pt x="144780" y="40958"/>
                  </a:cubicBezTo>
                  <a:cubicBezTo>
                    <a:pt x="133350" y="40958"/>
                    <a:pt x="119063" y="51435"/>
                    <a:pt x="113348" y="66675"/>
                  </a:cubicBezTo>
                  <a:lnTo>
                    <a:pt x="117157" y="66675"/>
                  </a:lnTo>
                  <a:cubicBezTo>
                    <a:pt x="120968" y="60960"/>
                    <a:pt x="127635" y="55245"/>
                    <a:pt x="133350" y="54292"/>
                  </a:cubicBezTo>
                  <a:lnTo>
                    <a:pt x="110490" y="113347"/>
                  </a:lnTo>
                  <a:cubicBezTo>
                    <a:pt x="108585" y="119063"/>
                    <a:pt x="112395" y="121920"/>
                    <a:pt x="115253" y="121920"/>
                  </a:cubicBezTo>
                  <a:cubicBezTo>
                    <a:pt x="126682" y="121920"/>
                    <a:pt x="140018" y="111442"/>
                    <a:pt x="145733" y="96203"/>
                  </a:cubicBezTo>
                  <a:lnTo>
                    <a:pt x="141923" y="96203"/>
                  </a:lnTo>
                  <a:cubicBezTo>
                    <a:pt x="138113" y="101917"/>
                    <a:pt x="131445" y="107633"/>
                    <a:pt x="125730" y="108585"/>
                  </a:cubicBezTo>
                  <a:lnTo>
                    <a:pt x="149543" y="49530"/>
                  </a:lnTo>
                  <a:close/>
                  <a:moveTo>
                    <a:pt x="153353" y="20003"/>
                  </a:moveTo>
                  <a:cubicBezTo>
                    <a:pt x="159068" y="20003"/>
                    <a:pt x="162878" y="15240"/>
                    <a:pt x="162878" y="10478"/>
                  </a:cubicBezTo>
                  <a:cubicBezTo>
                    <a:pt x="162878" y="4763"/>
                    <a:pt x="158115" y="953"/>
                    <a:pt x="153353" y="953"/>
                  </a:cubicBezTo>
                  <a:cubicBezTo>
                    <a:pt x="147638" y="953"/>
                    <a:pt x="143828" y="5715"/>
                    <a:pt x="143828" y="10478"/>
                  </a:cubicBezTo>
                  <a:cubicBezTo>
                    <a:pt x="143828" y="16192"/>
                    <a:pt x="147638" y="20003"/>
                    <a:pt x="153353" y="20003"/>
                  </a:cubicBezTo>
                  <a:moveTo>
                    <a:pt x="93345" y="10478"/>
                  </a:moveTo>
                  <a:lnTo>
                    <a:pt x="39053" y="10478"/>
                  </a:lnTo>
                  <a:lnTo>
                    <a:pt x="37148" y="15240"/>
                  </a:lnTo>
                  <a:cubicBezTo>
                    <a:pt x="53340" y="18097"/>
                    <a:pt x="54293" y="20003"/>
                    <a:pt x="46673" y="40005"/>
                  </a:cubicBezTo>
                  <a:lnTo>
                    <a:pt x="29528" y="88583"/>
                  </a:lnTo>
                  <a:cubicBezTo>
                    <a:pt x="21908" y="108585"/>
                    <a:pt x="19050" y="110490"/>
                    <a:pt x="953" y="113347"/>
                  </a:cubicBezTo>
                  <a:lnTo>
                    <a:pt x="0" y="118110"/>
                  </a:lnTo>
                  <a:lnTo>
                    <a:pt x="82868" y="118110"/>
                  </a:lnTo>
                  <a:lnTo>
                    <a:pt x="100965" y="86678"/>
                  </a:lnTo>
                  <a:lnTo>
                    <a:pt x="94298" y="86678"/>
                  </a:lnTo>
                  <a:cubicBezTo>
                    <a:pt x="83820" y="98108"/>
                    <a:pt x="72390" y="111442"/>
                    <a:pt x="54293" y="111442"/>
                  </a:cubicBezTo>
                  <a:cubicBezTo>
                    <a:pt x="40957" y="111442"/>
                    <a:pt x="39053" y="109538"/>
                    <a:pt x="46673" y="88583"/>
                  </a:cubicBezTo>
                  <a:lnTo>
                    <a:pt x="63818" y="40005"/>
                  </a:lnTo>
                  <a:cubicBezTo>
                    <a:pt x="71438" y="20003"/>
                    <a:pt x="74295" y="18097"/>
                    <a:pt x="92393" y="15240"/>
                  </a:cubicBezTo>
                  <a:lnTo>
                    <a:pt x="93345" y="1047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EF54B3B4-D50D-4165-967F-4732A1467D7A}"/>
                </a:ext>
              </a:extLst>
            </p:cNvPr>
            <p:cNvSpPr/>
            <p:nvPr/>
          </p:nvSpPr>
          <p:spPr>
            <a:xfrm>
              <a:off x="270509" y="675322"/>
              <a:ext cx="1310640" cy="498157"/>
            </a:xfrm>
            <a:custGeom>
              <a:avLst/>
              <a:gdLst>
                <a:gd name="connsiteX0" fmla="*/ 0 w 1310640"/>
                <a:gd name="connsiteY0" fmla="*/ 196215 h 498157"/>
                <a:gd name="connsiteX1" fmla="*/ 0 w 1310640"/>
                <a:gd name="connsiteY1" fmla="*/ 0 h 498157"/>
                <a:gd name="connsiteX2" fmla="*/ 64770 w 1310640"/>
                <a:gd name="connsiteY2" fmla="*/ 0 h 498157"/>
                <a:gd name="connsiteX3" fmla="*/ 116205 w 1310640"/>
                <a:gd name="connsiteY3" fmla="*/ 16192 h 498157"/>
                <a:gd name="connsiteX4" fmla="*/ 135255 w 1310640"/>
                <a:gd name="connsiteY4" fmla="*/ 59055 h 498157"/>
                <a:gd name="connsiteX5" fmla="*/ 116205 w 1310640"/>
                <a:gd name="connsiteY5" fmla="*/ 101917 h 498157"/>
                <a:gd name="connsiteX6" fmla="*/ 64770 w 1310640"/>
                <a:gd name="connsiteY6" fmla="*/ 118110 h 498157"/>
                <a:gd name="connsiteX7" fmla="*/ 40005 w 1310640"/>
                <a:gd name="connsiteY7" fmla="*/ 118110 h 498157"/>
                <a:gd name="connsiteX8" fmla="*/ 40005 w 1310640"/>
                <a:gd name="connsiteY8" fmla="*/ 197167 h 498157"/>
                <a:gd name="connsiteX9" fmla="*/ 0 w 1310640"/>
                <a:gd name="connsiteY9" fmla="*/ 197167 h 498157"/>
                <a:gd name="connsiteX10" fmla="*/ 65723 w 1310640"/>
                <a:gd name="connsiteY10" fmla="*/ 33338 h 498157"/>
                <a:gd name="connsiteX11" fmla="*/ 39053 w 1310640"/>
                <a:gd name="connsiteY11" fmla="*/ 33338 h 498157"/>
                <a:gd name="connsiteX12" fmla="*/ 39053 w 1310640"/>
                <a:gd name="connsiteY12" fmla="*/ 82867 h 498157"/>
                <a:gd name="connsiteX13" fmla="*/ 65723 w 1310640"/>
                <a:gd name="connsiteY13" fmla="*/ 82867 h 498157"/>
                <a:gd name="connsiteX14" fmla="*/ 85725 w 1310640"/>
                <a:gd name="connsiteY14" fmla="*/ 76200 h 498157"/>
                <a:gd name="connsiteX15" fmla="*/ 93345 w 1310640"/>
                <a:gd name="connsiteY15" fmla="*/ 58102 h 498157"/>
                <a:gd name="connsiteX16" fmla="*/ 85725 w 1310640"/>
                <a:gd name="connsiteY16" fmla="*/ 40005 h 498157"/>
                <a:gd name="connsiteX17" fmla="*/ 65723 w 1310640"/>
                <a:gd name="connsiteY17" fmla="*/ 33338 h 498157"/>
                <a:gd name="connsiteX18" fmla="*/ 166688 w 1310640"/>
                <a:gd name="connsiteY18" fmla="*/ 196215 h 498157"/>
                <a:gd name="connsiteX19" fmla="*/ 166688 w 1310640"/>
                <a:gd name="connsiteY19" fmla="*/ 0 h 498157"/>
                <a:gd name="connsiteX20" fmla="*/ 226695 w 1310640"/>
                <a:gd name="connsiteY20" fmla="*/ 0 h 498157"/>
                <a:gd name="connsiteX21" fmla="*/ 278130 w 1310640"/>
                <a:gd name="connsiteY21" fmla="*/ 16192 h 498157"/>
                <a:gd name="connsiteX22" fmla="*/ 297180 w 1310640"/>
                <a:gd name="connsiteY22" fmla="*/ 59055 h 498157"/>
                <a:gd name="connsiteX23" fmla="*/ 288608 w 1310640"/>
                <a:gd name="connsiteY23" fmla="*/ 89535 h 498157"/>
                <a:gd name="connsiteX24" fmla="*/ 265748 w 1310640"/>
                <a:gd name="connsiteY24" fmla="*/ 109538 h 498157"/>
                <a:gd name="connsiteX25" fmla="*/ 327660 w 1310640"/>
                <a:gd name="connsiteY25" fmla="*/ 196215 h 498157"/>
                <a:gd name="connsiteX26" fmla="*/ 280035 w 1310640"/>
                <a:gd name="connsiteY26" fmla="*/ 196215 h 498157"/>
                <a:gd name="connsiteX27" fmla="*/ 227648 w 1310640"/>
                <a:gd name="connsiteY27" fmla="*/ 117157 h 498157"/>
                <a:gd name="connsiteX28" fmla="*/ 206692 w 1310640"/>
                <a:gd name="connsiteY28" fmla="*/ 117157 h 498157"/>
                <a:gd name="connsiteX29" fmla="*/ 206692 w 1310640"/>
                <a:gd name="connsiteY29" fmla="*/ 196215 h 498157"/>
                <a:gd name="connsiteX30" fmla="*/ 166688 w 1310640"/>
                <a:gd name="connsiteY30" fmla="*/ 196215 h 498157"/>
                <a:gd name="connsiteX31" fmla="*/ 229553 w 1310640"/>
                <a:gd name="connsiteY31" fmla="*/ 33338 h 498157"/>
                <a:gd name="connsiteX32" fmla="*/ 206692 w 1310640"/>
                <a:gd name="connsiteY32" fmla="*/ 33338 h 498157"/>
                <a:gd name="connsiteX33" fmla="*/ 206692 w 1310640"/>
                <a:gd name="connsiteY33" fmla="*/ 82867 h 498157"/>
                <a:gd name="connsiteX34" fmla="*/ 229553 w 1310640"/>
                <a:gd name="connsiteY34" fmla="*/ 82867 h 498157"/>
                <a:gd name="connsiteX35" fmla="*/ 249555 w 1310640"/>
                <a:gd name="connsiteY35" fmla="*/ 76200 h 498157"/>
                <a:gd name="connsiteX36" fmla="*/ 256223 w 1310640"/>
                <a:gd name="connsiteY36" fmla="*/ 58102 h 498157"/>
                <a:gd name="connsiteX37" fmla="*/ 249555 w 1310640"/>
                <a:gd name="connsiteY37" fmla="*/ 40005 h 498157"/>
                <a:gd name="connsiteX38" fmla="*/ 229553 w 1310640"/>
                <a:gd name="connsiteY38" fmla="*/ 33338 h 498157"/>
                <a:gd name="connsiteX39" fmla="*/ 352425 w 1310640"/>
                <a:gd name="connsiteY39" fmla="*/ 196215 h 498157"/>
                <a:gd name="connsiteX40" fmla="*/ 352425 w 1310640"/>
                <a:gd name="connsiteY40" fmla="*/ 0 h 498157"/>
                <a:gd name="connsiteX41" fmla="*/ 466725 w 1310640"/>
                <a:gd name="connsiteY41" fmla="*/ 0 h 498157"/>
                <a:gd name="connsiteX42" fmla="*/ 466725 w 1310640"/>
                <a:gd name="connsiteY42" fmla="*/ 34290 h 498157"/>
                <a:gd name="connsiteX43" fmla="*/ 392430 w 1310640"/>
                <a:gd name="connsiteY43" fmla="*/ 34290 h 498157"/>
                <a:gd name="connsiteX44" fmla="*/ 392430 w 1310640"/>
                <a:gd name="connsiteY44" fmla="*/ 80010 h 498157"/>
                <a:gd name="connsiteX45" fmla="*/ 456248 w 1310640"/>
                <a:gd name="connsiteY45" fmla="*/ 80010 h 498157"/>
                <a:gd name="connsiteX46" fmla="*/ 456248 w 1310640"/>
                <a:gd name="connsiteY46" fmla="*/ 114300 h 498157"/>
                <a:gd name="connsiteX47" fmla="*/ 392430 w 1310640"/>
                <a:gd name="connsiteY47" fmla="*/ 114300 h 498157"/>
                <a:gd name="connsiteX48" fmla="*/ 392430 w 1310640"/>
                <a:gd name="connsiteY48" fmla="*/ 163830 h 498157"/>
                <a:gd name="connsiteX49" fmla="*/ 466725 w 1310640"/>
                <a:gd name="connsiteY49" fmla="*/ 163830 h 498157"/>
                <a:gd name="connsiteX50" fmla="*/ 466725 w 1310640"/>
                <a:gd name="connsiteY50" fmla="*/ 198120 h 498157"/>
                <a:gd name="connsiteX51" fmla="*/ 352425 w 1310640"/>
                <a:gd name="connsiteY51" fmla="*/ 198120 h 498157"/>
                <a:gd name="connsiteX52" fmla="*/ 513398 w 1310640"/>
                <a:gd name="connsiteY52" fmla="*/ 196215 h 498157"/>
                <a:gd name="connsiteX53" fmla="*/ 513398 w 1310640"/>
                <a:gd name="connsiteY53" fmla="*/ 0 h 498157"/>
                <a:gd name="connsiteX54" fmla="*/ 563880 w 1310640"/>
                <a:gd name="connsiteY54" fmla="*/ 0 h 498157"/>
                <a:gd name="connsiteX55" fmla="*/ 611505 w 1310640"/>
                <a:gd name="connsiteY55" fmla="*/ 80963 h 498157"/>
                <a:gd name="connsiteX56" fmla="*/ 659130 w 1310640"/>
                <a:gd name="connsiteY56" fmla="*/ 0 h 498157"/>
                <a:gd name="connsiteX57" fmla="*/ 709613 w 1310640"/>
                <a:gd name="connsiteY57" fmla="*/ 0 h 498157"/>
                <a:gd name="connsiteX58" fmla="*/ 709613 w 1310640"/>
                <a:gd name="connsiteY58" fmla="*/ 197167 h 498157"/>
                <a:gd name="connsiteX59" fmla="*/ 669608 w 1310640"/>
                <a:gd name="connsiteY59" fmla="*/ 197167 h 498157"/>
                <a:gd name="connsiteX60" fmla="*/ 669608 w 1310640"/>
                <a:gd name="connsiteY60" fmla="*/ 56198 h 498157"/>
                <a:gd name="connsiteX61" fmla="*/ 624840 w 1310640"/>
                <a:gd name="connsiteY61" fmla="*/ 128588 h 498157"/>
                <a:gd name="connsiteX62" fmla="*/ 596265 w 1310640"/>
                <a:gd name="connsiteY62" fmla="*/ 128588 h 498157"/>
                <a:gd name="connsiteX63" fmla="*/ 552450 w 1310640"/>
                <a:gd name="connsiteY63" fmla="*/ 56198 h 498157"/>
                <a:gd name="connsiteX64" fmla="*/ 552450 w 1310640"/>
                <a:gd name="connsiteY64" fmla="*/ 196215 h 498157"/>
                <a:gd name="connsiteX65" fmla="*/ 513398 w 1310640"/>
                <a:gd name="connsiteY65" fmla="*/ 196215 h 498157"/>
                <a:gd name="connsiteX66" fmla="*/ 763905 w 1310640"/>
                <a:gd name="connsiteY66" fmla="*/ 196215 h 498157"/>
                <a:gd name="connsiteX67" fmla="*/ 763905 w 1310640"/>
                <a:gd name="connsiteY67" fmla="*/ 0 h 498157"/>
                <a:gd name="connsiteX68" fmla="*/ 803910 w 1310640"/>
                <a:gd name="connsiteY68" fmla="*/ 0 h 498157"/>
                <a:gd name="connsiteX69" fmla="*/ 803910 w 1310640"/>
                <a:gd name="connsiteY69" fmla="*/ 197167 h 498157"/>
                <a:gd name="connsiteX70" fmla="*/ 763905 w 1310640"/>
                <a:gd name="connsiteY70" fmla="*/ 197167 h 498157"/>
                <a:gd name="connsiteX71" fmla="*/ 858203 w 1310640"/>
                <a:gd name="connsiteY71" fmla="*/ 196215 h 498157"/>
                <a:gd name="connsiteX72" fmla="*/ 858203 w 1310640"/>
                <a:gd name="connsiteY72" fmla="*/ 0 h 498157"/>
                <a:gd name="connsiteX73" fmla="*/ 972503 w 1310640"/>
                <a:gd name="connsiteY73" fmla="*/ 0 h 498157"/>
                <a:gd name="connsiteX74" fmla="*/ 972503 w 1310640"/>
                <a:gd name="connsiteY74" fmla="*/ 34290 h 498157"/>
                <a:gd name="connsiteX75" fmla="*/ 898208 w 1310640"/>
                <a:gd name="connsiteY75" fmla="*/ 34290 h 498157"/>
                <a:gd name="connsiteX76" fmla="*/ 898208 w 1310640"/>
                <a:gd name="connsiteY76" fmla="*/ 80010 h 498157"/>
                <a:gd name="connsiteX77" fmla="*/ 962025 w 1310640"/>
                <a:gd name="connsiteY77" fmla="*/ 80010 h 498157"/>
                <a:gd name="connsiteX78" fmla="*/ 962025 w 1310640"/>
                <a:gd name="connsiteY78" fmla="*/ 114300 h 498157"/>
                <a:gd name="connsiteX79" fmla="*/ 898208 w 1310640"/>
                <a:gd name="connsiteY79" fmla="*/ 114300 h 498157"/>
                <a:gd name="connsiteX80" fmla="*/ 898208 w 1310640"/>
                <a:gd name="connsiteY80" fmla="*/ 163830 h 498157"/>
                <a:gd name="connsiteX81" fmla="*/ 972503 w 1310640"/>
                <a:gd name="connsiteY81" fmla="*/ 163830 h 498157"/>
                <a:gd name="connsiteX82" fmla="*/ 972503 w 1310640"/>
                <a:gd name="connsiteY82" fmla="*/ 198120 h 498157"/>
                <a:gd name="connsiteX83" fmla="*/ 858203 w 1310640"/>
                <a:gd name="connsiteY83" fmla="*/ 198120 h 498157"/>
                <a:gd name="connsiteX84" fmla="*/ 1019175 w 1310640"/>
                <a:gd name="connsiteY84" fmla="*/ 196215 h 498157"/>
                <a:gd name="connsiteX85" fmla="*/ 1019175 w 1310640"/>
                <a:gd name="connsiteY85" fmla="*/ 0 h 498157"/>
                <a:gd name="connsiteX86" fmla="*/ 1079183 w 1310640"/>
                <a:gd name="connsiteY86" fmla="*/ 0 h 498157"/>
                <a:gd name="connsiteX87" fmla="*/ 1130618 w 1310640"/>
                <a:gd name="connsiteY87" fmla="*/ 16192 h 498157"/>
                <a:gd name="connsiteX88" fmla="*/ 1149668 w 1310640"/>
                <a:gd name="connsiteY88" fmla="*/ 59055 h 498157"/>
                <a:gd name="connsiteX89" fmla="*/ 1141095 w 1310640"/>
                <a:gd name="connsiteY89" fmla="*/ 89535 h 498157"/>
                <a:gd name="connsiteX90" fmla="*/ 1118235 w 1310640"/>
                <a:gd name="connsiteY90" fmla="*/ 109538 h 498157"/>
                <a:gd name="connsiteX91" fmla="*/ 1180148 w 1310640"/>
                <a:gd name="connsiteY91" fmla="*/ 196215 h 498157"/>
                <a:gd name="connsiteX92" fmla="*/ 1132523 w 1310640"/>
                <a:gd name="connsiteY92" fmla="*/ 196215 h 498157"/>
                <a:gd name="connsiteX93" fmla="*/ 1080135 w 1310640"/>
                <a:gd name="connsiteY93" fmla="*/ 117157 h 498157"/>
                <a:gd name="connsiteX94" fmla="*/ 1059180 w 1310640"/>
                <a:gd name="connsiteY94" fmla="*/ 117157 h 498157"/>
                <a:gd name="connsiteX95" fmla="*/ 1059180 w 1310640"/>
                <a:gd name="connsiteY95" fmla="*/ 196215 h 498157"/>
                <a:gd name="connsiteX96" fmla="*/ 1019175 w 1310640"/>
                <a:gd name="connsiteY96" fmla="*/ 196215 h 498157"/>
                <a:gd name="connsiteX97" fmla="*/ 1082040 w 1310640"/>
                <a:gd name="connsiteY97" fmla="*/ 33338 h 498157"/>
                <a:gd name="connsiteX98" fmla="*/ 1059180 w 1310640"/>
                <a:gd name="connsiteY98" fmla="*/ 33338 h 498157"/>
                <a:gd name="connsiteX99" fmla="*/ 1059180 w 1310640"/>
                <a:gd name="connsiteY99" fmla="*/ 82867 h 498157"/>
                <a:gd name="connsiteX100" fmla="*/ 1082040 w 1310640"/>
                <a:gd name="connsiteY100" fmla="*/ 82867 h 498157"/>
                <a:gd name="connsiteX101" fmla="*/ 1102043 w 1310640"/>
                <a:gd name="connsiteY101" fmla="*/ 76200 h 498157"/>
                <a:gd name="connsiteX102" fmla="*/ 1108710 w 1310640"/>
                <a:gd name="connsiteY102" fmla="*/ 58102 h 498157"/>
                <a:gd name="connsiteX103" fmla="*/ 1102043 w 1310640"/>
                <a:gd name="connsiteY103" fmla="*/ 40005 h 498157"/>
                <a:gd name="connsiteX104" fmla="*/ 1082040 w 1310640"/>
                <a:gd name="connsiteY104" fmla="*/ 33338 h 498157"/>
                <a:gd name="connsiteX105" fmla="*/ 0 w 1310640"/>
                <a:gd name="connsiteY105" fmla="*/ 493395 h 498157"/>
                <a:gd name="connsiteX106" fmla="*/ 0 w 1310640"/>
                <a:gd name="connsiteY106" fmla="*/ 296228 h 498157"/>
                <a:gd name="connsiteX107" fmla="*/ 50483 w 1310640"/>
                <a:gd name="connsiteY107" fmla="*/ 296228 h 498157"/>
                <a:gd name="connsiteX108" fmla="*/ 98108 w 1310640"/>
                <a:gd name="connsiteY108" fmla="*/ 377190 h 498157"/>
                <a:gd name="connsiteX109" fmla="*/ 145733 w 1310640"/>
                <a:gd name="connsiteY109" fmla="*/ 296228 h 498157"/>
                <a:gd name="connsiteX110" fmla="*/ 196215 w 1310640"/>
                <a:gd name="connsiteY110" fmla="*/ 296228 h 498157"/>
                <a:gd name="connsiteX111" fmla="*/ 196215 w 1310640"/>
                <a:gd name="connsiteY111" fmla="*/ 493395 h 498157"/>
                <a:gd name="connsiteX112" fmla="*/ 156210 w 1310640"/>
                <a:gd name="connsiteY112" fmla="*/ 493395 h 498157"/>
                <a:gd name="connsiteX113" fmla="*/ 156210 w 1310640"/>
                <a:gd name="connsiteY113" fmla="*/ 353378 h 498157"/>
                <a:gd name="connsiteX114" fmla="*/ 112395 w 1310640"/>
                <a:gd name="connsiteY114" fmla="*/ 425767 h 498157"/>
                <a:gd name="connsiteX115" fmla="*/ 84773 w 1310640"/>
                <a:gd name="connsiteY115" fmla="*/ 425767 h 498157"/>
                <a:gd name="connsiteX116" fmla="*/ 40958 w 1310640"/>
                <a:gd name="connsiteY116" fmla="*/ 353378 h 498157"/>
                <a:gd name="connsiteX117" fmla="*/ 40958 w 1310640"/>
                <a:gd name="connsiteY117" fmla="*/ 493395 h 498157"/>
                <a:gd name="connsiteX118" fmla="*/ 0 w 1310640"/>
                <a:gd name="connsiteY118" fmla="*/ 493395 h 498157"/>
                <a:gd name="connsiteX119" fmla="*/ 249555 w 1310640"/>
                <a:gd name="connsiteY119" fmla="*/ 493395 h 498157"/>
                <a:gd name="connsiteX120" fmla="*/ 249555 w 1310640"/>
                <a:gd name="connsiteY120" fmla="*/ 296228 h 498157"/>
                <a:gd name="connsiteX121" fmla="*/ 289560 w 1310640"/>
                <a:gd name="connsiteY121" fmla="*/ 296228 h 498157"/>
                <a:gd name="connsiteX122" fmla="*/ 289560 w 1310640"/>
                <a:gd name="connsiteY122" fmla="*/ 493395 h 498157"/>
                <a:gd name="connsiteX123" fmla="*/ 249555 w 1310640"/>
                <a:gd name="connsiteY123" fmla="*/ 493395 h 498157"/>
                <a:gd name="connsiteX124" fmla="*/ 344805 w 1310640"/>
                <a:gd name="connsiteY124" fmla="*/ 493395 h 498157"/>
                <a:gd name="connsiteX125" fmla="*/ 344805 w 1310640"/>
                <a:gd name="connsiteY125" fmla="*/ 296228 h 498157"/>
                <a:gd name="connsiteX126" fmla="*/ 396240 w 1310640"/>
                <a:gd name="connsiteY126" fmla="*/ 296228 h 498157"/>
                <a:gd name="connsiteX127" fmla="*/ 483870 w 1310640"/>
                <a:gd name="connsiteY127" fmla="*/ 437198 h 498157"/>
                <a:gd name="connsiteX128" fmla="*/ 483870 w 1310640"/>
                <a:gd name="connsiteY128" fmla="*/ 296228 h 498157"/>
                <a:gd name="connsiteX129" fmla="*/ 523875 w 1310640"/>
                <a:gd name="connsiteY129" fmla="*/ 296228 h 498157"/>
                <a:gd name="connsiteX130" fmla="*/ 523875 w 1310640"/>
                <a:gd name="connsiteY130" fmla="*/ 493395 h 498157"/>
                <a:gd name="connsiteX131" fmla="*/ 472440 w 1310640"/>
                <a:gd name="connsiteY131" fmla="*/ 493395 h 498157"/>
                <a:gd name="connsiteX132" fmla="*/ 384810 w 1310640"/>
                <a:gd name="connsiteY132" fmla="*/ 352425 h 498157"/>
                <a:gd name="connsiteX133" fmla="*/ 384810 w 1310640"/>
                <a:gd name="connsiteY133" fmla="*/ 493395 h 498157"/>
                <a:gd name="connsiteX134" fmla="*/ 344805 w 1310640"/>
                <a:gd name="connsiteY134" fmla="*/ 493395 h 498157"/>
                <a:gd name="connsiteX135" fmla="*/ 579120 w 1310640"/>
                <a:gd name="connsiteY135" fmla="*/ 493395 h 498157"/>
                <a:gd name="connsiteX136" fmla="*/ 579120 w 1310640"/>
                <a:gd name="connsiteY136" fmla="*/ 296228 h 498157"/>
                <a:gd name="connsiteX137" fmla="*/ 619125 w 1310640"/>
                <a:gd name="connsiteY137" fmla="*/ 296228 h 498157"/>
                <a:gd name="connsiteX138" fmla="*/ 619125 w 1310640"/>
                <a:gd name="connsiteY138" fmla="*/ 493395 h 498157"/>
                <a:gd name="connsiteX139" fmla="*/ 579120 w 1310640"/>
                <a:gd name="connsiteY139" fmla="*/ 493395 h 498157"/>
                <a:gd name="connsiteX140" fmla="*/ 656273 w 1310640"/>
                <a:gd name="connsiteY140" fmla="*/ 466725 h 498157"/>
                <a:gd name="connsiteX141" fmla="*/ 684848 w 1310640"/>
                <a:gd name="connsiteY141" fmla="*/ 440055 h 498157"/>
                <a:gd name="connsiteX142" fmla="*/ 704850 w 1310640"/>
                <a:gd name="connsiteY142" fmla="*/ 458153 h 498157"/>
                <a:gd name="connsiteX143" fmla="*/ 728663 w 1310640"/>
                <a:gd name="connsiteY143" fmla="*/ 464820 h 498157"/>
                <a:gd name="connsiteX144" fmla="*/ 746760 w 1310640"/>
                <a:gd name="connsiteY144" fmla="*/ 459105 h 498157"/>
                <a:gd name="connsiteX145" fmla="*/ 753428 w 1310640"/>
                <a:gd name="connsiteY145" fmla="*/ 441960 h 498157"/>
                <a:gd name="connsiteX146" fmla="*/ 739140 w 1310640"/>
                <a:gd name="connsiteY146" fmla="*/ 421957 h 498157"/>
                <a:gd name="connsiteX147" fmla="*/ 708660 w 1310640"/>
                <a:gd name="connsiteY147" fmla="*/ 406717 h 498157"/>
                <a:gd name="connsiteX148" fmla="*/ 678180 w 1310640"/>
                <a:gd name="connsiteY148" fmla="*/ 385763 h 498157"/>
                <a:gd name="connsiteX149" fmla="*/ 663893 w 1310640"/>
                <a:gd name="connsiteY149" fmla="*/ 348615 h 498157"/>
                <a:gd name="connsiteX150" fmla="*/ 668655 w 1310640"/>
                <a:gd name="connsiteY150" fmla="*/ 326707 h 498157"/>
                <a:gd name="connsiteX151" fmla="*/ 681990 w 1310640"/>
                <a:gd name="connsiteY151" fmla="*/ 308610 h 498157"/>
                <a:gd name="connsiteX152" fmla="*/ 701993 w 1310640"/>
                <a:gd name="connsiteY152" fmla="*/ 296228 h 498157"/>
                <a:gd name="connsiteX153" fmla="*/ 727710 w 1310640"/>
                <a:gd name="connsiteY153" fmla="*/ 291465 h 498157"/>
                <a:gd name="connsiteX154" fmla="*/ 766763 w 1310640"/>
                <a:gd name="connsiteY154" fmla="*/ 300990 h 498157"/>
                <a:gd name="connsiteX155" fmla="*/ 796290 w 1310640"/>
                <a:gd name="connsiteY155" fmla="*/ 324803 h 498157"/>
                <a:gd name="connsiteX156" fmla="*/ 766763 w 1310640"/>
                <a:gd name="connsiteY156" fmla="*/ 350520 h 498157"/>
                <a:gd name="connsiteX157" fmla="*/ 748665 w 1310640"/>
                <a:gd name="connsiteY157" fmla="*/ 332423 h 498157"/>
                <a:gd name="connsiteX158" fmla="*/ 727710 w 1310640"/>
                <a:gd name="connsiteY158" fmla="*/ 325755 h 498157"/>
                <a:gd name="connsiteX159" fmla="*/ 711518 w 1310640"/>
                <a:gd name="connsiteY159" fmla="*/ 331470 h 498157"/>
                <a:gd name="connsiteX160" fmla="*/ 705803 w 1310640"/>
                <a:gd name="connsiteY160" fmla="*/ 345757 h 498157"/>
                <a:gd name="connsiteX161" fmla="*/ 720090 w 1310640"/>
                <a:gd name="connsiteY161" fmla="*/ 365760 h 498157"/>
                <a:gd name="connsiteX162" fmla="*/ 750570 w 1310640"/>
                <a:gd name="connsiteY162" fmla="*/ 381000 h 498157"/>
                <a:gd name="connsiteX163" fmla="*/ 781050 w 1310640"/>
                <a:gd name="connsiteY163" fmla="*/ 401955 h 498157"/>
                <a:gd name="connsiteX164" fmla="*/ 795338 w 1310640"/>
                <a:gd name="connsiteY164" fmla="*/ 440055 h 498157"/>
                <a:gd name="connsiteX165" fmla="*/ 789623 w 1310640"/>
                <a:gd name="connsiteY165" fmla="*/ 464820 h 498157"/>
                <a:gd name="connsiteX166" fmla="*/ 775335 w 1310640"/>
                <a:gd name="connsiteY166" fmla="*/ 482917 h 498157"/>
                <a:gd name="connsiteX167" fmla="*/ 754380 w 1310640"/>
                <a:gd name="connsiteY167" fmla="*/ 494348 h 498157"/>
                <a:gd name="connsiteX168" fmla="*/ 728663 w 1310640"/>
                <a:gd name="connsiteY168" fmla="*/ 498157 h 498157"/>
                <a:gd name="connsiteX169" fmla="*/ 685800 w 1310640"/>
                <a:gd name="connsiteY169" fmla="*/ 489585 h 498157"/>
                <a:gd name="connsiteX170" fmla="*/ 656273 w 1310640"/>
                <a:gd name="connsiteY170" fmla="*/ 466725 h 498157"/>
                <a:gd name="connsiteX171" fmla="*/ 814388 w 1310640"/>
                <a:gd name="connsiteY171" fmla="*/ 333375 h 498157"/>
                <a:gd name="connsiteX172" fmla="*/ 814388 w 1310640"/>
                <a:gd name="connsiteY172" fmla="*/ 297180 h 498157"/>
                <a:gd name="connsiteX173" fmla="*/ 975360 w 1310640"/>
                <a:gd name="connsiteY173" fmla="*/ 297180 h 498157"/>
                <a:gd name="connsiteX174" fmla="*/ 975360 w 1310640"/>
                <a:gd name="connsiteY174" fmla="*/ 333375 h 498157"/>
                <a:gd name="connsiteX175" fmla="*/ 914400 w 1310640"/>
                <a:gd name="connsiteY175" fmla="*/ 333375 h 498157"/>
                <a:gd name="connsiteX176" fmla="*/ 914400 w 1310640"/>
                <a:gd name="connsiteY176" fmla="*/ 493395 h 498157"/>
                <a:gd name="connsiteX177" fmla="*/ 874395 w 1310640"/>
                <a:gd name="connsiteY177" fmla="*/ 493395 h 498157"/>
                <a:gd name="connsiteX178" fmla="*/ 874395 w 1310640"/>
                <a:gd name="connsiteY178" fmla="*/ 333375 h 498157"/>
                <a:gd name="connsiteX179" fmla="*/ 814388 w 1310640"/>
                <a:gd name="connsiteY179" fmla="*/ 333375 h 498157"/>
                <a:gd name="connsiteX180" fmla="*/ 1011555 w 1310640"/>
                <a:gd name="connsiteY180" fmla="*/ 493395 h 498157"/>
                <a:gd name="connsiteX181" fmla="*/ 1011555 w 1310640"/>
                <a:gd name="connsiteY181" fmla="*/ 296228 h 498157"/>
                <a:gd name="connsiteX182" fmla="*/ 1071563 w 1310640"/>
                <a:gd name="connsiteY182" fmla="*/ 296228 h 498157"/>
                <a:gd name="connsiteX183" fmla="*/ 1122998 w 1310640"/>
                <a:gd name="connsiteY183" fmla="*/ 312420 h 498157"/>
                <a:gd name="connsiteX184" fmla="*/ 1142048 w 1310640"/>
                <a:gd name="connsiteY184" fmla="*/ 355282 h 498157"/>
                <a:gd name="connsiteX185" fmla="*/ 1133475 w 1310640"/>
                <a:gd name="connsiteY185" fmla="*/ 385763 h 498157"/>
                <a:gd name="connsiteX186" fmla="*/ 1110615 w 1310640"/>
                <a:gd name="connsiteY186" fmla="*/ 405765 h 498157"/>
                <a:gd name="connsiteX187" fmla="*/ 1172528 w 1310640"/>
                <a:gd name="connsiteY187" fmla="*/ 492442 h 498157"/>
                <a:gd name="connsiteX188" fmla="*/ 1124903 w 1310640"/>
                <a:gd name="connsiteY188" fmla="*/ 492442 h 498157"/>
                <a:gd name="connsiteX189" fmla="*/ 1072515 w 1310640"/>
                <a:gd name="connsiteY189" fmla="*/ 413385 h 498157"/>
                <a:gd name="connsiteX190" fmla="*/ 1051560 w 1310640"/>
                <a:gd name="connsiteY190" fmla="*/ 413385 h 498157"/>
                <a:gd name="connsiteX191" fmla="*/ 1051560 w 1310640"/>
                <a:gd name="connsiteY191" fmla="*/ 492442 h 498157"/>
                <a:gd name="connsiteX192" fmla="*/ 1011555 w 1310640"/>
                <a:gd name="connsiteY192" fmla="*/ 492442 h 498157"/>
                <a:gd name="connsiteX193" fmla="*/ 1073468 w 1310640"/>
                <a:gd name="connsiteY193" fmla="*/ 330517 h 498157"/>
                <a:gd name="connsiteX194" fmla="*/ 1050608 w 1310640"/>
                <a:gd name="connsiteY194" fmla="*/ 330517 h 498157"/>
                <a:gd name="connsiteX195" fmla="*/ 1050608 w 1310640"/>
                <a:gd name="connsiteY195" fmla="*/ 380048 h 498157"/>
                <a:gd name="connsiteX196" fmla="*/ 1073468 w 1310640"/>
                <a:gd name="connsiteY196" fmla="*/ 380048 h 498157"/>
                <a:gd name="connsiteX197" fmla="*/ 1093470 w 1310640"/>
                <a:gd name="connsiteY197" fmla="*/ 373380 h 498157"/>
                <a:gd name="connsiteX198" fmla="*/ 1100138 w 1310640"/>
                <a:gd name="connsiteY198" fmla="*/ 355282 h 498157"/>
                <a:gd name="connsiteX199" fmla="*/ 1093470 w 1310640"/>
                <a:gd name="connsiteY199" fmla="*/ 337185 h 498157"/>
                <a:gd name="connsiteX200" fmla="*/ 1073468 w 1310640"/>
                <a:gd name="connsiteY200" fmla="*/ 330517 h 498157"/>
                <a:gd name="connsiteX201" fmla="*/ 1196340 w 1310640"/>
                <a:gd name="connsiteY201" fmla="*/ 493395 h 498157"/>
                <a:gd name="connsiteX202" fmla="*/ 1196340 w 1310640"/>
                <a:gd name="connsiteY202" fmla="*/ 296228 h 498157"/>
                <a:gd name="connsiteX203" fmla="*/ 1310640 w 1310640"/>
                <a:gd name="connsiteY203" fmla="*/ 296228 h 498157"/>
                <a:gd name="connsiteX204" fmla="*/ 1310640 w 1310640"/>
                <a:gd name="connsiteY204" fmla="*/ 330517 h 498157"/>
                <a:gd name="connsiteX205" fmla="*/ 1236345 w 1310640"/>
                <a:gd name="connsiteY205" fmla="*/ 330517 h 498157"/>
                <a:gd name="connsiteX206" fmla="*/ 1236345 w 1310640"/>
                <a:gd name="connsiteY206" fmla="*/ 376238 h 498157"/>
                <a:gd name="connsiteX207" fmla="*/ 1300163 w 1310640"/>
                <a:gd name="connsiteY207" fmla="*/ 376238 h 498157"/>
                <a:gd name="connsiteX208" fmla="*/ 1300163 w 1310640"/>
                <a:gd name="connsiteY208" fmla="*/ 410528 h 498157"/>
                <a:gd name="connsiteX209" fmla="*/ 1236345 w 1310640"/>
                <a:gd name="connsiteY209" fmla="*/ 410528 h 498157"/>
                <a:gd name="connsiteX210" fmla="*/ 1236345 w 1310640"/>
                <a:gd name="connsiteY210" fmla="*/ 460057 h 498157"/>
                <a:gd name="connsiteX211" fmla="*/ 1310640 w 1310640"/>
                <a:gd name="connsiteY211" fmla="*/ 460057 h 498157"/>
                <a:gd name="connsiteX212" fmla="*/ 1310640 w 1310640"/>
                <a:gd name="connsiteY212" fmla="*/ 494348 h 498157"/>
                <a:gd name="connsiteX213" fmla="*/ 1196340 w 1310640"/>
                <a:gd name="connsiteY213" fmla="*/ 494348 h 49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</a:cxnLst>
              <a:rect l="l" t="t" r="r" b="b"/>
              <a:pathLst>
                <a:path w="1310640" h="498157">
                  <a:moveTo>
                    <a:pt x="0" y="196215"/>
                  </a:moveTo>
                  <a:lnTo>
                    <a:pt x="0" y="0"/>
                  </a:lnTo>
                  <a:lnTo>
                    <a:pt x="64770" y="0"/>
                  </a:lnTo>
                  <a:cubicBezTo>
                    <a:pt x="86678" y="0"/>
                    <a:pt x="102870" y="5715"/>
                    <a:pt x="116205" y="16192"/>
                  </a:cubicBezTo>
                  <a:cubicBezTo>
                    <a:pt x="128588" y="26670"/>
                    <a:pt x="135255" y="40957"/>
                    <a:pt x="135255" y="59055"/>
                  </a:cubicBezTo>
                  <a:cubicBezTo>
                    <a:pt x="135255" y="77152"/>
                    <a:pt x="128588" y="91440"/>
                    <a:pt x="116205" y="101917"/>
                  </a:cubicBezTo>
                  <a:cubicBezTo>
                    <a:pt x="103823" y="112395"/>
                    <a:pt x="86678" y="118110"/>
                    <a:pt x="64770" y="118110"/>
                  </a:cubicBezTo>
                  <a:lnTo>
                    <a:pt x="40005" y="118110"/>
                  </a:lnTo>
                  <a:lnTo>
                    <a:pt x="40005" y="197167"/>
                  </a:lnTo>
                  <a:lnTo>
                    <a:pt x="0" y="197167"/>
                  </a:lnTo>
                  <a:close/>
                  <a:moveTo>
                    <a:pt x="65723" y="33338"/>
                  </a:moveTo>
                  <a:lnTo>
                    <a:pt x="39053" y="33338"/>
                  </a:lnTo>
                  <a:lnTo>
                    <a:pt x="39053" y="82867"/>
                  </a:lnTo>
                  <a:lnTo>
                    <a:pt x="65723" y="82867"/>
                  </a:lnTo>
                  <a:cubicBezTo>
                    <a:pt x="74295" y="82867"/>
                    <a:pt x="80963" y="80963"/>
                    <a:pt x="85725" y="76200"/>
                  </a:cubicBezTo>
                  <a:cubicBezTo>
                    <a:pt x="90488" y="71438"/>
                    <a:pt x="93345" y="65723"/>
                    <a:pt x="93345" y="58102"/>
                  </a:cubicBezTo>
                  <a:cubicBezTo>
                    <a:pt x="93345" y="50482"/>
                    <a:pt x="90488" y="44767"/>
                    <a:pt x="85725" y="40005"/>
                  </a:cubicBezTo>
                  <a:cubicBezTo>
                    <a:pt x="80963" y="36195"/>
                    <a:pt x="74295" y="33338"/>
                    <a:pt x="65723" y="33338"/>
                  </a:cubicBezTo>
                  <a:close/>
                  <a:moveTo>
                    <a:pt x="166688" y="196215"/>
                  </a:moveTo>
                  <a:lnTo>
                    <a:pt x="166688" y="0"/>
                  </a:lnTo>
                  <a:lnTo>
                    <a:pt x="226695" y="0"/>
                  </a:lnTo>
                  <a:cubicBezTo>
                    <a:pt x="248603" y="0"/>
                    <a:pt x="265748" y="5715"/>
                    <a:pt x="278130" y="16192"/>
                  </a:cubicBezTo>
                  <a:cubicBezTo>
                    <a:pt x="290513" y="26670"/>
                    <a:pt x="297180" y="40957"/>
                    <a:pt x="297180" y="59055"/>
                  </a:cubicBezTo>
                  <a:cubicBezTo>
                    <a:pt x="297180" y="70485"/>
                    <a:pt x="294323" y="80963"/>
                    <a:pt x="288608" y="89535"/>
                  </a:cubicBezTo>
                  <a:cubicBezTo>
                    <a:pt x="282893" y="98107"/>
                    <a:pt x="275273" y="104775"/>
                    <a:pt x="265748" y="109538"/>
                  </a:cubicBezTo>
                  <a:lnTo>
                    <a:pt x="327660" y="196215"/>
                  </a:lnTo>
                  <a:lnTo>
                    <a:pt x="280035" y="196215"/>
                  </a:lnTo>
                  <a:lnTo>
                    <a:pt x="227648" y="117157"/>
                  </a:lnTo>
                  <a:lnTo>
                    <a:pt x="206692" y="117157"/>
                  </a:lnTo>
                  <a:lnTo>
                    <a:pt x="206692" y="196215"/>
                  </a:lnTo>
                  <a:lnTo>
                    <a:pt x="166688" y="196215"/>
                  </a:lnTo>
                  <a:close/>
                  <a:moveTo>
                    <a:pt x="229553" y="33338"/>
                  </a:moveTo>
                  <a:lnTo>
                    <a:pt x="206692" y="33338"/>
                  </a:lnTo>
                  <a:lnTo>
                    <a:pt x="206692" y="82867"/>
                  </a:lnTo>
                  <a:lnTo>
                    <a:pt x="229553" y="82867"/>
                  </a:lnTo>
                  <a:cubicBezTo>
                    <a:pt x="238125" y="82867"/>
                    <a:pt x="244792" y="80963"/>
                    <a:pt x="249555" y="76200"/>
                  </a:cubicBezTo>
                  <a:cubicBezTo>
                    <a:pt x="254317" y="71438"/>
                    <a:pt x="256223" y="65723"/>
                    <a:pt x="256223" y="58102"/>
                  </a:cubicBezTo>
                  <a:cubicBezTo>
                    <a:pt x="256223" y="50482"/>
                    <a:pt x="254317" y="44767"/>
                    <a:pt x="249555" y="40005"/>
                  </a:cubicBezTo>
                  <a:cubicBezTo>
                    <a:pt x="244792" y="36195"/>
                    <a:pt x="238125" y="33338"/>
                    <a:pt x="229553" y="33338"/>
                  </a:cubicBezTo>
                  <a:close/>
                  <a:moveTo>
                    <a:pt x="352425" y="196215"/>
                  </a:moveTo>
                  <a:lnTo>
                    <a:pt x="352425" y="0"/>
                  </a:lnTo>
                  <a:lnTo>
                    <a:pt x="466725" y="0"/>
                  </a:lnTo>
                  <a:lnTo>
                    <a:pt x="466725" y="34290"/>
                  </a:lnTo>
                  <a:lnTo>
                    <a:pt x="392430" y="34290"/>
                  </a:lnTo>
                  <a:lnTo>
                    <a:pt x="392430" y="80010"/>
                  </a:lnTo>
                  <a:lnTo>
                    <a:pt x="456248" y="80010"/>
                  </a:lnTo>
                  <a:lnTo>
                    <a:pt x="456248" y="114300"/>
                  </a:lnTo>
                  <a:lnTo>
                    <a:pt x="392430" y="114300"/>
                  </a:lnTo>
                  <a:lnTo>
                    <a:pt x="392430" y="163830"/>
                  </a:lnTo>
                  <a:lnTo>
                    <a:pt x="466725" y="163830"/>
                  </a:lnTo>
                  <a:lnTo>
                    <a:pt x="466725" y="198120"/>
                  </a:lnTo>
                  <a:lnTo>
                    <a:pt x="352425" y="198120"/>
                  </a:lnTo>
                  <a:close/>
                  <a:moveTo>
                    <a:pt x="513398" y="196215"/>
                  </a:moveTo>
                  <a:lnTo>
                    <a:pt x="513398" y="0"/>
                  </a:lnTo>
                  <a:lnTo>
                    <a:pt x="563880" y="0"/>
                  </a:lnTo>
                  <a:lnTo>
                    <a:pt x="611505" y="80963"/>
                  </a:lnTo>
                  <a:lnTo>
                    <a:pt x="659130" y="0"/>
                  </a:lnTo>
                  <a:lnTo>
                    <a:pt x="709613" y="0"/>
                  </a:lnTo>
                  <a:lnTo>
                    <a:pt x="709613" y="197167"/>
                  </a:lnTo>
                  <a:lnTo>
                    <a:pt x="669608" y="197167"/>
                  </a:lnTo>
                  <a:lnTo>
                    <a:pt x="669608" y="56198"/>
                  </a:lnTo>
                  <a:lnTo>
                    <a:pt x="624840" y="128588"/>
                  </a:lnTo>
                  <a:lnTo>
                    <a:pt x="596265" y="128588"/>
                  </a:lnTo>
                  <a:lnTo>
                    <a:pt x="552450" y="56198"/>
                  </a:lnTo>
                  <a:lnTo>
                    <a:pt x="552450" y="196215"/>
                  </a:lnTo>
                  <a:lnTo>
                    <a:pt x="513398" y="196215"/>
                  </a:lnTo>
                  <a:close/>
                  <a:moveTo>
                    <a:pt x="763905" y="196215"/>
                  </a:moveTo>
                  <a:lnTo>
                    <a:pt x="763905" y="0"/>
                  </a:lnTo>
                  <a:lnTo>
                    <a:pt x="803910" y="0"/>
                  </a:lnTo>
                  <a:lnTo>
                    <a:pt x="803910" y="197167"/>
                  </a:lnTo>
                  <a:lnTo>
                    <a:pt x="763905" y="197167"/>
                  </a:lnTo>
                  <a:close/>
                  <a:moveTo>
                    <a:pt x="858203" y="196215"/>
                  </a:moveTo>
                  <a:lnTo>
                    <a:pt x="858203" y="0"/>
                  </a:lnTo>
                  <a:lnTo>
                    <a:pt x="972503" y="0"/>
                  </a:lnTo>
                  <a:lnTo>
                    <a:pt x="972503" y="34290"/>
                  </a:lnTo>
                  <a:lnTo>
                    <a:pt x="898208" y="34290"/>
                  </a:lnTo>
                  <a:lnTo>
                    <a:pt x="898208" y="80010"/>
                  </a:lnTo>
                  <a:lnTo>
                    <a:pt x="962025" y="80010"/>
                  </a:lnTo>
                  <a:lnTo>
                    <a:pt x="962025" y="114300"/>
                  </a:lnTo>
                  <a:lnTo>
                    <a:pt x="898208" y="114300"/>
                  </a:lnTo>
                  <a:lnTo>
                    <a:pt x="898208" y="163830"/>
                  </a:lnTo>
                  <a:lnTo>
                    <a:pt x="972503" y="163830"/>
                  </a:lnTo>
                  <a:lnTo>
                    <a:pt x="972503" y="198120"/>
                  </a:lnTo>
                  <a:lnTo>
                    <a:pt x="858203" y="198120"/>
                  </a:lnTo>
                  <a:close/>
                  <a:moveTo>
                    <a:pt x="1019175" y="196215"/>
                  </a:moveTo>
                  <a:lnTo>
                    <a:pt x="1019175" y="0"/>
                  </a:lnTo>
                  <a:lnTo>
                    <a:pt x="1079183" y="0"/>
                  </a:lnTo>
                  <a:cubicBezTo>
                    <a:pt x="1101090" y="0"/>
                    <a:pt x="1118235" y="5715"/>
                    <a:pt x="1130618" y="16192"/>
                  </a:cubicBezTo>
                  <a:cubicBezTo>
                    <a:pt x="1143000" y="26670"/>
                    <a:pt x="1149668" y="40957"/>
                    <a:pt x="1149668" y="59055"/>
                  </a:cubicBezTo>
                  <a:cubicBezTo>
                    <a:pt x="1149668" y="70485"/>
                    <a:pt x="1146810" y="80963"/>
                    <a:pt x="1141095" y="89535"/>
                  </a:cubicBezTo>
                  <a:cubicBezTo>
                    <a:pt x="1135380" y="98107"/>
                    <a:pt x="1127760" y="104775"/>
                    <a:pt x="1118235" y="109538"/>
                  </a:cubicBezTo>
                  <a:lnTo>
                    <a:pt x="1180148" y="196215"/>
                  </a:lnTo>
                  <a:lnTo>
                    <a:pt x="1132523" y="196215"/>
                  </a:lnTo>
                  <a:lnTo>
                    <a:pt x="1080135" y="117157"/>
                  </a:lnTo>
                  <a:lnTo>
                    <a:pt x="1059180" y="117157"/>
                  </a:lnTo>
                  <a:lnTo>
                    <a:pt x="1059180" y="196215"/>
                  </a:lnTo>
                  <a:lnTo>
                    <a:pt x="1019175" y="196215"/>
                  </a:lnTo>
                  <a:close/>
                  <a:moveTo>
                    <a:pt x="1082040" y="33338"/>
                  </a:moveTo>
                  <a:lnTo>
                    <a:pt x="1059180" y="33338"/>
                  </a:lnTo>
                  <a:lnTo>
                    <a:pt x="1059180" y="82867"/>
                  </a:lnTo>
                  <a:lnTo>
                    <a:pt x="1082040" y="82867"/>
                  </a:lnTo>
                  <a:cubicBezTo>
                    <a:pt x="1090613" y="82867"/>
                    <a:pt x="1097280" y="80963"/>
                    <a:pt x="1102043" y="76200"/>
                  </a:cubicBezTo>
                  <a:cubicBezTo>
                    <a:pt x="1106805" y="71438"/>
                    <a:pt x="1108710" y="65723"/>
                    <a:pt x="1108710" y="58102"/>
                  </a:cubicBezTo>
                  <a:cubicBezTo>
                    <a:pt x="1108710" y="50482"/>
                    <a:pt x="1106805" y="44767"/>
                    <a:pt x="1102043" y="40005"/>
                  </a:cubicBezTo>
                  <a:cubicBezTo>
                    <a:pt x="1097280" y="36195"/>
                    <a:pt x="1090613" y="33338"/>
                    <a:pt x="1082040" y="33338"/>
                  </a:cubicBezTo>
                  <a:close/>
                  <a:moveTo>
                    <a:pt x="0" y="493395"/>
                  </a:moveTo>
                  <a:lnTo>
                    <a:pt x="0" y="296228"/>
                  </a:lnTo>
                  <a:lnTo>
                    <a:pt x="50483" y="296228"/>
                  </a:lnTo>
                  <a:lnTo>
                    <a:pt x="98108" y="377190"/>
                  </a:lnTo>
                  <a:lnTo>
                    <a:pt x="145733" y="296228"/>
                  </a:lnTo>
                  <a:lnTo>
                    <a:pt x="196215" y="296228"/>
                  </a:lnTo>
                  <a:lnTo>
                    <a:pt x="196215" y="493395"/>
                  </a:lnTo>
                  <a:lnTo>
                    <a:pt x="156210" y="493395"/>
                  </a:lnTo>
                  <a:lnTo>
                    <a:pt x="156210" y="353378"/>
                  </a:lnTo>
                  <a:lnTo>
                    <a:pt x="112395" y="425767"/>
                  </a:lnTo>
                  <a:lnTo>
                    <a:pt x="84773" y="425767"/>
                  </a:lnTo>
                  <a:lnTo>
                    <a:pt x="40958" y="353378"/>
                  </a:lnTo>
                  <a:lnTo>
                    <a:pt x="40958" y="493395"/>
                  </a:lnTo>
                  <a:lnTo>
                    <a:pt x="0" y="493395"/>
                  </a:lnTo>
                  <a:close/>
                  <a:moveTo>
                    <a:pt x="249555" y="493395"/>
                  </a:moveTo>
                  <a:lnTo>
                    <a:pt x="249555" y="296228"/>
                  </a:lnTo>
                  <a:lnTo>
                    <a:pt x="289560" y="296228"/>
                  </a:lnTo>
                  <a:lnTo>
                    <a:pt x="289560" y="493395"/>
                  </a:lnTo>
                  <a:lnTo>
                    <a:pt x="249555" y="493395"/>
                  </a:lnTo>
                  <a:close/>
                  <a:moveTo>
                    <a:pt x="344805" y="493395"/>
                  </a:moveTo>
                  <a:lnTo>
                    <a:pt x="344805" y="296228"/>
                  </a:lnTo>
                  <a:lnTo>
                    <a:pt x="396240" y="296228"/>
                  </a:lnTo>
                  <a:lnTo>
                    <a:pt x="483870" y="437198"/>
                  </a:lnTo>
                  <a:lnTo>
                    <a:pt x="483870" y="296228"/>
                  </a:lnTo>
                  <a:lnTo>
                    <a:pt x="523875" y="296228"/>
                  </a:lnTo>
                  <a:lnTo>
                    <a:pt x="523875" y="493395"/>
                  </a:lnTo>
                  <a:lnTo>
                    <a:pt x="472440" y="493395"/>
                  </a:lnTo>
                  <a:lnTo>
                    <a:pt x="384810" y="352425"/>
                  </a:lnTo>
                  <a:lnTo>
                    <a:pt x="384810" y="493395"/>
                  </a:lnTo>
                  <a:lnTo>
                    <a:pt x="344805" y="493395"/>
                  </a:lnTo>
                  <a:close/>
                  <a:moveTo>
                    <a:pt x="579120" y="493395"/>
                  </a:moveTo>
                  <a:lnTo>
                    <a:pt x="579120" y="296228"/>
                  </a:lnTo>
                  <a:lnTo>
                    <a:pt x="619125" y="296228"/>
                  </a:lnTo>
                  <a:lnTo>
                    <a:pt x="619125" y="493395"/>
                  </a:lnTo>
                  <a:lnTo>
                    <a:pt x="579120" y="493395"/>
                  </a:lnTo>
                  <a:close/>
                  <a:moveTo>
                    <a:pt x="656273" y="466725"/>
                  </a:moveTo>
                  <a:lnTo>
                    <a:pt x="684848" y="440055"/>
                  </a:lnTo>
                  <a:cubicBezTo>
                    <a:pt x="690563" y="447675"/>
                    <a:pt x="697230" y="453390"/>
                    <a:pt x="704850" y="458153"/>
                  </a:cubicBezTo>
                  <a:cubicBezTo>
                    <a:pt x="712470" y="462915"/>
                    <a:pt x="720090" y="464820"/>
                    <a:pt x="728663" y="464820"/>
                  </a:cubicBezTo>
                  <a:cubicBezTo>
                    <a:pt x="736283" y="464820"/>
                    <a:pt x="742950" y="462915"/>
                    <a:pt x="746760" y="459105"/>
                  </a:cubicBezTo>
                  <a:cubicBezTo>
                    <a:pt x="751523" y="455295"/>
                    <a:pt x="753428" y="449580"/>
                    <a:pt x="753428" y="441960"/>
                  </a:cubicBezTo>
                  <a:cubicBezTo>
                    <a:pt x="753428" y="433388"/>
                    <a:pt x="748665" y="426720"/>
                    <a:pt x="739140" y="421957"/>
                  </a:cubicBezTo>
                  <a:cubicBezTo>
                    <a:pt x="729615" y="417195"/>
                    <a:pt x="719138" y="412432"/>
                    <a:pt x="708660" y="406717"/>
                  </a:cubicBezTo>
                  <a:cubicBezTo>
                    <a:pt x="697230" y="401003"/>
                    <a:pt x="686753" y="394335"/>
                    <a:pt x="678180" y="385763"/>
                  </a:cubicBezTo>
                  <a:cubicBezTo>
                    <a:pt x="669608" y="377190"/>
                    <a:pt x="663893" y="364807"/>
                    <a:pt x="663893" y="348615"/>
                  </a:cubicBezTo>
                  <a:cubicBezTo>
                    <a:pt x="663893" y="340995"/>
                    <a:pt x="665798" y="333375"/>
                    <a:pt x="668655" y="326707"/>
                  </a:cubicBezTo>
                  <a:cubicBezTo>
                    <a:pt x="671513" y="320040"/>
                    <a:pt x="676275" y="313373"/>
                    <a:pt x="681990" y="308610"/>
                  </a:cubicBezTo>
                  <a:cubicBezTo>
                    <a:pt x="687705" y="303848"/>
                    <a:pt x="694373" y="299085"/>
                    <a:pt x="701993" y="296228"/>
                  </a:cubicBezTo>
                  <a:cubicBezTo>
                    <a:pt x="709613" y="293370"/>
                    <a:pt x="718185" y="291465"/>
                    <a:pt x="727710" y="291465"/>
                  </a:cubicBezTo>
                  <a:cubicBezTo>
                    <a:pt x="741998" y="291465"/>
                    <a:pt x="755333" y="294323"/>
                    <a:pt x="766763" y="300990"/>
                  </a:cubicBezTo>
                  <a:cubicBezTo>
                    <a:pt x="778193" y="306705"/>
                    <a:pt x="787718" y="315278"/>
                    <a:pt x="796290" y="324803"/>
                  </a:cubicBezTo>
                  <a:lnTo>
                    <a:pt x="766763" y="350520"/>
                  </a:lnTo>
                  <a:cubicBezTo>
                    <a:pt x="761048" y="342900"/>
                    <a:pt x="754380" y="337185"/>
                    <a:pt x="748665" y="332423"/>
                  </a:cubicBezTo>
                  <a:cubicBezTo>
                    <a:pt x="741998" y="327660"/>
                    <a:pt x="735330" y="325755"/>
                    <a:pt x="727710" y="325755"/>
                  </a:cubicBezTo>
                  <a:cubicBezTo>
                    <a:pt x="721043" y="325755"/>
                    <a:pt x="715328" y="327660"/>
                    <a:pt x="711518" y="331470"/>
                  </a:cubicBezTo>
                  <a:cubicBezTo>
                    <a:pt x="707708" y="335280"/>
                    <a:pt x="705803" y="340042"/>
                    <a:pt x="705803" y="345757"/>
                  </a:cubicBezTo>
                  <a:cubicBezTo>
                    <a:pt x="705803" y="354330"/>
                    <a:pt x="710565" y="360998"/>
                    <a:pt x="720090" y="365760"/>
                  </a:cubicBezTo>
                  <a:cubicBezTo>
                    <a:pt x="729615" y="370523"/>
                    <a:pt x="740093" y="375285"/>
                    <a:pt x="750570" y="381000"/>
                  </a:cubicBezTo>
                  <a:cubicBezTo>
                    <a:pt x="762000" y="386715"/>
                    <a:pt x="772478" y="393382"/>
                    <a:pt x="781050" y="401955"/>
                  </a:cubicBezTo>
                  <a:cubicBezTo>
                    <a:pt x="790575" y="410528"/>
                    <a:pt x="795338" y="422910"/>
                    <a:pt x="795338" y="440055"/>
                  </a:cubicBezTo>
                  <a:cubicBezTo>
                    <a:pt x="795338" y="449580"/>
                    <a:pt x="793433" y="457200"/>
                    <a:pt x="789623" y="464820"/>
                  </a:cubicBezTo>
                  <a:cubicBezTo>
                    <a:pt x="785813" y="472440"/>
                    <a:pt x="781050" y="478155"/>
                    <a:pt x="775335" y="482917"/>
                  </a:cubicBezTo>
                  <a:cubicBezTo>
                    <a:pt x="769620" y="487680"/>
                    <a:pt x="762953" y="491490"/>
                    <a:pt x="754380" y="494348"/>
                  </a:cubicBezTo>
                  <a:cubicBezTo>
                    <a:pt x="746760" y="497205"/>
                    <a:pt x="738188" y="498157"/>
                    <a:pt x="728663" y="498157"/>
                  </a:cubicBezTo>
                  <a:cubicBezTo>
                    <a:pt x="712470" y="498157"/>
                    <a:pt x="698183" y="495300"/>
                    <a:pt x="685800" y="489585"/>
                  </a:cubicBezTo>
                  <a:cubicBezTo>
                    <a:pt x="675323" y="484823"/>
                    <a:pt x="664845" y="476250"/>
                    <a:pt x="656273" y="466725"/>
                  </a:cubicBezTo>
                  <a:close/>
                  <a:moveTo>
                    <a:pt x="814388" y="333375"/>
                  </a:moveTo>
                  <a:lnTo>
                    <a:pt x="814388" y="297180"/>
                  </a:lnTo>
                  <a:lnTo>
                    <a:pt x="975360" y="297180"/>
                  </a:lnTo>
                  <a:lnTo>
                    <a:pt x="975360" y="333375"/>
                  </a:lnTo>
                  <a:lnTo>
                    <a:pt x="914400" y="333375"/>
                  </a:lnTo>
                  <a:lnTo>
                    <a:pt x="914400" y="493395"/>
                  </a:lnTo>
                  <a:lnTo>
                    <a:pt x="874395" y="493395"/>
                  </a:lnTo>
                  <a:lnTo>
                    <a:pt x="874395" y="333375"/>
                  </a:lnTo>
                  <a:lnTo>
                    <a:pt x="814388" y="333375"/>
                  </a:lnTo>
                  <a:close/>
                  <a:moveTo>
                    <a:pt x="1011555" y="493395"/>
                  </a:moveTo>
                  <a:lnTo>
                    <a:pt x="1011555" y="296228"/>
                  </a:lnTo>
                  <a:lnTo>
                    <a:pt x="1071563" y="296228"/>
                  </a:lnTo>
                  <a:cubicBezTo>
                    <a:pt x="1093470" y="296228"/>
                    <a:pt x="1110615" y="301942"/>
                    <a:pt x="1122998" y="312420"/>
                  </a:cubicBezTo>
                  <a:cubicBezTo>
                    <a:pt x="1135380" y="322898"/>
                    <a:pt x="1142048" y="337185"/>
                    <a:pt x="1142048" y="355282"/>
                  </a:cubicBezTo>
                  <a:cubicBezTo>
                    <a:pt x="1142048" y="366713"/>
                    <a:pt x="1139190" y="377190"/>
                    <a:pt x="1133475" y="385763"/>
                  </a:cubicBezTo>
                  <a:cubicBezTo>
                    <a:pt x="1127760" y="394335"/>
                    <a:pt x="1120140" y="401003"/>
                    <a:pt x="1110615" y="405765"/>
                  </a:cubicBezTo>
                  <a:lnTo>
                    <a:pt x="1172528" y="492442"/>
                  </a:lnTo>
                  <a:lnTo>
                    <a:pt x="1124903" y="492442"/>
                  </a:lnTo>
                  <a:lnTo>
                    <a:pt x="1072515" y="413385"/>
                  </a:lnTo>
                  <a:lnTo>
                    <a:pt x="1051560" y="413385"/>
                  </a:lnTo>
                  <a:lnTo>
                    <a:pt x="1051560" y="492442"/>
                  </a:lnTo>
                  <a:lnTo>
                    <a:pt x="1011555" y="492442"/>
                  </a:lnTo>
                  <a:close/>
                  <a:moveTo>
                    <a:pt x="1073468" y="330517"/>
                  </a:moveTo>
                  <a:lnTo>
                    <a:pt x="1050608" y="330517"/>
                  </a:lnTo>
                  <a:lnTo>
                    <a:pt x="1050608" y="380048"/>
                  </a:lnTo>
                  <a:lnTo>
                    <a:pt x="1073468" y="380048"/>
                  </a:lnTo>
                  <a:cubicBezTo>
                    <a:pt x="1082040" y="380048"/>
                    <a:pt x="1088708" y="378142"/>
                    <a:pt x="1093470" y="373380"/>
                  </a:cubicBezTo>
                  <a:cubicBezTo>
                    <a:pt x="1098233" y="368617"/>
                    <a:pt x="1100138" y="362903"/>
                    <a:pt x="1100138" y="355282"/>
                  </a:cubicBezTo>
                  <a:cubicBezTo>
                    <a:pt x="1100138" y="347663"/>
                    <a:pt x="1098233" y="341948"/>
                    <a:pt x="1093470" y="337185"/>
                  </a:cubicBezTo>
                  <a:cubicBezTo>
                    <a:pt x="1088708" y="333375"/>
                    <a:pt x="1082040" y="330517"/>
                    <a:pt x="1073468" y="330517"/>
                  </a:cubicBezTo>
                  <a:close/>
                  <a:moveTo>
                    <a:pt x="1196340" y="493395"/>
                  </a:moveTo>
                  <a:lnTo>
                    <a:pt x="1196340" y="296228"/>
                  </a:lnTo>
                  <a:lnTo>
                    <a:pt x="1310640" y="296228"/>
                  </a:lnTo>
                  <a:lnTo>
                    <a:pt x="1310640" y="330517"/>
                  </a:lnTo>
                  <a:lnTo>
                    <a:pt x="1236345" y="330517"/>
                  </a:lnTo>
                  <a:lnTo>
                    <a:pt x="1236345" y="376238"/>
                  </a:lnTo>
                  <a:lnTo>
                    <a:pt x="1300163" y="376238"/>
                  </a:lnTo>
                  <a:lnTo>
                    <a:pt x="1300163" y="410528"/>
                  </a:lnTo>
                  <a:lnTo>
                    <a:pt x="1236345" y="410528"/>
                  </a:lnTo>
                  <a:lnTo>
                    <a:pt x="1236345" y="460057"/>
                  </a:lnTo>
                  <a:lnTo>
                    <a:pt x="1310640" y="460057"/>
                  </a:lnTo>
                  <a:lnTo>
                    <a:pt x="1310640" y="494348"/>
                  </a:lnTo>
                  <a:lnTo>
                    <a:pt x="1196340" y="49434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grpSp>
          <p:nvGrpSpPr>
            <p:cNvPr id="14" name="Graphique 2">
              <a:extLst>
                <a:ext uri="{FF2B5EF4-FFF2-40B4-BE49-F238E27FC236}">
                  <a16:creationId xmlns:a16="http://schemas.microsoft.com/office/drawing/2014/main" id="{4D4D293E-56FA-4F1F-9288-840887C23D75}"/>
                </a:ext>
              </a:extLst>
            </p:cNvPr>
            <p:cNvGrpSpPr/>
            <p:nvPr/>
          </p:nvGrpSpPr>
          <p:grpSpPr>
            <a:xfrm>
              <a:off x="270509" y="269557"/>
              <a:ext cx="744854" cy="270510"/>
              <a:chOff x="270509" y="269557"/>
              <a:chExt cx="744854" cy="270510"/>
            </a:xfrm>
          </p:grpSpPr>
          <p:sp>
            <p:nvSpPr>
              <p:cNvPr id="15" name="Forme libre : forme 14">
                <a:extLst>
                  <a:ext uri="{FF2B5EF4-FFF2-40B4-BE49-F238E27FC236}">
                    <a16:creationId xmlns:a16="http://schemas.microsoft.com/office/drawing/2014/main" id="{483E0F0C-A8F0-4FF9-9961-5AADCDD869C5}"/>
                  </a:ext>
                </a:extLst>
              </p:cNvPr>
              <p:cNvSpPr/>
              <p:nvPr/>
            </p:nvSpPr>
            <p:spPr>
              <a:xfrm>
                <a:off x="419100" y="270509"/>
                <a:ext cx="359871" cy="268604"/>
              </a:xfrm>
              <a:custGeom>
                <a:avLst/>
                <a:gdLst>
                  <a:gd name="connsiteX0" fmla="*/ 158115 w 359871"/>
                  <a:gd name="connsiteY0" fmla="*/ 237173 h 268604"/>
                  <a:gd name="connsiteX1" fmla="*/ 166688 w 359871"/>
                  <a:gd name="connsiteY1" fmla="*/ 227648 h 268604"/>
                  <a:gd name="connsiteX2" fmla="*/ 166688 w 359871"/>
                  <a:gd name="connsiteY2" fmla="*/ 227648 h 268604"/>
                  <a:gd name="connsiteX3" fmla="*/ 183833 w 359871"/>
                  <a:gd name="connsiteY3" fmla="*/ 210503 h 268604"/>
                  <a:gd name="connsiteX4" fmla="*/ 189548 w 359871"/>
                  <a:gd name="connsiteY4" fmla="*/ 205740 h 268604"/>
                  <a:gd name="connsiteX5" fmla="*/ 190500 w 359871"/>
                  <a:gd name="connsiteY5" fmla="*/ 203835 h 268604"/>
                  <a:gd name="connsiteX6" fmla="*/ 183833 w 359871"/>
                  <a:gd name="connsiteY6" fmla="*/ 207645 h 268604"/>
                  <a:gd name="connsiteX7" fmla="*/ 182880 w 359871"/>
                  <a:gd name="connsiteY7" fmla="*/ 206692 h 268604"/>
                  <a:gd name="connsiteX8" fmla="*/ 188595 w 359871"/>
                  <a:gd name="connsiteY8" fmla="*/ 202883 h 268604"/>
                  <a:gd name="connsiteX9" fmla="*/ 188595 w 359871"/>
                  <a:gd name="connsiteY9" fmla="*/ 202883 h 268604"/>
                  <a:gd name="connsiteX10" fmla="*/ 187643 w 359871"/>
                  <a:gd name="connsiteY10" fmla="*/ 201930 h 268604"/>
                  <a:gd name="connsiteX11" fmla="*/ 171450 w 359871"/>
                  <a:gd name="connsiteY11" fmla="*/ 210503 h 268604"/>
                  <a:gd name="connsiteX12" fmla="*/ 168593 w 359871"/>
                  <a:gd name="connsiteY12" fmla="*/ 209550 h 268604"/>
                  <a:gd name="connsiteX13" fmla="*/ 147638 w 359871"/>
                  <a:gd name="connsiteY13" fmla="*/ 221933 h 268604"/>
                  <a:gd name="connsiteX14" fmla="*/ 147638 w 359871"/>
                  <a:gd name="connsiteY14" fmla="*/ 220980 h 268604"/>
                  <a:gd name="connsiteX15" fmla="*/ 138113 w 359871"/>
                  <a:gd name="connsiteY15" fmla="*/ 224790 h 268604"/>
                  <a:gd name="connsiteX16" fmla="*/ 125730 w 359871"/>
                  <a:gd name="connsiteY16" fmla="*/ 225742 h 268604"/>
                  <a:gd name="connsiteX17" fmla="*/ 107632 w 359871"/>
                  <a:gd name="connsiteY17" fmla="*/ 228600 h 268604"/>
                  <a:gd name="connsiteX18" fmla="*/ 106680 w 359871"/>
                  <a:gd name="connsiteY18" fmla="*/ 228600 h 268604"/>
                  <a:gd name="connsiteX19" fmla="*/ 97155 w 359871"/>
                  <a:gd name="connsiteY19" fmla="*/ 232410 h 268604"/>
                  <a:gd name="connsiteX20" fmla="*/ 97155 w 359871"/>
                  <a:gd name="connsiteY20" fmla="*/ 232410 h 268604"/>
                  <a:gd name="connsiteX21" fmla="*/ 96202 w 359871"/>
                  <a:gd name="connsiteY21" fmla="*/ 233363 h 268604"/>
                  <a:gd name="connsiteX22" fmla="*/ 92393 w 359871"/>
                  <a:gd name="connsiteY22" fmla="*/ 236220 h 268604"/>
                  <a:gd name="connsiteX23" fmla="*/ 83820 w 359871"/>
                  <a:gd name="connsiteY23" fmla="*/ 242888 h 268604"/>
                  <a:gd name="connsiteX24" fmla="*/ 82868 w 359871"/>
                  <a:gd name="connsiteY24" fmla="*/ 242888 h 268604"/>
                  <a:gd name="connsiteX25" fmla="*/ 74295 w 359871"/>
                  <a:gd name="connsiteY25" fmla="*/ 250508 h 268604"/>
                  <a:gd name="connsiteX26" fmla="*/ 72390 w 359871"/>
                  <a:gd name="connsiteY26" fmla="*/ 250508 h 268604"/>
                  <a:gd name="connsiteX27" fmla="*/ 72390 w 359871"/>
                  <a:gd name="connsiteY27" fmla="*/ 250508 h 268604"/>
                  <a:gd name="connsiteX28" fmla="*/ 72390 w 359871"/>
                  <a:gd name="connsiteY28" fmla="*/ 249555 h 268604"/>
                  <a:gd name="connsiteX29" fmla="*/ 73343 w 359871"/>
                  <a:gd name="connsiteY29" fmla="*/ 247650 h 268604"/>
                  <a:gd name="connsiteX30" fmla="*/ 75248 w 359871"/>
                  <a:gd name="connsiteY30" fmla="*/ 245745 h 268604"/>
                  <a:gd name="connsiteX31" fmla="*/ 77152 w 359871"/>
                  <a:gd name="connsiteY31" fmla="*/ 242888 h 268604"/>
                  <a:gd name="connsiteX32" fmla="*/ 77152 w 359871"/>
                  <a:gd name="connsiteY32" fmla="*/ 241935 h 268604"/>
                  <a:gd name="connsiteX33" fmla="*/ 76200 w 359871"/>
                  <a:gd name="connsiteY33" fmla="*/ 241935 h 268604"/>
                  <a:gd name="connsiteX34" fmla="*/ 84773 w 359871"/>
                  <a:gd name="connsiteY34" fmla="*/ 235267 h 268604"/>
                  <a:gd name="connsiteX35" fmla="*/ 84773 w 359871"/>
                  <a:gd name="connsiteY35" fmla="*/ 235267 h 268604"/>
                  <a:gd name="connsiteX36" fmla="*/ 83820 w 359871"/>
                  <a:gd name="connsiteY36" fmla="*/ 234315 h 268604"/>
                  <a:gd name="connsiteX37" fmla="*/ 84773 w 359871"/>
                  <a:gd name="connsiteY37" fmla="*/ 233363 h 268604"/>
                  <a:gd name="connsiteX38" fmla="*/ 84773 w 359871"/>
                  <a:gd name="connsiteY38" fmla="*/ 233363 h 268604"/>
                  <a:gd name="connsiteX39" fmla="*/ 84773 w 359871"/>
                  <a:gd name="connsiteY39" fmla="*/ 233363 h 268604"/>
                  <a:gd name="connsiteX40" fmla="*/ 84773 w 359871"/>
                  <a:gd name="connsiteY40" fmla="*/ 234315 h 268604"/>
                  <a:gd name="connsiteX41" fmla="*/ 80963 w 359871"/>
                  <a:gd name="connsiteY41" fmla="*/ 237173 h 268604"/>
                  <a:gd name="connsiteX42" fmla="*/ 80010 w 359871"/>
                  <a:gd name="connsiteY42" fmla="*/ 237173 h 268604"/>
                  <a:gd name="connsiteX43" fmla="*/ 79057 w 359871"/>
                  <a:gd name="connsiteY43" fmla="*/ 237173 h 268604"/>
                  <a:gd name="connsiteX44" fmla="*/ 79057 w 359871"/>
                  <a:gd name="connsiteY44" fmla="*/ 237173 h 268604"/>
                  <a:gd name="connsiteX45" fmla="*/ 79057 w 359871"/>
                  <a:gd name="connsiteY45" fmla="*/ 237173 h 268604"/>
                  <a:gd name="connsiteX46" fmla="*/ 79057 w 359871"/>
                  <a:gd name="connsiteY46" fmla="*/ 237173 h 268604"/>
                  <a:gd name="connsiteX47" fmla="*/ 79057 w 359871"/>
                  <a:gd name="connsiteY47" fmla="*/ 237173 h 268604"/>
                  <a:gd name="connsiteX48" fmla="*/ 79057 w 359871"/>
                  <a:gd name="connsiteY48" fmla="*/ 237173 h 268604"/>
                  <a:gd name="connsiteX49" fmla="*/ 79057 w 359871"/>
                  <a:gd name="connsiteY49" fmla="*/ 237173 h 268604"/>
                  <a:gd name="connsiteX50" fmla="*/ 79057 w 359871"/>
                  <a:gd name="connsiteY50" fmla="*/ 236220 h 268604"/>
                  <a:gd name="connsiteX51" fmla="*/ 79057 w 359871"/>
                  <a:gd name="connsiteY51" fmla="*/ 236220 h 268604"/>
                  <a:gd name="connsiteX52" fmla="*/ 80010 w 359871"/>
                  <a:gd name="connsiteY52" fmla="*/ 235267 h 268604"/>
                  <a:gd name="connsiteX53" fmla="*/ 80010 w 359871"/>
                  <a:gd name="connsiteY53" fmla="*/ 234315 h 268604"/>
                  <a:gd name="connsiteX54" fmla="*/ 80963 w 359871"/>
                  <a:gd name="connsiteY54" fmla="*/ 233363 h 268604"/>
                  <a:gd name="connsiteX55" fmla="*/ 80963 w 359871"/>
                  <a:gd name="connsiteY55" fmla="*/ 232410 h 268604"/>
                  <a:gd name="connsiteX56" fmla="*/ 84773 w 359871"/>
                  <a:gd name="connsiteY56" fmla="*/ 229553 h 268604"/>
                  <a:gd name="connsiteX57" fmla="*/ 84773 w 359871"/>
                  <a:gd name="connsiteY57" fmla="*/ 229553 h 268604"/>
                  <a:gd name="connsiteX58" fmla="*/ 90488 w 359871"/>
                  <a:gd name="connsiteY58" fmla="*/ 226695 h 268604"/>
                  <a:gd name="connsiteX59" fmla="*/ 91440 w 359871"/>
                  <a:gd name="connsiteY59" fmla="*/ 225742 h 268604"/>
                  <a:gd name="connsiteX60" fmla="*/ 82868 w 359871"/>
                  <a:gd name="connsiteY60" fmla="*/ 229553 h 268604"/>
                  <a:gd name="connsiteX61" fmla="*/ 81915 w 359871"/>
                  <a:gd name="connsiteY61" fmla="*/ 229553 h 268604"/>
                  <a:gd name="connsiteX62" fmla="*/ 80963 w 359871"/>
                  <a:gd name="connsiteY62" fmla="*/ 229553 h 268604"/>
                  <a:gd name="connsiteX63" fmla="*/ 80963 w 359871"/>
                  <a:gd name="connsiteY63" fmla="*/ 229553 h 268604"/>
                  <a:gd name="connsiteX64" fmla="*/ 83820 w 359871"/>
                  <a:gd name="connsiteY64" fmla="*/ 226695 h 268604"/>
                  <a:gd name="connsiteX65" fmla="*/ 84773 w 359871"/>
                  <a:gd name="connsiteY65" fmla="*/ 227648 h 268604"/>
                  <a:gd name="connsiteX66" fmla="*/ 142875 w 359871"/>
                  <a:gd name="connsiteY66" fmla="*/ 211455 h 268604"/>
                  <a:gd name="connsiteX67" fmla="*/ 147638 w 359871"/>
                  <a:gd name="connsiteY67" fmla="*/ 208598 h 268604"/>
                  <a:gd name="connsiteX68" fmla="*/ 155258 w 359871"/>
                  <a:gd name="connsiteY68" fmla="*/ 203835 h 268604"/>
                  <a:gd name="connsiteX69" fmla="*/ 163830 w 359871"/>
                  <a:gd name="connsiteY69" fmla="*/ 192405 h 268604"/>
                  <a:gd name="connsiteX70" fmla="*/ 162877 w 359871"/>
                  <a:gd name="connsiteY70" fmla="*/ 191453 h 268604"/>
                  <a:gd name="connsiteX71" fmla="*/ 140018 w 359871"/>
                  <a:gd name="connsiteY71" fmla="*/ 208598 h 268604"/>
                  <a:gd name="connsiteX72" fmla="*/ 106680 w 359871"/>
                  <a:gd name="connsiteY72" fmla="*/ 214313 h 268604"/>
                  <a:gd name="connsiteX73" fmla="*/ 109538 w 359871"/>
                  <a:gd name="connsiteY73" fmla="*/ 213360 h 268604"/>
                  <a:gd name="connsiteX74" fmla="*/ 111443 w 359871"/>
                  <a:gd name="connsiteY74" fmla="*/ 210503 h 268604"/>
                  <a:gd name="connsiteX75" fmla="*/ 113348 w 359871"/>
                  <a:gd name="connsiteY75" fmla="*/ 210503 h 268604"/>
                  <a:gd name="connsiteX76" fmla="*/ 114300 w 359871"/>
                  <a:gd name="connsiteY76" fmla="*/ 209550 h 268604"/>
                  <a:gd name="connsiteX77" fmla="*/ 116205 w 359871"/>
                  <a:gd name="connsiteY77" fmla="*/ 208598 h 268604"/>
                  <a:gd name="connsiteX78" fmla="*/ 108585 w 359871"/>
                  <a:gd name="connsiteY78" fmla="*/ 208598 h 268604"/>
                  <a:gd name="connsiteX79" fmla="*/ 110490 w 359871"/>
                  <a:gd name="connsiteY79" fmla="*/ 205740 h 268604"/>
                  <a:gd name="connsiteX80" fmla="*/ 112395 w 359871"/>
                  <a:gd name="connsiteY80" fmla="*/ 205740 h 268604"/>
                  <a:gd name="connsiteX81" fmla="*/ 113348 w 359871"/>
                  <a:gd name="connsiteY81" fmla="*/ 203835 h 268604"/>
                  <a:gd name="connsiteX82" fmla="*/ 135255 w 359871"/>
                  <a:gd name="connsiteY82" fmla="*/ 191453 h 268604"/>
                  <a:gd name="connsiteX83" fmla="*/ 131445 w 359871"/>
                  <a:gd name="connsiteY83" fmla="*/ 192405 h 268604"/>
                  <a:gd name="connsiteX84" fmla="*/ 132398 w 359871"/>
                  <a:gd name="connsiteY84" fmla="*/ 190500 h 268604"/>
                  <a:gd name="connsiteX85" fmla="*/ 148590 w 359871"/>
                  <a:gd name="connsiteY85" fmla="*/ 183833 h 268604"/>
                  <a:gd name="connsiteX86" fmla="*/ 142875 w 359871"/>
                  <a:gd name="connsiteY86" fmla="*/ 183833 h 268604"/>
                  <a:gd name="connsiteX87" fmla="*/ 145733 w 359871"/>
                  <a:gd name="connsiteY87" fmla="*/ 181928 h 268604"/>
                  <a:gd name="connsiteX88" fmla="*/ 145733 w 359871"/>
                  <a:gd name="connsiteY88" fmla="*/ 180023 h 268604"/>
                  <a:gd name="connsiteX89" fmla="*/ 146685 w 359871"/>
                  <a:gd name="connsiteY89" fmla="*/ 179070 h 268604"/>
                  <a:gd name="connsiteX90" fmla="*/ 145733 w 359871"/>
                  <a:gd name="connsiteY90" fmla="*/ 178117 h 268604"/>
                  <a:gd name="connsiteX91" fmla="*/ 148590 w 359871"/>
                  <a:gd name="connsiteY91" fmla="*/ 176213 h 268604"/>
                  <a:gd name="connsiteX92" fmla="*/ 146685 w 359871"/>
                  <a:gd name="connsiteY92" fmla="*/ 175260 h 268604"/>
                  <a:gd name="connsiteX93" fmla="*/ 153352 w 359871"/>
                  <a:gd name="connsiteY93" fmla="*/ 172403 h 268604"/>
                  <a:gd name="connsiteX94" fmla="*/ 151448 w 359871"/>
                  <a:gd name="connsiteY94" fmla="*/ 171450 h 268604"/>
                  <a:gd name="connsiteX95" fmla="*/ 152400 w 359871"/>
                  <a:gd name="connsiteY95" fmla="*/ 170498 h 268604"/>
                  <a:gd name="connsiteX96" fmla="*/ 152400 w 359871"/>
                  <a:gd name="connsiteY96" fmla="*/ 170498 h 268604"/>
                  <a:gd name="connsiteX97" fmla="*/ 151448 w 359871"/>
                  <a:gd name="connsiteY97" fmla="*/ 168592 h 268604"/>
                  <a:gd name="connsiteX98" fmla="*/ 156210 w 359871"/>
                  <a:gd name="connsiteY98" fmla="*/ 156210 h 268604"/>
                  <a:gd name="connsiteX99" fmla="*/ 155258 w 359871"/>
                  <a:gd name="connsiteY99" fmla="*/ 155258 h 268604"/>
                  <a:gd name="connsiteX100" fmla="*/ 134302 w 359871"/>
                  <a:gd name="connsiteY100" fmla="*/ 164783 h 268604"/>
                  <a:gd name="connsiteX101" fmla="*/ 131445 w 359871"/>
                  <a:gd name="connsiteY101" fmla="*/ 164783 h 268604"/>
                  <a:gd name="connsiteX102" fmla="*/ 122873 w 359871"/>
                  <a:gd name="connsiteY102" fmla="*/ 163830 h 268604"/>
                  <a:gd name="connsiteX103" fmla="*/ 118110 w 359871"/>
                  <a:gd name="connsiteY103" fmla="*/ 160020 h 268604"/>
                  <a:gd name="connsiteX104" fmla="*/ 105727 w 359871"/>
                  <a:gd name="connsiteY104" fmla="*/ 154305 h 268604"/>
                  <a:gd name="connsiteX105" fmla="*/ 66675 w 359871"/>
                  <a:gd name="connsiteY105" fmla="*/ 148590 h 268604"/>
                  <a:gd name="connsiteX106" fmla="*/ 84773 w 359871"/>
                  <a:gd name="connsiteY106" fmla="*/ 143828 h 268604"/>
                  <a:gd name="connsiteX107" fmla="*/ 110490 w 359871"/>
                  <a:gd name="connsiteY107" fmla="*/ 139065 h 268604"/>
                  <a:gd name="connsiteX108" fmla="*/ 105727 w 359871"/>
                  <a:gd name="connsiteY108" fmla="*/ 139065 h 268604"/>
                  <a:gd name="connsiteX109" fmla="*/ 83820 w 359871"/>
                  <a:gd name="connsiteY109" fmla="*/ 141923 h 268604"/>
                  <a:gd name="connsiteX110" fmla="*/ 68580 w 359871"/>
                  <a:gd name="connsiteY110" fmla="*/ 145733 h 268604"/>
                  <a:gd name="connsiteX111" fmla="*/ 60007 w 359871"/>
                  <a:gd name="connsiteY111" fmla="*/ 149542 h 268604"/>
                  <a:gd name="connsiteX112" fmla="*/ 60007 w 359871"/>
                  <a:gd name="connsiteY112" fmla="*/ 147638 h 268604"/>
                  <a:gd name="connsiteX113" fmla="*/ 79057 w 359871"/>
                  <a:gd name="connsiteY113" fmla="*/ 135255 h 268604"/>
                  <a:gd name="connsiteX114" fmla="*/ 105727 w 359871"/>
                  <a:gd name="connsiteY114" fmla="*/ 136208 h 268604"/>
                  <a:gd name="connsiteX115" fmla="*/ 124777 w 359871"/>
                  <a:gd name="connsiteY115" fmla="*/ 140017 h 268604"/>
                  <a:gd name="connsiteX116" fmla="*/ 129540 w 359871"/>
                  <a:gd name="connsiteY116" fmla="*/ 144780 h 268604"/>
                  <a:gd name="connsiteX117" fmla="*/ 139065 w 359871"/>
                  <a:gd name="connsiteY117" fmla="*/ 146685 h 268604"/>
                  <a:gd name="connsiteX118" fmla="*/ 139065 w 359871"/>
                  <a:gd name="connsiteY118" fmla="*/ 143828 h 268604"/>
                  <a:gd name="connsiteX119" fmla="*/ 145733 w 359871"/>
                  <a:gd name="connsiteY119" fmla="*/ 142875 h 268604"/>
                  <a:gd name="connsiteX120" fmla="*/ 140018 w 359871"/>
                  <a:gd name="connsiteY120" fmla="*/ 132398 h 268604"/>
                  <a:gd name="connsiteX121" fmla="*/ 140970 w 359871"/>
                  <a:gd name="connsiteY121" fmla="*/ 131445 h 268604"/>
                  <a:gd name="connsiteX122" fmla="*/ 153352 w 359871"/>
                  <a:gd name="connsiteY122" fmla="*/ 141923 h 268604"/>
                  <a:gd name="connsiteX123" fmla="*/ 160973 w 359871"/>
                  <a:gd name="connsiteY123" fmla="*/ 140970 h 268604"/>
                  <a:gd name="connsiteX124" fmla="*/ 149543 w 359871"/>
                  <a:gd name="connsiteY124" fmla="*/ 125730 h 268604"/>
                  <a:gd name="connsiteX125" fmla="*/ 149543 w 359871"/>
                  <a:gd name="connsiteY125" fmla="*/ 123825 h 268604"/>
                  <a:gd name="connsiteX126" fmla="*/ 147638 w 359871"/>
                  <a:gd name="connsiteY126" fmla="*/ 122873 h 268604"/>
                  <a:gd name="connsiteX127" fmla="*/ 147638 w 359871"/>
                  <a:gd name="connsiteY127" fmla="*/ 120015 h 268604"/>
                  <a:gd name="connsiteX128" fmla="*/ 144780 w 359871"/>
                  <a:gd name="connsiteY128" fmla="*/ 115253 h 268604"/>
                  <a:gd name="connsiteX129" fmla="*/ 142875 w 359871"/>
                  <a:gd name="connsiteY129" fmla="*/ 105728 h 268604"/>
                  <a:gd name="connsiteX130" fmla="*/ 141923 w 359871"/>
                  <a:gd name="connsiteY130" fmla="*/ 98108 h 268604"/>
                  <a:gd name="connsiteX131" fmla="*/ 137160 w 359871"/>
                  <a:gd name="connsiteY131" fmla="*/ 73342 h 268604"/>
                  <a:gd name="connsiteX132" fmla="*/ 147638 w 359871"/>
                  <a:gd name="connsiteY132" fmla="*/ 47625 h 268604"/>
                  <a:gd name="connsiteX133" fmla="*/ 161925 w 359871"/>
                  <a:gd name="connsiteY133" fmla="*/ 31433 h 268604"/>
                  <a:gd name="connsiteX134" fmla="*/ 171450 w 359871"/>
                  <a:gd name="connsiteY134" fmla="*/ 15240 h 268604"/>
                  <a:gd name="connsiteX135" fmla="*/ 187643 w 359871"/>
                  <a:gd name="connsiteY135" fmla="*/ 4763 h 268604"/>
                  <a:gd name="connsiteX136" fmla="*/ 200977 w 359871"/>
                  <a:gd name="connsiteY136" fmla="*/ 0 h 268604"/>
                  <a:gd name="connsiteX137" fmla="*/ 302895 w 359871"/>
                  <a:gd name="connsiteY137" fmla="*/ 0 h 268604"/>
                  <a:gd name="connsiteX138" fmla="*/ 305753 w 359871"/>
                  <a:gd name="connsiteY138" fmla="*/ 953 h 268604"/>
                  <a:gd name="connsiteX139" fmla="*/ 313373 w 359871"/>
                  <a:gd name="connsiteY139" fmla="*/ 4763 h 268604"/>
                  <a:gd name="connsiteX140" fmla="*/ 322898 w 359871"/>
                  <a:gd name="connsiteY140" fmla="*/ 13335 h 268604"/>
                  <a:gd name="connsiteX141" fmla="*/ 324803 w 359871"/>
                  <a:gd name="connsiteY141" fmla="*/ 20003 h 268604"/>
                  <a:gd name="connsiteX142" fmla="*/ 320992 w 359871"/>
                  <a:gd name="connsiteY142" fmla="*/ 27622 h 268604"/>
                  <a:gd name="connsiteX143" fmla="*/ 310515 w 359871"/>
                  <a:gd name="connsiteY143" fmla="*/ 28575 h 268604"/>
                  <a:gd name="connsiteX144" fmla="*/ 304800 w 359871"/>
                  <a:gd name="connsiteY144" fmla="*/ 27622 h 268604"/>
                  <a:gd name="connsiteX145" fmla="*/ 324803 w 359871"/>
                  <a:gd name="connsiteY145" fmla="*/ 40958 h 268604"/>
                  <a:gd name="connsiteX146" fmla="*/ 329565 w 359871"/>
                  <a:gd name="connsiteY146" fmla="*/ 42863 h 268604"/>
                  <a:gd name="connsiteX147" fmla="*/ 330517 w 359871"/>
                  <a:gd name="connsiteY147" fmla="*/ 44767 h 268604"/>
                  <a:gd name="connsiteX148" fmla="*/ 328613 w 359871"/>
                  <a:gd name="connsiteY148" fmla="*/ 47625 h 268604"/>
                  <a:gd name="connsiteX149" fmla="*/ 330517 w 359871"/>
                  <a:gd name="connsiteY149" fmla="*/ 47625 h 268604"/>
                  <a:gd name="connsiteX150" fmla="*/ 336233 w 359871"/>
                  <a:gd name="connsiteY150" fmla="*/ 42863 h 268604"/>
                  <a:gd name="connsiteX151" fmla="*/ 338138 w 359871"/>
                  <a:gd name="connsiteY151" fmla="*/ 50483 h 268604"/>
                  <a:gd name="connsiteX152" fmla="*/ 332423 w 359871"/>
                  <a:gd name="connsiteY152" fmla="*/ 55245 h 268604"/>
                  <a:gd name="connsiteX153" fmla="*/ 332423 w 359871"/>
                  <a:gd name="connsiteY153" fmla="*/ 59055 h 268604"/>
                  <a:gd name="connsiteX154" fmla="*/ 335280 w 359871"/>
                  <a:gd name="connsiteY154" fmla="*/ 64770 h 268604"/>
                  <a:gd name="connsiteX155" fmla="*/ 339090 w 359871"/>
                  <a:gd name="connsiteY155" fmla="*/ 76200 h 268604"/>
                  <a:gd name="connsiteX156" fmla="*/ 342900 w 359871"/>
                  <a:gd name="connsiteY156" fmla="*/ 99060 h 268604"/>
                  <a:gd name="connsiteX157" fmla="*/ 341948 w 359871"/>
                  <a:gd name="connsiteY157" fmla="*/ 110490 h 268604"/>
                  <a:gd name="connsiteX158" fmla="*/ 347663 w 359871"/>
                  <a:gd name="connsiteY158" fmla="*/ 120967 h 268604"/>
                  <a:gd name="connsiteX159" fmla="*/ 353378 w 359871"/>
                  <a:gd name="connsiteY159" fmla="*/ 129540 h 268604"/>
                  <a:gd name="connsiteX160" fmla="*/ 359092 w 359871"/>
                  <a:gd name="connsiteY160" fmla="*/ 145733 h 268604"/>
                  <a:gd name="connsiteX161" fmla="*/ 348615 w 359871"/>
                  <a:gd name="connsiteY161" fmla="*/ 150495 h 268604"/>
                  <a:gd name="connsiteX162" fmla="*/ 349567 w 359871"/>
                  <a:gd name="connsiteY162" fmla="*/ 160020 h 268604"/>
                  <a:gd name="connsiteX163" fmla="*/ 342900 w 359871"/>
                  <a:gd name="connsiteY163" fmla="*/ 169545 h 268604"/>
                  <a:gd name="connsiteX164" fmla="*/ 346710 w 359871"/>
                  <a:gd name="connsiteY164" fmla="*/ 171450 h 268604"/>
                  <a:gd name="connsiteX165" fmla="*/ 348615 w 359871"/>
                  <a:gd name="connsiteY165" fmla="*/ 178117 h 268604"/>
                  <a:gd name="connsiteX166" fmla="*/ 343853 w 359871"/>
                  <a:gd name="connsiteY166" fmla="*/ 187642 h 268604"/>
                  <a:gd name="connsiteX167" fmla="*/ 342900 w 359871"/>
                  <a:gd name="connsiteY167" fmla="*/ 199073 h 268604"/>
                  <a:gd name="connsiteX168" fmla="*/ 333375 w 359871"/>
                  <a:gd name="connsiteY168" fmla="*/ 206692 h 268604"/>
                  <a:gd name="connsiteX169" fmla="*/ 323850 w 359871"/>
                  <a:gd name="connsiteY169" fmla="*/ 207645 h 268604"/>
                  <a:gd name="connsiteX170" fmla="*/ 318135 w 359871"/>
                  <a:gd name="connsiteY170" fmla="*/ 205740 h 268604"/>
                  <a:gd name="connsiteX171" fmla="*/ 292417 w 359871"/>
                  <a:gd name="connsiteY171" fmla="*/ 201930 h 268604"/>
                  <a:gd name="connsiteX172" fmla="*/ 285750 w 359871"/>
                  <a:gd name="connsiteY172" fmla="*/ 203835 h 268604"/>
                  <a:gd name="connsiteX173" fmla="*/ 280035 w 359871"/>
                  <a:gd name="connsiteY173" fmla="*/ 209550 h 268604"/>
                  <a:gd name="connsiteX174" fmla="*/ 280035 w 359871"/>
                  <a:gd name="connsiteY174" fmla="*/ 209550 h 268604"/>
                  <a:gd name="connsiteX175" fmla="*/ 279083 w 359871"/>
                  <a:gd name="connsiteY175" fmla="*/ 210503 h 268604"/>
                  <a:gd name="connsiteX176" fmla="*/ 278130 w 359871"/>
                  <a:gd name="connsiteY176" fmla="*/ 211455 h 268604"/>
                  <a:gd name="connsiteX177" fmla="*/ 278130 w 359871"/>
                  <a:gd name="connsiteY177" fmla="*/ 212408 h 268604"/>
                  <a:gd name="connsiteX178" fmla="*/ 274320 w 359871"/>
                  <a:gd name="connsiteY178" fmla="*/ 218123 h 268604"/>
                  <a:gd name="connsiteX179" fmla="*/ 274320 w 359871"/>
                  <a:gd name="connsiteY179" fmla="*/ 218123 h 268604"/>
                  <a:gd name="connsiteX180" fmla="*/ 274320 w 359871"/>
                  <a:gd name="connsiteY180" fmla="*/ 219075 h 268604"/>
                  <a:gd name="connsiteX181" fmla="*/ 270510 w 359871"/>
                  <a:gd name="connsiteY181" fmla="*/ 228600 h 268604"/>
                  <a:gd name="connsiteX182" fmla="*/ 271463 w 359871"/>
                  <a:gd name="connsiteY182" fmla="*/ 252413 h 268604"/>
                  <a:gd name="connsiteX183" fmla="*/ 299085 w 359871"/>
                  <a:gd name="connsiteY183" fmla="*/ 262890 h 268604"/>
                  <a:gd name="connsiteX184" fmla="*/ 311467 w 359871"/>
                  <a:gd name="connsiteY184" fmla="*/ 268605 h 268604"/>
                  <a:gd name="connsiteX185" fmla="*/ 101918 w 359871"/>
                  <a:gd name="connsiteY185" fmla="*/ 268605 h 268604"/>
                  <a:gd name="connsiteX186" fmla="*/ 135255 w 359871"/>
                  <a:gd name="connsiteY186" fmla="*/ 251460 h 268604"/>
                  <a:gd name="connsiteX187" fmla="*/ 158115 w 359871"/>
                  <a:gd name="connsiteY187" fmla="*/ 237173 h 268604"/>
                  <a:gd name="connsiteX188" fmla="*/ 79057 w 359871"/>
                  <a:gd name="connsiteY188" fmla="*/ 200978 h 268604"/>
                  <a:gd name="connsiteX189" fmla="*/ 76200 w 359871"/>
                  <a:gd name="connsiteY189" fmla="*/ 200025 h 268604"/>
                  <a:gd name="connsiteX190" fmla="*/ 81915 w 359871"/>
                  <a:gd name="connsiteY190" fmla="*/ 196215 h 268604"/>
                  <a:gd name="connsiteX191" fmla="*/ 85725 w 359871"/>
                  <a:gd name="connsiteY191" fmla="*/ 195263 h 268604"/>
                  <a:gd name="connsiteX192" fmla="*/ 89535 w 359871"/>
                  <a:gd name="connsiteY192" fmla="*/ 197167 h 268604"/>
                  <a:gd name="connsiteX193" fmla="*/ 79057 w 359871"/>
                  <a:gd name="connsiteY193" fmla="*/ 200978 h 268604"/>
                  <a:gd name="connsiteX194" fmla="*/ 952 w 359871"/>
                  <a:gd name="connsiteY194" fmla="*/ 189548 h 268604"/>
                  <a:gd name="connsiteX195" fmla="*/ 0 w 359871"/>
                  <a:gd name="connsiteY195" fmla="*/ 188595 h 268604"/>
                  <a:gd name="connsiteX196" fmla="*/ 16193 w 359871"/>
                  <a:gd name="connsiteY196" fmla="*/ 162878 h 268604"/>
                  <a:gd name="connsiteX197" fmla="*/ 33338 w 359871"/>
                  <a:gd name="connsiteY197" fmla="*/ 148590 h 268604"/>
                  <a:gd name="connsiteX198" fmla="*/ 61913 w 359871"/>
                  <a:gd name="connsiteY198" fmla="*/ 125730 h 268604"/>
                  <a:gd name="connsiteX199" fmla="*/ 75248 w 359871"/>
                  <a:gd name="connsiteY199" fmla="*/ 126683 h 268604"/>
                  <a:gd name="connsiteX200" fmla="*/ 69532 w 359871"/>
                  <a:gd name="connsiteY200" fmla="*/ 129540 h 268604"/>
                  <a:gd name="connsiteX201" fmla="*/ 67627 w 359871"/>
                  <a:gd name="connsiteY201" fmla="*/ 128588 h 268604"/>
                  <a:gd name="connsiteX202" fmla="*/ 68580 w 359871"/>
                  <a:gd name="connsiteY202" fmla="*/ 126683 h 268604"/>
                  <a:gd name="connsiteX203" fmla="*/ 52388 w 359871"/>
                  <a:gd name="connsiteY203" fmla="*/ 141923 h 268604"/>
                  <a:gd name="connsiteX204" fmla="*/ 40957 w 359871"/>
                  <a:gd name="connsiteY204" fmla="*/ 155258 h 268604"/>
                  <a:gd name="connsiteX205" fmla="*/ 40005 w 359871"/>
                  <a:gd name="connsiteY205" fmla="*/ 154305 h 268604"/>
                  <a:gd name="connsiteX206" fmla="*/ 952 w 359871"/>
                  <a:gd name="connsiteY206" fmla="*/ 189548 h 268604"/>
                  <a:gd name="connsiteX207" fmla="*/ 43815 w 359871"/>
                  <a:gd name="connsiteY207" fmla="*/ 156210 h 268604"/>
                  <a:gd name="connsiteX208" fmla="*/ 41910 w 359871"/>
                  <a:gd name="connsiteY208" fmla="*/ 158115 h 268604"/>
                  <a:gd name="connsiteX209" fmla="*/ 40005 w 359871"/>
                  <a:gd name="connsiteY209" fmla="*/ 160020 h 268604"/>
                  <a:gd name="connsiteX210" fmla="*/ 39052 w 359871"/>
                  <a:gd name="connsiteY210" fmla="*/ 159067 h 268604"/>
                  <a:gd name="connsiteX211" fmla="*/ 42863 w 359871"/>
                  <a:gd name="connsiteY211" fmla="*/ 154305 h 268604"/>
                  <a:gd name="connsiteX212" fmla="*/ 43815 w 359871"/>
                  <a:gd name="connsiteY212" fmla="*/ 156210 h 268604"/>
                  <a:gd name="connsiteX213" fmla="*/ 67627 w 359871"/>
                  <a:gd name="connsiteY213" fmla="*/ 232410 h 268604"/>
                  <a:gd name="connsiteX214" fmla="*/ 66675 w 359871"/>
                  <a:gd name="connsiteY214" fmla="*/ 234315 h 268604"/>
                  <a:gd name="connsiteX215" fmla="*/ 67627 w 359871"/>
                  <a:gd name="connsiteY215" fmla="*/ 235267 h 268604"/>
                  <a:gd name="connsiteX216" fmla="*/ 63818 w 359871"/>
                  <a:gd name="connsiteY216" fmla="*/ 238125 h 268604"/>
                  <a:gd name="connsiteX217" fmla="*/ 62865 w 359871"/>
                  <a:gd name="connsiteY217" fmla="*/ 238125 h 268604"/>
                  <a:gd name="connsiteX218" fmla="*/ 60960 w 359871"/>
                  <a:gd name="connsiteY218" fmla="*/ 240030 h 268604"/>
                  <a:gd name="connsiteX219" fmla="*/ 58102 w 359871"/>
                  <a:gd name="connsiteY219" fmla="*/ 239078 h 268604"/>
                  <a:gd name="connsiteX220" fmla="*/ 61913 w 359871"/>
                  <a:gd name="connsiteY220" fmla="*/ 235267 h 268604"/>
                  <a:gd name="connsiteX221" fmla="*/ 63818 w 359871"/>
                  <a:gd name="connsiteY221" fmla="*/ 233363 h 268604"/>
                  <a:gd name="connsiteX222" fmla="*/ 64770 w 359871"/>
                  <a:gd name="connsiteY222" fmla="*/ 232410 h 268604"/>
                  <a:gd name="connsiteX223" fmla="*/ 67627 w 359871"/>
                  <a:gd name="connsiteY223" fmla="*/ 232410 h 268604"/>
                  <a:gd name="connsiteX224" fmla="*/ 58102 w 359871"/>
                  <a:gd name="connsiteY224" fmla="*/ 228600 h 268604"/>
                  <a:gd name="connsiteX225" fmla="*/ 58102 w 359871"/>
                  <a:gd name="connsiteY225" fmla="*/ 228600 h 268604"/>
                  <a:gd name="connsiteX226" fmla="*/ 52388 w 359871"/>
                  <a:gd name="connsiteY226" fmla="*/ 232410 h 268604"/>
                  <a:gd name="connsiteX227" fmla="*/ 45720 w 359871"/>
                  <a:gd name="connsiteY227" fmla="*/ 235267 h 268604"/>
                  <a:gd name="connsiteX228" fmla="*/ 45720 w 359871"/>
                  <a:gd name="connsiteY228" fmla="*/ 235267 h 268604"/>
                  <a:gd name="connsiteX229" fmla="*/ 44768 w 359871"/>
                  <a:gd name="connsiteY229" fmla="*/ 235267 h 268604"/>
                  <a:gd name="connsiteX230" fmla="*/ 40005 w 359871"/>
                  <a:gd name="connsiteY230" fmla="*/ 239078 h 268604"/>
                  <a:gd name="connsiteX231" fmla="*/ 39052 w 359871"/>
                  <a:gd name="connsiteY231" fmla="*/ 240030 h 268604"/>
                  <a:gd name="connsiteX232" fmla="*/ 39052 w 359871"/>
                  <a:gd name="connsiteY232" fmla="*/ 240030 h 268604"/>
                  <a:gd name="connsiteX233" fmla="*/ 39052 w 359871"/>
                  <a:gd name="connsiteY233" fmla="*/ 240030 h 268604"/>
                  <a:gd name="connsiteX234" fmla="*/ 38100 w 359871"/>
                  <a:gd name="connsiteY234" fmla="*/ 240983 h 268604"/>
                  <a:gd name="connsiteX235" fmla="*/ 38100 w 359871"/>
                  <a:gd name="connsiteY235" fmla="*/ 240983 h 268604"/>
                  <a:gd name="connsiteX236" fmla="*/ 38100 w 359871"/>
                  <a:gd name="connsiteY236" fmla="*/ 240983 h 268604"/>
                  <a:gd name="connsiteX237" fmla="*/ 37148 w 359871"/>
                  <a:gd name="connsiteY237" fmla="*/ 241935 h 268604"/>
                  <a:gd name="connsiteX238" fmla="*/ 36195 w 359871"/>
                  <a:gd name="connsiteY238" fmla="*/ 242888 h 268604"/>
                  <a:gd name="connsiteX239" fmla="*/ 35243 w 359871"/>
                  <a:gd name="connsiteY239" fmla="*/ 242888 h 268604"/>
                  <a:gd name="connsiteX240" fmla="*/ 35243 w 359871"/>
                  <a:gd name="connsiteY240" fmla="*/ 242888 h 268604"/>
                  <a:gd name="connsiteX241" fmla="*/ 34290 w 359871"/>
                  <a:gd name="connsiteY241" fmla="*/ 242888 h 268604"/>
                  <a:gd name="connsiteX242" fmla="*/ 33338 w 359871"/>
                  <a:gd name="connsiteY242" fmla="*/ 242888 h 268604"/>
                  <a:gd name="connsiteX243" fmla="*/ 33338 w 359871"/>
                  <a:gd name="connsiteY243" fmla="*/ 242888 h 268604"/>
                  <a:gd name="connsiteX244" fmla="*/ 33338 w 359871"/>
                  <a:gd name="connsiteY244" fmla="*/ 242888 h 268604"/>
                  <a:gd name="connsiteX245" fmla="*/ 31432 w 359871"/>
                  <a:gd name="connsiteY245" fmla="*/ 244792 h 268604"/>
                  <a:gd name="connsiteX246" fmla="*/ 28575 w 359871"/>
                  <a:gd name="connsiteY246" fmla="*/ 247650 h 268604"/>
                  <a:gd name="connsiteX247" fmla="*/ 28575 w 359871"/>
                  <a:gd name="connsiteY247" fmla="*/ 247650 h 268604"/>
                  <a:gd name="connsiteX248" fmla="*/ 28575 w 359871"/>
                  <a:gd name="connsiteY248" fmla="*/ 247650 h 268604"/>
                  <a:gd name="connsiteX249" fmla="*/ 28575 w 359871"/>
                  <a:gd name="connsiteY249" fmla="*/ 247650 h 268604"/>
                  <a:gd name="connsiteX250" fmla="*/ 28575 w 359871"/>
                  <a:gd name="connsiteY250" fmla="*/ 247650 h 268604"/>
                  <a:gd name="connsiteX251" fmla="*/ 28575 w 359871"/>
                  <a:gd name="connsiteY251" fmla="*/ 247650 h 268604"/>
                  <a:gd name="connsiteX252" fmla="*/ 28575 w 359871"/>
                  <a:gd name="connsiteY252" fmla="*/ 248603 h 268604"/>
                  <a:gd name="connsiteX253" fmla="*/ 28575 w 359871"/>
                  <a:gd name="connsiteY253" fmla="*/ 248603 h 268604"/>
                  <a:gd name="connsiteX254" fmla="*/ 28575 w 359871"/>
                  <a:gd name="connsiteY254" fmla="*/ 248603 h 268604"/>
                  <a:gd name="connsiteX255" fmla="*/ 28575 w 359871"/>
                  <a:gd name="connsiteY255" fmla="*/ 248603 h 268604"/>
                  <a:gd name="connsiteX256" fmla="*/ 28575 w 359871"/>
                  <a:gd name="connsiteY256" fmla="*/ 248603 h 268604"/>
                  <a:gd name="connsiteX257" fmla="*/ 28575 w 359871"/>
                  <a:gd name="connsiteY257" fmla="*/ 247650 h 268604"/>
                  <a:gd name="connsiteX258" fmla="*/ 28575 w 359871"/>
                  <a:gd name="connsiteY258" fmla="*/ 247650 h 268604"/>
                  <a:gd name="connsiteX259" fmla="*/ 28575 w 359871"/>
                  <a:gd name="connsiteY259" fmla="*/ 247650 h 268604"/>
                  <a:gd name="connsiteX260" fmla="*/ 30480 w 359871"/>
                  <a:gd name="connsiteY260" fmla="*/ 245745 h 268604"/>
                  <a:gd name="connsiteX261" fmla="*/ 30480 w 359871"/>
                  <a:gd name="connsiteY261" fmla="*/ 245745 h 268604"/>
                  <a:gd name="connsiteX262" fmla="*/ 31432 w 359871"/>
                  <a:gd name="connsiteY262" fmla="*/ 244792 h 268604"/>
                  <a:gd name="connsiteX263" fmla="*/ 32385 w 359871"/>
                  <a:gd name="connsiteY263" fmla="*/ 243840 h 268604"/>
                  <a:gd name="connsiteX264" fmla="*/ 32385 w 359871"/>
                  <a:gd name="connsiteY264" fmla="*/ 243840 h 268604"/>
                  <a:gd name="connsiteX265" fmla="*/ 34290 w 359871"/>
                  <a:gd name="connsiteY265" fmla="*/ 241935 h 268604"/>
                  <a:gd name="connsiteX266" fmla="*/ 34290 w 359871"/>
                  <a:gd name="connsiteY266" fmla="*/ 241935 h 268604"/>
                  <a:gd name="connsiteX267" fmla="*/ 34290 w 359871"/>
                  <a:gd name="connsiteY267" fmla="*/ 241935 h 268604"/>
                  <a:gd name="connsiteX268" fmla="*/ 35243 w 359871"/>
                  <a:gd name="connsiteY268" fmla="*/ 240983 h 268604"/>
                  <a:gd name="connsiteX269" fmla="*/ 36195 w 359871"/>
                  <a:gd name="connsiteY269" fmla="*/ 240030 h 268604"/>
                  <a:gd name="connsiteX270" fmla="*/ 36195 w 359871"/>
                  <a:gd name="connsiteY270" fmla="*/ 240030 h 268604"/>
                  <a:gd name="connsiteX271" fmla="*/ 36195 w 359871"/>
                  <a:gd name="connsiteY271" fmla="*/ 240030 h 268604"/>
                  <a:gd name="connsiteX272" fmla="*/ 36195 w 359871"/>
                  <a:gd name="connsiteY272" fmla="*/ 240030 h 268604"/>
                  <a:gd name="connsiteX273" fmla="*/ 37148 w 359871"/>
                  <a:gd name="connsiteY273" fmla="*/ 239078 h 268604"/>
                  <a:gd name="connsiteX274" fmla="*/ 37148 w 359871"/>
                  <a:gd name="connsiteY274" fmla="*/ 239078 h 268604"/>
                  <a:gd name="connsiteX275" fmla="*/ 37148 w 359871"/>
                  <a:gd name="connsiteY275" fmla="*/ 239078 h 268604"/>
                  <a:gd name="connsiteX276" fmla="*/ 37148 w 359871"/>
                  <a:gd name="connsiteY276" fmla="*/ 238125 h 268604"/>
                  <a:gd name="connsiteX277" fmla="*/ 37148 w 359871"/>
                  <a:gd name="connsiteY277" fmla="*/ 238125 h 268604"/>
                  <a:gd name="connsiteX278" fmla="*/ 37148 w 359871"/>
                  <a:gd name="connsiteY278" fmla="*/ 237173 h 268604"/>
                  <a:gd name="connsiteX279" fmla="*/ 37148 w 359871"/>
                  <a:gd name="connsiteY279" fmla="*/ 237173 h 268604"/>
                  <a:gd name="connsiteX280" fmla="*/ 39052 w 359871"/>
                  <a:gd name="connsiteY280" fmla="*/ 234315 h 268604"/>
                  <a:gd name="connsiteX281" fmla="*/ 39052 w 359871"/>
                  <a:gd name="connsiteY281" fmla="*/ 234315 h 268604"/>
                  <a:gd name="connsiteX282" fmla="*/ 37148 w 359871"/>
                  <a:gd name="connsiteY282" fmla="*/ 236220 h 268604"/>
                  <a:gd name="connsiteX283" fmla="*/ 36195 w 359871"/>
                  <a:gd name="connsiteY283" fmla="*/ 235267 h 268604"/>
                  <a:gd name="connsiteX284" fmla="*/ 37148 w 359871"/>
                  <a:gd name="connsiteY284" fmla="*/ 234315 h 268604"/>
                  <a:gd name="connsiteX285" fmla="*/ 37148 w 359871"/>
                  <a:gd name="connsiteY285" fmla="*/ 234315 h 268604"/>
                  <a:gd name="connsiteX286" fmla="*/ 40005 w 359871"/>
                  <a:gd name="connsiteY286" fmla="*/ 231458 h 268604"/>
                  <a:gd name="connsiteX287" fmla="*/ 41910 w 359871"/>
                  <a:gd name="connsiteY287" fmla="*/ 230505 h 268604"/>
                  <a:gd name="connsiteX288" fmla="*/ 41910 w 359871"/>
                  <a:gd name="connsiteY288" fmla="*/ 230505 h 268604"/>
                  <a:gd name="connsiteX289" fmla="*/ 42863 w 359871"/>
                  <a:gd name="connsiteY289" fmla="*/ 229553 h 268604"/>
                  <a:gd name="connsiteX290" fmla="*/ 42863 w 359871"/>
                  <a:gd name="connsiteY290" fmla="*/ 229553 h 268604"/>
                  <a:gd name="connsiteX291" fmla="*/ 62865 w 359871"/>
                  <a:gd name="connsiteY291" fmla="*/ 221933 h 268604"/>
                  <a:gd name="connsiteX292" fmla="*/ 71438 w 359871"/>
                  <a:gd name="connsiteY292" fmla="*/ 221933 h 268604"/>
                  <a:gd name="connsiteX293" fmla="*/ 76200 w 359871"/>
                  <a:gd name="connsiteY293" fmla="*/ 222885 h 268604"/>
                  <a:gd name="connsiteX294" fmla="*/ 58102 w 359871"/>
                  <a:gd name="connsiteY294" fmla="*/ 228600 h 268604"/>
                  <a:gd name="connsiteX295" fmla="*/ 68580 w 359871"/>
                  <a:gd name="connsiteY295" fmla="*/ 193358 h 268604"/>
                  <a:gd name="connsiteX296" fmla="*/ 70485 w 359871"/>
                  <a:gd name="connsiteY296" fmla="*/ 192405 h 268604"/>
                  <a:gd name="connsiteX297" fmla="*/ 66675 w 359871"/>
                  <a:gd name="connsiteY297" fmla="*/ 192405 h 268604"/>
                  <a:gd name="connsiteX298" fmla="*/ 65723 w 359871"/>
                  <a:gd name="connsiteY298" fmla="*/ 191453 h 268604"/>
                  <a:gd name="connsiteX299" fmla="*/ 57150 w 359871"/>
                  <a:gd name="connsiteY299" fmla="*/ 193358 h 268604"/>
                  <a:gd name="connsiteX300" fmla="*/ 46673 w 359871"/>
                  <a:gd name="connsiteY300" fmla="*/ 198120 h 268604"/>
                  <a:gd name="connsiteX301" fmla="*/ 30480 w 359871"/>
                  <a:gd name="connsiteY301" fmla="*/ 206692 h 268604"/>
                  <a:gd name="connsiteX302" fmla="*/ 29527 w 359871"/>
                  <a:gd name="connsiteY302" fmla="*/ 205740 h 268604"/>
                  <a:gd name="connsiteX303" fmla="*/ 33338 w 359871"/>
                  <a:gd name="connsiteY303" fmla="*/ 201930 h 268604"/>
                  <a:gd name="connsiteX304" fmla="*/ 32385 w 359871"/>
                  <a:gd name="connsiteY304" fmla="*/ 200978 h 268604"/>
                  <a:gd name="connsiteX305" fmla="*/ 47625 w 359871"/>
                  <a:gd name="connsiteY305" fmla="*/ 187642 h 268604"/>
                  <a:gd name="connsiteX306" fmla="*/ 47625 w 359871"/>
                  <a:gd name="connsiteY306" fmla="*/ 185738 h 268604"/>
                  <a:gd name="connsiteX307" fmla="*/ 52388 w 359871"/>
                  <a:gd name="connsiteY307" fmla="*/ 180023 h 268604"/>
                  <a:gd name="connsiteX308" fmla="*/ 57150 w 359871"/>
                  <a:gd name="connsiteY308" fmla="*/ 175260 h 268604"/>
                  <a:gd name="connsiteX309" fmla="*/ 55245 w 359871"/>
                  <a:gd name="connsiteY309" fmla="*/ 173355 h 268604"/>
                  <a:gd name="connsiteX310" fmla="*/ 49530 w 359871"/>
                  <a:gd name="connsiteY310" fmla="*/ 172403 h 268604"/>
                  <a:gd name="connsiteX311" fmla="*/ 52388 w 359871"/>
                  <a:gd name="connsiteY311" fmla="*/ 170498 h 268604"/>
                  <a:gd name="connsiteX312" fmla="*/ 51435 w 359871"/>
                  <a:gd name="connsiteY312" fmla="*/ 169545 h 268604"/>
                  <a:gd name="connsiteX313" fmla="*/ 54293 w 359871"/>
                  <a:gd name="connsiteY313" fmla="*/ 166688 h 268604"/>
                  <a:gd name="connsiteX314" fmla="*/ 60007 w 359871"/>
                  <a:gd name="connsiteY314" fmla="*/ 164783 h 268604"/>
                  <a:gd name="connsiteX315" fmla="*/ 48577 w 359871"/>
                  <a:gd name="connsiteY315" fmla="*/ 163830 h 268604"/>
                  <a:gd name="connsiteX316" fmla="*/ 60960 w 359871"/>
                  <a:gd name="connsiteY316" fmla="*/ 148590 h 268604"/>
                  <a:gd name="connsiteX317" fmla="*/ 62865 w 359871"/>
                  <a:gd name="connsiteY317" fmla="*/ 149542 h 268604"/>
                  <a:gd name="connsiteX318" fmla="*/ 59055 w 359871"/>
                  <a:gd name="connsiteY318" fmla="*/ 154305 h 268604"/>
                  <a:gd name="connsiteX319" fmla="*/ 71438 w 359871"/>
                  <a:gd name="connsiteY319" fmla="*/ 157163 h 268604"/>
                  <a:gd name="connsiteX320" fmla="*/ 69532 w 359871"/>
                  <a:gd name="connsiteY320" fmla="*/ 158115 h 268604"/>
                  <a:gd name="connsiteX321" fmla="*/ 78105 w 359871"/>
                  <a:gd name="connsiteY321" fmla="*/ 160973 h 268604"/>
                  <a:gd name="connsiteX322" fmla="*/ 73343 w 359871"/>
                  <a:gd name="connsiteY322" fmla="*/ 160973 h 268604"/>
                  <a:gd name="connsiteX323" fmla="*/ 119063 w 359871"/>
                  <a:gd name="connsiteY323" fmla="*/ 179070 h 268604"/>
                  <a:gd name="connsiteX324" fmla="*/ 83820 w 359871"/>
                  <a:gd name="connsiteY324" fmla="*/ 189548 h 268604"/>
                  <a:gd name="connsiteX325" fmla="*/ 80010 w 359871"/>
                  <a:gd name="connsiteY325" fmla="*/ 188595 h 268604"/>
                  <a:gd name="connsiteX326" fmla="*/ 79057 w 359871"/>
                  <a:gd name="connsiteY326" fmla="*/ 190500 h 268604"/>
                  <a:gd name="connsiteX327" fmla="*/ 74295 w 359871"/>
                  <a:gd name="connsiteY327" fmla="*/ 191453 h 268604"/>
                  <a:gd name="connsiteX328" fmla="*/ 68580 w 359871"/>
                  <a:gd name="connsiteY328" fmla="*/ 193358 h 26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359871" h="268604">
                    <a:moveTo>
                      <a:pt x="158115" y="237173"/>
                    </a:moveTo>
                    <a:cubicBezTo>
                      <a:pt x="160973" y="234315"/>
                      <a:pt x="163830" y="231458"/>
                      <a:pt x="166688" y="227648"/>
                    </a:cubicBezTo>
                    <a:lnTo>
                      <a:pt x="166688" y="227648"/>
                    </a:lnTo>
                    <a:cubicBezTo>
                      <a:pt x="172402" y="221933"/>
                      <a:pt x="177165" y="215265"/>
                      <a:pt x="183833" y="210503"/>
                    </a:cubicBezTo>
                    <a:cubicBezTo>
                      <a:pt x="185738" y="208598"/>
                      <a:pt x="187643" y="207645"/>
                      <a:pt x="189548" y="205740"/>
                    </a:cubicBezTo>
                    <a:cubicBezTo>
                      <a:pt x="190500" y="204788"/>
                      <a:pt x="190500" y="203835"/>
                      <a:pt x="190500" y="203835"/>
                    </a:cubicBezTo>
                    <a:cubicBezTo>
                      <a:pt x="187643" y="204788"/>
                      <a:pt x="186690" y="206692"/>
                      <a:pt x="183833" y="207645"/>
                    </a:cubicBezTo>
                    <a:cubicBezTo>
                      <a:pt x="182880" y="207645"/>
                      <a:pt x="182880" y="206692"/>
                      <a:pt x="182880" y="206692"/>
                    </a:cubicBezTo>
                    <a:cubicBezTo>
                      <a:pt x="184785" y="205740"/>
                      <a:pt x="186690" y="203835"/>
                      <a:pt x="188595" y="202883"/>
                    </a:cubicBezTo>
                    <a:cubicBezTo>
                      <a:pt x="188595" y="202883"/>
                      <a:pt x="188595" y="202883"/>
                      <a:pt x="188595" y="202883"/>
                    </a:cubicBezTo>
                    <a:cubicBezTo>
                      <a:pt x="187643" y="202883"/>
                      <a:pt x="187643" y="201930"/>
                      <a:pt x="187643" y="201930"/>
                    </a:cubicBezTo>
                    <a:cubicBezTo>
                      <a:pt x="180975" y="201930"/>
                      <a:pt x="176213" y="205740"/>
                      <a:pt x="171450" y="210503"/>
                    </a:cubicBezTo>
                    <a:cubicBezTo>
                      <a:pt x="170498" y="211455"/>
                      <a:pt x="169545" y="209550"/>
                      <a:pt x="168593" y="209550"/>
                    </a:cubicBezTo>
                    <a:cubicBezTo>
                      <a:pt x="160973" y="212408"/>
                      <a:pt x="155258" y="219075"/>
                      <a:pt x="147638" y="221933"/>
                    </a:cubicBezTo>
                    <a:lnTo>
                      <a:pt x="147638" y="220980"/>
                    </a:lnTo>
                    <a:cubicBezTo>
                      <a:pt x="144780" y="221933"/>
                      <a:pt x="141923" y="223838"/>
                      <a:pt x="138113" y="224790"/>
                    </a:cubicBezTo>
                    <a:cubicBezTo>
                      <a:pt x="133350" y="225742"/>
                      <a:pt x="129540" y="225742"/>
                      <a:pt x="125730" y="225742"/>
                    </a:cubicBezTo>
                    <a:cubicBezTo>
                      <a:pt x="120015" y="226695"/>
                      <a:pt x="113348" y="227648"/>
                      <a:pt x="107632" y="228600"/>
                    </a:cubicBezTo>
                    <a:cubicBezTo>
                      <a:pt x="107632" y="228600"/>
                      <a:pt x="107632" y="228600"/>
                      <a:pt x="106680" y="228600"/>
                    </a:cubicBezTo>
                    <a:cubicBezTo>
                      <a:pt x="103823" y="229553"/>
                      <a:pt x="100013" y="230505"/>
                      <a:pt x="97155" y="232410"/>
                    </a:cubicBezTo>
                    <a:cubicBezTo>
                      <a:pt x="97155" y="232410"/>
                      <a:pt x="97155" y="232410"/>
                      <a:pt x="97155" y="232410"/>
                    </a:cubicBezTo>
                    <a:cubicBezTo>
                      <a:pt x="97155" y="232410"/>
                      <a:pt x="96202" y="233363"/>
                      <a:pt x="96202" y="233363"/>
                    </a:cubicBezTo>
                    <a:cubicBezTo>
                      <a:pt x="95250" y="234315"/>
                      <a:pt x="94298" y="235267"/>
                      <a:pt x="92393" y="236220"/>
                    </a:cubicBezTo>
                    <a:cubicBezTo>
                      <a:pt x="89535" y="238125"/>
                      <a:pt x="86677" y="240983"/>
                      <a:pt x="83820" y="242888"/>
                    </a:cubicBezTo>
                    <a:cubicBezTo>
                      <a:pt x="83820" y="242888"/>
                      <a:pt x="82868" y="242888"/>
                      <a:pt x="82868" y="242888"/>
                    </a:cubicBezTo>
                    <a:cubicBezTo>
                      <a:pt x="80010" y="245745"/>
                      <a:pt x="77152" y="248603"/>
                      <a:pt x="74295" y="250508"/>
                    </a:cubicBezTo>
                    <a:cubicBezTo>
                      <a:pt x="74295" y="250508"/>
                      <a:pt x="73343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49555"/>
                    </a:cubicBezTo>
                    <a:cubicBezTo>
                      <a:pt x="72390" y="248603"/>
                      <a:pt x="73343" y="247650"/>
                      <a:pt x="73343" y="247650"/>
                    </a:cubicBezTo>
                    <a:cubicBezTo>
                      <a:pt x="74295" y="246698"/>
                      <a:pt x="74295" y="245745"/>
                      <a:pt x="75248" y="245745"/>
                    </a:cubicBezTo>
                    <a:cubicBezTo>
                      <a:pt x="76200" y="244792"/>
                      <a:pt x="76200" y="243840"/>
                      <a:pt x="77152" y="242888"/>
                    </a:cubicBezTo>
                    <a:cubicBezTo>
                      <a:pt x="77152" y="242888"/>
                      <a:pt x="77152" y="241935"/>
                      <a:pt x="77152" y="241935"/>
                    </a:cubicBezTo>
                    <a:cubicBezTo>
                      <a:pt x="77152" y="241935"/>
                      <a:pt x="77152" y="241935"/>
                      <a:pt x="76200" y="241935"/>
                    </a:cubicBezTo>
                    <a:cubicBezTo>
                      <a:pt x="79057" y="239078"/>
                      <a:pt x="81915" y="237173"/>
                      <a:pt x="84773" y="235267"/>
                    </a:cubicBezTo>
                    <a:lnTo>
                      <a:pt x="84773" y="235267"/>
                    </a:lnTo>
                    <a:cubicBezTo>
                      <a:pt x="84773" y="235267"/>
                      <a:pt x="83820" y="235267"/>
                      <a:pt x="83820" y="234315"/>
                    </a:cubicBezTo>
                    <a:cubicBezTo>
                      <a:pt x="83820" y="234315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5725" y="233363"/>
                      <a:pt x="84773" y="234315"/>
                      <a:pt x="84773" y="234315"/>
                    </a:cubicBezTo>
                    <a:cubicBezTo>
                      <a:pt x="83820" y="235267"/>
                      <a:pt x="82868" y="238125"/>
                      <a:pt x="80963" y="237173"/>
                    </a:cubicBezTo>
                    <a:cubicBezTo>
                      <a:pt x="80963" y="237173"/>
                      <a:pt x="80010" y="237173"/>
                      <a:pt x="80010" y="237173"/>
                    </a:cubicBezTo>
                    <a:cubicBezTo>
                      <a:pt x="80010" y="237173"/>
                      <a:pt x="80010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6220"/>
                    </a:cubicBezTo>
                    <a:cubicBezTo>
                      <a:pt x="79057" y="236220"/>
                      <a:pt x="79057" y="236220"/>
                      <a:pt x="79057" y="236220"/>
                    </a:cubicBezTo>
                    <a:cubicBezTo>
                      <a:pt x="79057" y="236220"/>
                      <a:pt x="79057" y="235267"/>
                      <a:pt x="80010" y="235267"/>
                    </a:cubicBezTo>
                    <a:cubicBezTo>
                      <a:pt x="80010" y="235267"/>
                      <a:pt x="80010" y="235267"/>
                      <a:pt x="80010" y="234315"/>
                    </a:cubicBezTo>
                    <a:cubicBezTo>
                      <a:pt x="80010" y="234315"/>
                      <a:pt x="80010" y="233363"/>
                      <a:pt x="80963" y="233363"/>
                    </a:cubicBezTo>
                    <a:cubicBezTo>
                      <a:pt x="80963" y="233363"/>
                      <a:pt x="80963" y="232410"/>
                      <a:pt x="80963" y="232410"/>
                    </a:cubicBezTo>
                    <a:cubicBezTo>
                      <a:pt x="81915" y="231458"/>
                      <a:pt x="82868" y="230505"/>
                      <a:pt x="84773" y="229553"/>
                    </a:cubicBezTo>
                    <a:lnTo>
                      <a:pt x="84773" y="229553"/>
                    </a:lnTo>
                    <a:cubicBezTo>
                      <a:pt x="86677" y="228600"/>
                      <a:pt x="88582" y="227648"/>
                      <a:pt x="90488" y="226695"/>
                    </a:cubicBezTo>
                    <a:cubicBezTo>
                      <a:pt x="90488" y="226695"/>
                      <a:pt x="91440" y="225742"/>
                      <a:pt x="91440" y="225742"/>
                    </a:cubicBezTo>
                    <a:cubicBezTo>
                      <a:pt x="88582" y="226695"/>
                      <a:pt x="85725" y="227648"/>
                      <a:pt x="82868" y="229553"/>
                    </a:cubicBezTo>
                    <a:cubicBezTo>
                      <a:pt x="82868" y="229553"/>
                      <a:pt x="81915" y="229553"/>
                      <a:pt x="81915" y="229553"/>
                    </a:cubicBezTo>
                    <a:cubicBezTo>
                      <a:pt x="81915" y="229553"/>
                      <a:pt x="80963" y="229553"/>
                      <a:pt x="80963" y="229553"/>
                    </a:cubicBezTo>
                    <a:cubicBezTo>
                      <a:pt x="80963" y="229553"/>
                      <a:pt x="80963" y="229553"/>
                      <a:pt x="80963" y="229553"/>
                    </a:cubicBezTo>
                    <a:cubicBezTo>
                      <a:pt x="81915" y="228600"/>
                      <a:pt x="82868" y="227648"/>
                      <a:pt x="83820" y="226695"/>
                    </a:cubicBezTo>
                    <a:cubicBezTo>
                      <a:pt x="84773" y="226695"/>
                      <a:pt x="84773" y="226695"/>
                      <a:pt x="84773" y="227648"/>
                    </a:cubicBezTo>
                    <a:cubicBezTo>
                      <a:pt x="100965" y="215265"/>
                      <a:pt x="123825" y="218123"/>
                      <a:pt x="142875" y="211455"/>
                    </a:cubicBezTo>
                    <a:cubicBezTo>
                      <a:pt x="144780" y="210503"/>
                      <a:pt x="145733" y="209550"/>
                      <a:pt x="147638" y="208598"/>
                    </a:cubicBezTo>
                    <a:cubicBezTo>
                      <a:pt x="150495" y="207645"/>
                      <a:pt x="152400" y="204788"/>
                      <a:pt x="155258" y="203835"/>
                    </a:cubicBezTo>
                    <a:cubicBezTo>
                      <a:pt x="159068" y="200978"/>
                      <a:pt x="161925" y="197167"/>
                      <a:pt x="163830" y="192405"/>
                    </a:cubicBezTo>
                    <a:cubicBezTo>
                      <a:pt x="163830" y="191453"/>
                      <a:pt x="162877" y="191453"/>
                      <a:pt x="162877" y="191453"/>
                    </a:cubicBezTo>
                    <a:cubicBezTo>
                      <a:pt x="156210" y="199073"/>
                      <a:pt x="148590" y="203835"/>
                      <a:pt x="140018" y="208598"/>
                    </a:cubicBezTo>
                    <a:cubicBezTo>
                      <a:pt x="129540" y="214313"/>
                      <a:pt x="117157" y="213360"/>
                      <a:pt x="106680" y="214313"/>
                    </a:cubicBezTo>
                    <a:cubicBezTo>
                      <a:pt x="107632" y="213360"/>
                      <a:pt x="108585" y="213360"/>
                      <a:pt x="109538" y="213360"/>
                    </a:cubicBezTo>
                    <a:cubicBezTo>
                      <a:pt x="109538" y="211455"/>
                      <a:pt x="110490" y="211455"/>
                      <a:pt x="111443" y="210503"/>
                    </a:cubicBezTo>
                    <a:lnTo>
                      <a:pt x="113348" y="210503"/>
                    </a:lnTo>
                    <a:cubicBezTo>
                      <a:pt x="114300" y="210503"/>
                      <a:pt x="114300" y="209550"/>
                      <a:pt x="114300" y="209550"/>
                    </a:cubicBezTo>
                    <a:cubicBezTo>
                      <a:pt x="115252" y="209550"/>
                      <a:pt x="117157" y="208598"/>
                      <a:pt x="116205" y="208598"/>
                    </a:cubicBezTo>
                    <a:cubicBezTo>
                      <a:pt x="114300" y="206692"/>
                      <a:pt x="111443" y="210503"/>
                      <a:pt x="108585" y="208598"/>
                    </a:cubicBezTo>
                    <a:cubicBezTo>
                      <a:pt x="109538" y="207645"/>
                      <a:pt x="109538" y="205740"/>
                      <a:pt x="110490" y="205740"/>
                    </a:cubicBezTo>
                    <a:lnTo>
                      <a:pt x="112395" y="205740"/>
                    </a:lnTo>
                    <a:cubicBezTo>
                      <a:pt x="112395" y="204788"/>
                      <a:pt x="113348" y="203835"/>
                      <a:pt x="113348" y="203835"/>
                    </a:cubicBezTo>
                    <a:cubicBezTo>
                      <a:pt x="120968" y="199073"/>
                      <a:pt x="128588" y="195263"/>
                      <a:pt x="135255" y="191453"/>
                    </a:cubicBezTo>
                    <a:cubicBezTo>
                      <a:pt x="133350" y="191453"/>
                      <a:pt x="132398" y="193358"/>
                      <a:pt x="131445" y="192405"/>
                    </a:cubicBezTo>
                    <a:cubicBezTo>
                      <a:pt x="132398" y="192405"/>
                      <a:pt x="131445" y="190500"/>
                      <a:pt x="132398" y="190500"/>
                    </a:cubicBezTo>
                    <a:cubicBezTo>
                      <a:pt x="138113" y="188595"/>
                      <a:pt x="142875" y="185738"/>
                      <a:pt x="148590" y="183833"/>
                    </a:cubicBezTo>
                    <a:cubicBezTo>
                      <a:pt x="146685" y="183833"/>
                      <a:pt x="144780" y="185738"/>
                      <a:pt x="142875" y="183833"/>
                    </a:cubicBezTo>
                    <a:cubicBezTo>
                      <a:pt x="143827" y="182880"/>
                      <a:pt x="144780" y="181928"/>
                      <a:pt x="145733" y="181928"/>
                    </a:cubicBezTo>
                    <a:lnTo>
                      <a:pt x="145733" y="180023"/>
                    </a:lnTo>
                    <a:cubicBezTo>
                      <a:pt x="145733" y="179070"/>
                      <a:pt x="146685" y="179070"/>
                      <a:pt x="146685" y="179070"/>
                    </a:cubicBezTo>
                    <a:cubicBezTo>
                      <a:pt x="145733" y="179070"/>
                      <a:pt x="145733" y="178117"/>
                      <a:pt x="145733" y="178117"/>
                    </a:cubicBezTo>
                    <a:cubicBezTo>
                      <a:pt x="146685" y="177165"/>
                      <a:pt x="147638" y="177165"/>
                      <a:pt x="148590" y="176213"/>
                    </a:cubicBezTo>
                    <a:cubicBezTo>
                      <a:pt x="147638" y="176213"/>
                      <a:pt x="146685" y="176213"/>
                      <a:pt x="146685" y="175260"/>
                    </a:cubicBezTo>
                    <a:cubicBezTo>
                      <a:pt x="148590" y="173355"/>
                      <a:pt x="150495" y="172403"/>
                      <a:pt x="153352" y="172403"/>
                    </a:cubicBezTo>
                    <a:cubicBezTo>
                      <a:pt x="152400" y="171450"/>
                      <a:pt x="151448" y="172403"/>
                      <a:pt x="151448" y="171450"/>
                    </a:cubicBezTo>
                    <a:cubicBezTo>
                      <a:pt x="151448" y="170498"/>
                      <a:pt x="152400" y="170498"/>
                      <a:pt x="152400" y="170498"/>
                    </a:cubicBezTo>
                    <a:lnTo>
                      <a:pt x="152400" y="170498"/>
                    </a:lnTo>
                    <a:cubicBezTo>
                      <a:pt x="151448" y="169545"/>
                      <a:pt x="151448" y="168592"/>
                      <a:pt x="151448" y="168592"/>
                    </a:cubicBezTo>
                    <a:cubicBezTo>
                      <a:pt x="154305" y="164783"/>
                      <a:pt x="154305" y="160020"/>
                      <a:pt x="156210" y="156210"/>
                    </a:cubicBezTo>
                    <a:cubicBezTo>
                      <a:pt x="155258" y="156210"/>
                      <a:pt x="155258" y="156210"/>
                      <a:pt x="155258" y="155258"/>
                    </a:cubicBezTo>
                    <a:cubicBezTo>
                      <a:pt x="150495" y="160973"/>
                      <a:pt x="141923" y="162878"/>
                      <a:pt x="134302" y="164783"/>
                    </a:cubicBezTo>
                    <a:lnTo>
                      <a:pt x="131445" y="164783"/>
                    </a:lnTo>
                    <a:cubicBezTo>
                      <a:pt x="128588" y="165735"/>
                      <a:pt x="125730" y="165735"/>
                      <a:pt x="122873" y="163830"/>
                    </a:cubicBezTo>
                    <a:cubicBezTo>
                      <a:pt x="120968" y="162878"/>
                      <a:pt x="120015" y="160973"/>
                      <a:pt x="118110" y="160020"/>
                    </a:cubicBezTo>
                    <a:cubicBezTo>
                      <a:pt x="114300" y="157163"/>
                      <a:pt x="109538" y="155258"/>
                      <a:pt x="105727" y="154305"/>
                    </a:cubicBezTo>
                    <a:cubicBezTo>
                      <a:pt x="93345" y="150495"/>
                      <a:pt x="80010" y="148590"/>
                      <a:pt x="66675" y="148590"/>
                    </a:cubicBezTo>
                    <a:cubicBezTo>
                      <a:pt x="72390" y="145733"/>
                      <a:pt x="78105" y="145733"/>
                      <a:pt x="84773" y="143828"/>
                    </a:cubicBezTo>
                    <a:cubicBezTo>
                      <a:pt x="93345" y="140970"/>
                      <a:pt x="101918" y="138113"/>
                      <a:pt x="110490" y="139065"/>
                    </a:cubicBezTo>
                    <a:cubicBezTo>
                      <a:pt x="108585" y="138113"/>
                      <a:pt x="106680" y="139065"/>
                      <a:pt x="105727" y="139065"/>
                    </a:cubicBezTo>
                    <a:cubicBezTo>
                      <a:pt x="98107" y="138113"/>
                      <a:pt x="91440" y="140970"/>
                      <a:pt x="83820" y="141923"/>
                    </a:cubicBezTo>
                    <a:cubicBezTo>
                      <a:pt x="79057" y="142875"/>
                      <a:pt x="74295" y="144780"/>
                      <a:pt x="68580" y="145733"/>
                    </a:cubicBezTo>
                    <a:cubicBezTo>
                      <a:pt x="65723" y="146685"/>
                      <a:pt x="63818" y="149542"/>
                      <a:pt x="60007" y="149542"/>
                    </a:cubicBezTo>
                    <a:lnTo>
                      <a:pt x="60007" y="147638"/>
                    </a:lnTo>
                    <a:cubicBezTo>
                      <a:pt x="64770" y="141923"/>
                      <a:pt x="71438" y="135255"/>
                      <a:pt x="79057" y="135255"/>
                    </a:cubicBezTo>
                    <a:cubicBezTo>
                      <a:pt x="88582" y="133350"/>
                      <a:pt x="97155" y="135255"/>
                      <a:pt x="105727" y="136208"/>
                    </a:cubicBezTo>
                    <a:cubicBezTo>
                      <a:pt x="112395" y="137160"/>
                      <a:pt x="118110" y="138113"/>
                      <a:pt x="124777" y="140017"/>
                    </a:cubicBezTo>
                    <a:cubicBezTo>
                      <a:pt x="127635" y="140017"/>
                      <a:pt x="127635" y="143828"/>
                      <a:pt x="129540" y="144780"/>
                    </a:cubicBezTo>
                    <a:cubicBezTo>
                      <a:pt x="132398" y="145733"/>
                      <a:pt x="135255" y="144780"/>
                      <a:pt x="139065" y="146685"/>
                    </a:cubicBezTo>
                    <a:cubicBezTo>
                      <a:pt x="139065" y="145733"/>
                      <a:pt x="138113" y="144780"/>
                      <a:pt x="139065" y="143828"/>
                    </a:cubicBezTo>
                    <a:cubicBezTo>
                      <a:pt x="140970" y="141923"/>
                      <a:pt x="143827" y="144780"/>
                      <a:pt x="145733" y="142875"/>
                    </a:cubicBezTo>
                    <a:cubicBezTo>
                      <a:pt x="149543" y="140017"/>
                      <a:pt x="141923" y="136208"/>
                      <a:pt x="140018" y="132398"/>
                    </a:cubicBezTo>
                    <a:cubicBezTo>
                      <a:pt x="140018" y="131445"/>
                      <a:pt x="140970" y="131445"/>
                      <a:pt x="140970" y="131445"/>
                    </a:cubicBezTo>
                    <a:cubicBezTo>
                      <a:pt x="144780" y="135255"/>
                      <a:pt x="147638" y="139065"/>
                      <a:pt x="153352" y="141923"/>
                    </a:cubicBezTo>
                    <a:cubicBezTo>
                      <a:pt x="156210" y="142875"/>
                      <a:pt x="161925" y="144780"/>
                      <a:pt x="160973" y="140970"/>
                    </a:cubicBezTo>
                    <a:cubicBezTo>
                      <a:pt x="158115" y="135255"/>
                      <a:pt x="153352" y="130492"/>
                      <a:pt x="149543" y="125730"/>
                    </a:cubicBezTo>
                    <a:lnTo>
                      <a:pt x="149543" y="123825"/>
                    </a:lnTo>
                    <a:cubicBezTo>
                      <a:pt x="148590" y="123825"/>
                      <a:pt x="148590" y="122873"/>
                      <a:pt x="147638" y="122873"/>
                    </a:cubicBezTo>
                    <a:lnTo>
                      <a:pt x="147638" y="120015"/>
                    </a:lnTo>
                    <a:cubicBezTo>
                      <a:pt x="145733" y="119063"/>
                      <a:pt x="145733" y="117158"/>
                      <a:pt x="144780" y="115253"/>
                    </a:cubicBezTo>
                    <a:cubicBezTo>
                      <a:pt x="142875" y="112395"/>
                      <a:pt x="143827" y="109538"/>
                      <a:pt x="142875" y="105728"/>
                    </a:cubicBezTo>
                    <a:cubicBezTo>
                      <a:pt x="142875" y="103823"/>
                      <a:pt x="142875" y="100965"/>
                      <a:pt x="141923" y="98108"/>
                    </a:cubicBezTo>
                    <a:cubicBezTo>
                      <a:pt x="140018" y="89535"/>
                      <a:pt x="138113" y="81915"/>
                      <a:pt x="137160" y="73342"/>
                    </a:cubicBezTo>
                    <a:cubicBezTo>
                      <a:pt x="136208" y="63817"/>
                      <a:pt x="142875" y="56197"/>
                      <a:pt x="147638" y="47625"/>
                    </a:cubicBezTo>
                    <a:cubicBezTo>
                      <a:pt x="151448" y="41910"/>
                      <a:pt x="155258" y="35242"/>
                      <a:pt x="161925" y="31433"/>
                    </a:cubicBezTo>
                    <a:cubicBezTo>
                      <a:pt x="163830" y="25718"/>
                      <a:pt x="167640" y="20003"/>
                      <a:pt x="171450" y="15240"/>
                    </a:cubicBezTo>
                    <a:cubicBezTo>
                      <a:pt x="175260" y="10478"/>
                      <a:pt x="181927" y="7620"/>
                      <a:pt x="187643" y="4763"/>
                    </a:cubicBezTo>
                    <a:cubicBezTo>
                      <a:pt x="194310" y="1905"/>
                      <a:pt x="200977" y="0"/>
                      <a:pt x="200977" y="0"/>
                    </a:cubicBezTo>
                    <a:lnTo>
                      <a:pt x="302895" y="0"/>
                    </a:lnTo>
                    <a:cubicBezTo>
                      <a:pt x="302895" y="0"/>
                      <a:pt x="303848" y="0"/>
                      <a:pt x="305753" y="953"/>
                    </a:cubicBezTo>
                    <a:cubicBezTo>
                      <a:pt x="307658" y="1905"/>
                      <a:pt x="311467" y="3810"/>
                      <a:pt x="313373" y="4763"/>
                    </a:cubicBezTo>
                    <a:cubicBezTo>
                      <a:pt x="317183" y="6668"/>
                      <a:pt x="320992" y="9525"/>
                      <a:pt x="322898" y="13335"/>
                    </a:cubicBezTo>
                    <a:cubicBezTo>
                      <a:pt x="323850" y="15240"/>
                      <a:pt x="325755" y="18097"/>
                      <a:pt x="324803" y="20003"/>
                    </a:cubicBezTo>
                    <a:cubicBezTo>
                      <a:pt x="323850" y="22860"/>
                      <a:pt x="322898" y="26670"/>
                      <a:pt x="320992" y="27622"/>
                    </a:cubicBezTo>
                    <a:cubicBezTo>
                      <a:pt x="318135" y="29528"/>
                      <a:pt x="314325" y="29528"/>
                      <a:pt x="310515" y="28575"/>
                    </a:cubicBezTo>
                    <a:cubicBezTo>
                      <a:pt x="308610" y="28575"/>
                      <a:pt x="306705" y="27622"/>
                      <a:pt x="304800" y="27622"/>
                    </a:cubicBezTo>
                    <a:cubicBezTo>
                      <a:pt x="312420" y="30480"/>
                      <a:pt x="320040" y="34290"/>
                      <a:pt x="324803" y="40958"/>
                    </a:cubicBezTo>
                    <a:cubicBezTo>
                      <a:pt x="325755" y="41910"/>
                      <a:pt x="327660" y="42863"/>
                      <a:pt x="329565" y="42863"/>
                    </a:cubicBezTo>
                    <a:cubicBezTo>
                      <a:pt x="330517" y="42863"/>
                      <a:pt x="330517" y="43815"/>
                      <a:pt x="330517" y="44767"/>
                    </a:cubicBezTo>
                    <a:cubicBezTo>
                      <a:pt x="329565" y="45720"/>
                      <a:pt x="328613" y="46672"/>
                      <a:pt x="328613" y="47625"/>
                    </a:cubicBezTo>
                    <a:lnTo>
                      <a:pt x="330517" y="47625"/>
                    </a:lnTo>
                    <a:cubicBezTo>
                      <a:pt x="333375" y="46672"/>
                      <a:pt x="332423" y="41910"/>
                      <a:pt x="336233" y="42863"/>
                    </a:cubicBezTo>
                    <a:cubicBezTo>
                      <a:pt x="339090" y="44767"/>
                      <a:pt x="340042" y="47625"/>
                      <a:pt x="338138" y="50483"/>
                    </a:cubicBezTo>
                    <a:cubicBezTo>
                      <a:pt x="336233" y="52388"/>
                      <a:pt x="334328" y="54292"/>
                      <a:pt x="332423" y="55245"/>
                    </a:cubicBezTo>
                    <a:cubicBezTo>
                      <a:pt x="331470" y="56197"/>
                      <a:pt x="331470" y="58103"/>
                      <a:pt x="332423" y="59055"/>
                    </a:cubicBezTo>
                    <a:cubicBezTo>
                      <a:pt x="334328" y="60960"/>
                      <a:pt x="334328" y="62865"/>
                      <a:pt x="335280" y="64770"/>
                    </a:cubicBezTo>
                    <a:cubicBezTo>
                      <a:pt x="337185" y="68580"/>
                      <a:pt x="337185" y="72390"/>
                      <a:pt x="339090" y="76200"/>
                    </a:cubicBezTo>
                    <a:cubicBezTo>
                      <a:pt x="340995" y="83820"/>
                      <a:pt x="342900" y="91440"/>
                      <a:pt x="342900" y="99060"/>
                    </a:cubicBezTo>
                    <a:cubicBezTo>
                      <a:pt x="342900" y="102870"/>
                      <a:pt x="340995" y="106680"/>
                      <a:pt x="341948" y="110490"/>
                    </a:cubicBezTo>
                    <a:cubicBezTo>
                      <a:pt x="342900" y="114300"/>
                      <a:pt x="345758" y="118110"/>
                      <a:pt x="347663" y="120967"/>
                    </a:cubicBezTo>
                    <a:cubicBezTo>
                      <a:pt x="349567" y="123825"/>
                      <a:pt x="351473" y="125730"/>
                      <a:pt x="353378" y="129540"/>
                    </a:cubicBezTo>
                    <a:cubicBezTo>
                      <a:pt x="356235" y="134303"/>
                      <a:pt x="361950" y="140017"/>
                      <a:pt x="359092" y="145733"/>
                    </a:cubicBezTo>
                    <a:cubicBezTo>
                      <a:pt x="357188" y="149542"/>
                      <a:pt x="351473" y="148590"/>
                      <a:pt x="348615" y="150495"/>
                    </a:cubicBezTo>
                    <a:cubicBezTo>
                      <a:pt x="345758" y="153353"/>
                      <a:pt x="347663" y="157163"/>
                      <a:pt x="349567" y="160020"/>
                    </a:cubicBezTo>
                    <a:cubicBezTo>
                      <a:pt x="352425" y="164783"/>
                      <a:pt x="346710" y="167640"/>
                      <a:pt x="342900" y="169545"/>
                    </a:cubicBezTo>
                    <a:cubicBezTo>
                      <a:pt x="343853" y="171450"/>
                      <a:pt x="345758" y="170498"/>
                      <a:pt x="346710" y="171450"/>
                    </a:cubicBezTo>
                    <a:cubicBezTo>
                      <a:pt x="347663" y="174308"/>
                      <a:pt x="349567" y="175260"/>
                      <a:pt x="348615" y="178117"/>
                    </a:cubicBezTo>
                    <a:cubicBezTo>
                      <a:pt x="346710" y="180975"/>
                      <a:pt x="340042" y="182880"/>
                      <a:pt x="343853" y="187642"/>
                    </a:cubicBezTo>
                    <a:cubicBezTo>
                      <a:pt x="345758" y="191453"/>
                      <a:pt x="344805" y="195263"/>
                      <a:pt x="342900" y="199073"/>
                    </a:cubicBezTo>
                    <a:cubicBezTo>
                      <a:pt x="340995" y="203835"/>
                      <a:pt x="337185" y="205740"/>
                      <a:pt x="333375" y="206692"/>
                    </a:cubicBezTo>
                    <a:cubicBezTo>
                      <a:pt x="330517" y="207645"/>
                      <a:pt x="326708" y="207645"/>
                      <a:pt x="323850" y="207645"/>
                    </a:cubicBezTo>
                    <a:cubicBezTo>
                      <a:pt x="320040" y="205740"/>
                      <a:pt x="319088" y="205740"/>
                      <a:pt x="318135" y="205740"/>
                    </a:cubicBezTo>
                    <a:cubicBezTo>
                      <a:pt x="309563" y="204788"/>
                      <a:pt x="300990" y="201930"/>
                      <a:pt x="292417" y="201930"/>
                    </a:cubicBezTo>
                    <a:cubicBezTo>
                      <a:pt x="289560" y="202883"/>
                      <a:pt x="287655" y="202883"/>
                      <a:pt x="285750" y="203835"/>
                    </a:cubicBezTo>
                    <a:cubicBezTo>
                      <a:pt x="283845" y="205740"/>
                      <a:pt x="280988" y="207645"/>
                      <a:pt x="280035" y="209550"/>
                    </a:cubicBezTo>
                    <a:cubicBezTo>
                      <a:pt x="280035" y="209550"/>
                      <a:pt x="280035" y="209550"/>
                      <a:pt x="280035" y="209550"/>
                    </a:cubicBezTo>
                    <a:cubicBezTo>
                      <a:pt x="280035" y="209550"/>
                      <a:pt x="279083" y="210503"/>
                      <a:pt x="279083" y="210503"/>
                    </a:cubicBezTo>
                    <a:cubicBezTo>
                      <a:pt x="279083" y="210503"/>
                      <a:pt x="279083" y="211455"/>
                      <a:pt x="278130" y="211455"/>
                    </a:cubicBezTo>
                    <a:cubicBezTo>
                      <a:pt x="278130" y="211455"/>
                      <a:pt x="278130" y="211455"/>
                      <a:pt x="278130" y="212408"/>
                    </a:cubicBezTo>
                    <a:cubicBezTo>
                      <a:pt x="276225" y="214313"/>
                      <a:pt x="275273" y="216217"/>
                      <a:pt x="274320" y="218123"/>
                    </a:cubicBezTo>
                    <a:cubicBezTo>
                      <a:pt x="274320" y="218123"/>
                      <a:pt x="274320" y="218123"/>
                      <a:pt x="274320" y="218123"/>
                    </a:cubicBezTo>
                    <a:cubicBezTo>
                      <a:pt x="274320" y="218123"/>
                      <a:pt x="274320" y="219075"/>
                      <a:pt x="274320" y="219075"/>
                    </a:cubicBezTo>
                    <a:cubicBezTo>
                      <a:pt x="272415" y="221933"/>
                      <a:pt x="271463" y="225742"/>
                      <a:pt x="270510" y="228600"/>
                    </a:cubicBezTo>
                    <a:cubicBezTo>
                      <a:pt x="266700" y="240030"/>
                      <a:pt x="268605" y="250508"/>
                      <a:pt x="271463" y="252413"/>
                    </a:cubicBezTo>
                    <a:cubicBezTo>
                      <a:pt x="272415" y="253365"/>
                      <a:pt x="288608" y="258128"/>
                      <a:pt x="299085" y="262890"/>
                    </a:cubicBezTo>
                    <a:cubicBezTo>
                      <a:pt x="304800" y="264795"/>
                      <a:pt x="307658" y="266700"/>
                      <a:pt x="311467" y="268605"/>
                    </a:cubicBezTo>
                    <a:lnTo>
                      <a:pt x="101918" y="268605"/>
                    </a:lnTo>
                    <a:cubicBezTo>
                      <a:pt x="111443" y="261938"/>
                      <a:pt x="120968" y="258128"/>
                      <a:pt x="135255" y="251460"/>
                    </a:cubicBezTo>
                    <a:cubicBezTo>
                      <a:pt x="138113" y="249555"/>
                      <a:pt x="153352" y="242888"/>
                      <a:pt x="158115" y="237173"/>
                    </a:cubicBezTo>
                    <a:moveTo>
                      <a:pt x="79057" y="200978"/>
                    </a:moveTo>
                    <a:cubicBezTo>
                      <a:pt x="78105" y="200978"/>
                      <a:pt x="76200" y="201930"/>
                      <a:pt x="76200" y="200025"/>
                    </a:cubicBezTo>
                    <a:cubicBezTo>
                      <a:pt x="77152" y="197167"/>
                      <a:pt x="80010" y="197167"/>
                      <a:pt x="81915" y="196215"/>
                    </a:cubicBezTo>
                    <a:cubicBezTo>
                      <a:pt x="82868" y="195263"/>
                      <a:pt x="84773" y="194310"/>
                      <a:pt x="85725" y="195263"/>
                    </a:cubicBezTo>
                    <a:cubicBezTo>
                      <a:pt x="86677" y="197167"/>
                      <a:pt x="88582" y="196215"/>
                      <a:pt x="89535" y="197167"/>
                    </a:cubicBezTo>
                    <a:cubicBezTo>
                      <a:pt x="86677" y="200978"/>
                      <a:pt x="82868" y="200025"/>
                      <a:pt x="79057" y="200978"/>
                    </a:cubicBezTo>
                    <a:moveTo>
                      <a:pt x="952" y="189548"/>
                    </a:moveTo>
                    <a:cubicBezTo>
                      <a:pt x="952" y="189548"/>
                      <a:pt x="0" y="188595"/>
                      <a:pt x="0" y="188595"/>
                    </a:cubicBezTo>
                    <a:cubicBezTo>
                      <a:pt x="6668" y="180023"/>
                      <a:pt x="11430" y="171450"/>
                      <a:pt x="16193" y="162878"/>
                    </a:cubicBezTo>
                    <a:cubicBezTo>
                      <a:pt x="22860" y="159067"/>
                      <a:pt x="28575" y="154305"/>
                      <a:pt x="33338" y="148590"/>
                    </a:cubicBezTo>
                    <a:cubicBezTo>
                      <a:pt x="41910" y="139065"/>
                      <a:pt x="51435" y="131445"/>
                      <a:pt x="61913" y="125730"/>
                    </a:cubicBezTo>
                    <a:cubicBezTo>
                      <a:pt x="65723" y="123825"/>
                      <a:pt x="71438" y="124778"/>
                      <a:pt x="75248" y="126683"/>
                    </a:cubicBezTo>
                    <a:cubicBezTo>
                      <a:pt x="73343" y="128588"/>
                      <a:pt x="71438" y="128588"/>
                      <a:pt x="69532" y="129540"/>
                    </a:cubicBezTo>
                    <a:cubicBezTo>
                      <a:pt x="68580" y="129540"/>
                      <a:pt x="68580" y="129540"/>
                      <a:pt x="67627" y="128588"/>
                    </a:cubicBezTo>
                    <a:cubicBezTo>
                      <a:pt x="68580" y="127635"/>
                      <a:pt x="68580" y="127635"/>
                      <a:pt x="68580" y="126683"/>
                    </a:cubicBezTo>
                    <a:cubicBezTo>
                      <a:pt x="63818" y="132398"/>
                      <a:pt x="56198" y="135255"/>
                      <a:pt x="52388" y="141923"/>
                    </a:cubicBezTo>
                    <a:cubicBezTo>
                      <a:pt x="49530" y="146685"/>
                      <a:pt x="47625" y="153353"/>
                      <a:pt x="40957" y="155258"/>
                    </a:cubicBezTo>
                    <a:cubicBezTo>
                      <a:pt x="39052" y="156210"/>
                      <a:pt x="41910" y="153353"/>
                      <a:pt x="40005" y="154305"/>
                    </a:cubicBezTo>
                    <a:cubicBezTo>
                      <a:pt x="24765" y="164783"/>
                      <a:pt x="13335" y="176213"/>
                      <a:pt x="952" y="189548"/>
                    </a:cubicBezTo>
                    <a:moveTo>
                      <a:pt x="43815" y="156210"/>
                    </a:moveTo>
                    <a:cubicBezTo>
                      <a:pt x="42863" y="157163"/>
                      <a:pt x="42863" y="157163"/>
                      <a:pt x="41910" y="158115"/>
                    </a:cubicBezTo>
                    <a:cubicBezTo>
                      <a:pt x="40957" y="159067"/>
                      <a:pt x="40957" y="160020"/>
                      <a:pt x="40005" y="160020"/>
                    </a:cubicBezTo>
                    <a:cubicBezTo>
                      <a:pt x="39052" y="160020"/>
                      <a:pt x="39052" y="160020"/>
                      <a:pt x="39052" y="159067"/>
                    </a:cubicBezTo>
                    <a:cubicBezTo>
                      <a:pt x="40005" y="157163"/>
                      <a:pt x="40957" y="155258"/>
                      <a:pt x="42863" y="154305"/>
                    </a:cubicBezTo>
                    <a:cubicBezTo>
                      <a:pt x="43815" y="155258"/>
                      <a:pt x="43815" y="155258"/>
                      <a:pt x="43815" y="156210"/>
                    </a:cubicBezTo>
                    <a:moveTo>
                      <a:pt x="67627" y="232410"/>
                    </a:moveTo>
                    <a:cubicBezTo>
                      <a:pt x="67627" y="233363"/>
                      <a:pt x="66675" y="233363"/>
                      <a:pt x="66675" y="234315"/>
                    </a:cubicBezTo>
                    <a:cubicBezTo>
                      <a:pt x="67627" y="234315"/>
                      <a:pt x="67627" y="234315"/>
                      <a:pt x="67627" y="235267"/>
                    </a:cubicBezTo>
                    <a:cubicBezTo>
                      <a:pt x="66675" y="236220"/>
                      <a:pt x="65723" y="237173"/>
                      <a:pt x="63818" y="238125"/>
                    </a:cubicBezTo>
                    <a:cubicBezTo>
                      <a:pt x="63818" y="238125"/>
                      <a:pt x="63818" y="238125"/>
                      <a:pt x="62865" y="238125"/>
                    </a:cubicBezTo>
                    <a:cubicBezTo>
                      <a:pt x="61913" y="239078"/>
                      <a:pt x="61913" y="239078"/>
                      <a:pt x="60960" y="240030"/>
                    </a:cubicBezTo>
                    <a:cubicBezTo>
                      <a:pt x="60007" y="240983"/>
                      <a:pt x="57150" y="240030"/>
                      <a:pt x="58102" y="239078"/>
                    </a:cubicBezTo>
                    <a:cubicBezTo>
                      <a:pt x="59055" y="238125"/>
                      <a:pt x="60960" y="236220"/>
                      <a:pt x="61913" y="235267"/>
                    </a:cubicBezTo>
                    <a:cubicBezTo>
                      <a:pt x="62865" y="234315"/>
                      <a:pt x="63818" y="234315"/>
                      <a:pt x="63818" y="233363"/>
                    </a:cubicBezTo>
                    <a:cubicBezTo>
                      <a:pt x="63818" y="233363"/>
                      <a:pt x="64770" y="232410"/>
                      <a:pt x="64770" y="232410"/>
                    </a:cubicBezTo>
                    <a:cubicBezTo>
                      <a:pt x="64770" y="231458"/>
                      <a:pt x="67627" y="231458"/>
                      <a:pt x="67627" y="232410"/>
                    </a:cubicBezTo>
                    <a:moveTo>
                      <a:pt x="58102" y="228600"/>
                    </a:moveTo>
                    <a:cubicBezTo>
                      <a:pt x="58102" y="228600"/>
                      <a:pt x="58102" y="228600"/>
                      <a:pt x="58102" y="228600"/>
                    </a:cubicBezTo>
                    <a:cubicBezTo>
                      <a:pt x="56198" y="230505"/>
                      <a:pt x="54293" y="231458"/>
                      <a:pt x="52388" y="232410"/>
                    </a:cubicBezTo>
                    <a:cubicBezTo>
                      <a:pt x="50482" y="233363"/>
                      <a:pt x="47625" y="234315"/>
                      <a:pt x="45720" y="235267"/>
                    </a:cubicBezTo>
                    <a:cubicBezTo>
                      <a:pt x="45720" y="235267"/>
                      <a:pt x="45720" y="235267"/>
                      <a:pt x="45720" y="235267"/>
                    </a:cubicBezTo>
                    <a:cubicBezTo>
                      <a:pt x="45720" y="235267"/>
                      <a:pt x="44768" y="235267"/>
                      <a:pt x="44768" y="235267"/>
                    </a:cubicBezTo>
                    <a:cubicBezTo>
                      <a:pt x="42863" y="236220"/>
                      <a:pt x="40957" y="238125"/>
                      <a:pt x="40005" y="239078"/>
                    </a:cubicBezTo>
                    <a:cubicBezTo>
                      <a:pt x="40005" y="239078"/>
                      <a:pt x="40005" y="239078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7148" y="241935"/>
                      <a:pt x="37148" y="241935"/>
                    </a:cubicBezTo>
                    <a:cubicBezTo>
                      <a:pt x="37148" y="241935"/>
                      <a:pt x="37148" y="242888"/>
                      <a:pt x="36195" y="242888"/>
                    </a:cubicBezTo>
                    <a:cubicBezTo>
                      <a:pt x="36195" y="242888"/>
                      <a:pt x="35243" y="242888"/>
                      <a:pt x="35243" y="242888"/>
                    </a:cubicBezTo>
                    <a:cubicBezTo>
                      <a:pt x="35243" y="242888"/>
                      <a:pt x="35243" y="242888"/>
                      <a:pt x="35243" y="242888"/>
                    </a:cubicBezTo>
                    <a:cubicBezTo>
                      <a:pt x="35243" y="242888"/>
                      <a:pt x="34290" y="242888"/>
                      <a:pt x="34290" y="242888"/>
                    </a:cubicBezTo>
                    <a:cubicBezTo>
                      <a:pt x="34290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2385" y="243840"/>
                      <a:pt x="32385" y="243840"/>
                      <a:pt x="31432" y="244792"/>
                    </a:cubicBezTo>
                    <a:cubicBezTo>
                      <a:pt x="30480" y="245745"/>
                      <a:pt x="29527" y="246698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8603"/>
                    </a:cubicBezTo>
                    <a:lnTo>
                      <a:pt x="28575" y="248603"/>
                    </a:ln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7650"/>
                      <a:pt x="28575" y="247650"/>
                    </a:cubicBezTo>
                    <a:lnTo>
                      <a:pt x="28575" y="247650"/>
                    </a:ln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9527" y="246698"/>
                      <a:pt x="29527" y="246698"/>
                      <a:pt x="30480" y="245745"/>
                    </a:cubicBezTo>
                    <a:cubicBezTo>
                      <a:pt x="30480" y="245745"/>
                      <a:pt x="30480" y="245745"/>
                      <a:pt x="30480" y="245745"/>
                    </a:cubicBezTo>
                    <a:cubicBezTo>
                      <a:pt x="30480" y="245745"/>
                      <a:pt x="30480" y="245745"/>
                      <a:pt x="31432" y="244792"/>
                    </a:cubicBezTo>
                    <a:cubicBezTo>
                      <a:pt x="31432" y="244792"/>
                      <a:pt x="32385" y="243840"/>
                      <a:pt x="32385" y="243840"/>
                    </a:cubicBezTo>
                    <a:cubicBezTo>
                      <a:pt x="32385" y="243840"/>
                      <a:pt x="32385" y="243840"/>
                      <a:pt x="32385" y="243840"/>
                    </a:cubicBezTo>
                    <a:cubicBezTo>
                      <a:pt x="33338" y="242888"/>
                      <a:pt x="33338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5243" y="240983"/>
                      <a:pt x="35243" y="240983"/>
                    </a:cubicBezTo>
                    <a:cubicBezTo>
                      <a:pt x="35243" y="240983"/>
                      <a:pt x="35243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8125"/>
                    </a:cubicBezTo>
                    <a:cubicBezTo>
                      <a:pt x="37148" y="238125"/>
                      <a:pt x="37148" y="238125"/>
                      <a:pt x="37148" y="238125"/>
                    </a:cubicBezTo>
                    <a:cubicBezTo>
                      <a:pt x="37148" y="238125"/>
                      <a:pt x="37148" y="237173"/>
                      <a:pt x="37148" y="237173"/>
                    </a:cubicBezTo>
                    <a:cubicBezTo>
                      <a:pt x="37148" y="237173"/>
                      <a:pt x="37148" y="237173"/>
                      <a:pt x="37148" y="237173"/>
                    </a:cubicBezTo>
                    <a:cubicBezTo>
                      <a:pt x="38100" y="236220"/>
                      <a:pt x="38100" y="235267"/>
                      <a:pt x="39052" y="234315"/>
                    </a:cubicBezTo>
                    <a:cubicBezTo>
                      <a:pt x="39052" y="234315"/>
                      <a:pt x="39052" y="234315"/>
                      <a:pt x="39052" y="234315"/>
                    </a:cubicBezTo>
                    <a:cubicBezTo>
                      <a:pt x="38100" y="234315"/>
                      <a:pt x="38100" y="235267"/>
                      <a:pt x="37148" y="236220"/>
                    </a:cubicBezTo>
                    <a:cubicBezTo>
                      <a:pt x="36195" y="236220"/>
                      <a:pt x="35243" y="236220"/>
                      <a:pt x="36195" y="235267"/>
                    </a:cubicBezTo>
                    <a:cubicBezTo>
                      <a:pt x="36195" y="235267"/>
                      <a:pt x="37148" y="234315"/>
                      <a:pt x="37148" y="234315"/>
                    </a:cubicBezTo>
                    <a:cubicBezTo>
                      <a:pt x="37148" y="234315"/>
                      <a:pt x="37148" y="234315"/>
                      <a:pt x="37148" y="234315"/>
                    </a:cubicBezTo>
                    <a:cubicBezTo>
                      <a:pt x="38100" y="233363"/>
                      <a:pt x="39052" y="232410"/>
                      <a:pt x="40005" y="231458"/>
                    </a:cubicBezTo>
                    <a:cubicBezTo>
                      <a:pt x="40957" y="231458"/>
                      <a:pt x="40957" y="230505"/>
                      <a:pt x="41910" y="230505"/>
                    </a:cubicBezTo>
                    <a:cubicBezTo>
                      <a:pt x="41910" y="230505"/>
                      <a:pt x="41910" y="230505"/>
                      <a:pt x="41910" y="230505"/>
                    </a:cubicBezTo>
                    <a:cubicBezTo>
                      <a:pt x="41910" y="230505"/>
                      <a:pt x="42863" y="229553"/>
                      <a:pt x="42863" y="229553"/>
                    </a:cubicBezTo>
                    <a:cubicBezTo>
                      <a:pt x="42863" y="229553"/>
                      <a:pt x="42863" y="229553"/>
                      <a:pt x="42863" y="229553"/>
                    </a:cubicBezTo>
                    <a:cubicBezTo>
                      <a:pt x="47625" y="224790"/>
                      <a:pt x="56198" y="224790"/>
                      <a:pt x="62865" y="221933"/>
                    </a:cubicBezTo>
                    <a:cubicBezTo>
                      <a:pt x="65723" y="220980"/>
                      <a:pt x="68580" y="222885"/>
                      <a:pt x="71438" y="221933"/>
                    </a:cubicBezTo>
                    <a:cubicBezTo>
                      <a:pt x="73343" y="221933"/>
                      <a:pt x="74295" y="221933"/>
                      <a:pt x="76200" y="222885"/>
                    </a:cubicBezTo>
                    <a:cubicBezTo>
                      <a:pt x="66675" y="222885"/>
                      <a:pt x="62865" y="225742"/>
                      <a:pt x="58102" y="228600"/>
                    </a:cubicBezTo>
                    <a:moveTo>
                      <a:pt x="68580" y="193358"/>
                    </a:moveTo>
                    <a:cubicBezTo>
                      <a:pt x="67627" y="192405"/>
                      <a:pt x="70485" y="193358"/>
                      <a:pt x="70485" y="192405"/>
                    </a:cubicBezTo>
                    <a:lnTo>
                      <a:pt x="66675" y="192405"/>
                    </a:lnTo>
                    <a:cubicBezTo>
                      <a:pt x="65723" y="192405"/>
                      <a:pt x="65723" y="191453"/>
                      <a:pt x="65723" y="191453"/>
                    </a:cubicBezTo>
                    <a:cubicBezTo>
                      <a:pt x="62865" y="192405"/>
                      <a:pt x="60007" y="193358"/>
                      <a:pt x="57150" y="193358"/>
                    </a:cubicBezTo>
                    <a:cubicBezTo>
                      <a:pt x="53340" y="194310"/>
                      <a:pt x="50482" y="197167"/>
                      <a:pt x="46673" y="198120"/>
                    </a:cubicBezTo>
                    <a:cubicBezTo>
                      <a:pt x="40957" y="200025"/>
                      <a:pt x="36195" y="204788"/>
                      <a:pt x="30480" y="206692"/>
                    </a:cubicBezTo>
                    <a:cubicBezTo>
                      <a:pt x="29527" y="206692"/>
                      <a:pt x="29527" y="205740"/>
                      <a:pt x="29527" y="205740"/>
                    </a:cubicBezTo>
                    <a:cubicBezTo>
                      <a:pt x="30480" y="203835"/>
                      <a:pt x="32385" y="203835"/>
                      <a:pt x="33338" y="201930"/>
                    </a:cubicBezTo>
                    <a:cubicBezTo>
                      <a:pt x="33338" y="200978"/>
                      <a:pt x="33338" y="200978"/>
                      <a:pt x="32385" y="200978"/>
                    </a:cubicBezTo>
                    <a:cubicBezTo>
                      <a:pt x="36195" y="195263"/>
                      <a:pt x="41910" y="192405"/>
                      <a:pt x="47625" y="187642"/>
                    </a:cubicBezTo>
                    <a:lnTo>
                      <a:pt x="47625" y="185738"/>
                    </a:lnTo>
                    <a:cubicBezTo>
                      <a:pt x="49530" y="183833"/>
                      <a:pt x="51435" y="182880"/>
                      <a:pt x="52388" y="180023"/>
                    </a:cubicBezTo>
                    <a:cubicBezTo>
                      <a:pt x="53340" y="178117"/>
                      <a:pt x="55245" y="176213"/>
                      <a:pt x="57150" y="175260"/>
                    </a:cubicBezTo>
                    <a:cubicBezTo>
                      <a:pt x="56198" y="174308"/>
                      <a:pt x="55245" y="174308"/>
                      <a:pt x="55245" y="173355"/>
                    </a:cubicBezTo>
                    <a:cubicBezTo>
                      <a:pt x="53340" y="173355"/>
                      <a:pt x="51435" y="174308"/>
                      <a:pt x="49530" y="172403"/>
                    </a:cubicBezTo>
                    <a:cubicBezTo>
                      <a:pt x="50482" y="171450"/>
                      <a:pt x="51435" y="170498"/>
                      <a:pt x="52388" y="170498"/>
                    </a:cubicBezTo>
                    <a:cubicBezTo>
                      <a:pt x="52388" y="170498"/>
                      <a:pt x="51435" y="170498"/>
                      <a:pt x="51435" y="169545"/>
                    </a:cubicBezTo>
                    <a:cubicBezTo>
                      <a:pt x="50482" y="168592"/>
                      <a:pt x="52388" y="167640"/>
                      <a:pt x="54293" y="166688"/>
                    </a:cubicBezTo>
                    <a:cubicBezTo>
                      <a:pt x="56198" y="165735"/>
                      <a:pt x="59055" y="165735"/>
                      <a:pt x="60007" y="164783"/>
                    </a:cubicBezTo>
                    <a:cubicBezTo>
                      <a:pt x="56198" y="163830"/>
                      <a:pt x="52388" y="165735"/>
                      <a:pt x="48577" y="163830"/>
                    </a:cubicBezTo>
                    <a:cubicBezTo>
                      <a:pt x="51435" y="157163"/>
                      <a:pt x="55245" y="151448"/>
                      <a:pt x="60960" y="148590"/>
                    </a:cubicBezTo>
                    <a:cubicBezTo>
                      <a:pt x="61913" y="148590"/>
                      <a:pt x="62865" y="148590"/>
                      <a:pt x="62865" y="149542"/>
                    </a:cubicBezTo>
                    <a:cubicBezTo>
                      <a:pt x="62865" y="152400"/>
                      <a:pt x="60960" y="154305"/>
                      <a:pt x="59055" y="154305"/>
                    </a:cubicBezTo>
                    <a:cubicBezTo>
                      <a:pt x="62865" y="155258"/>
                      <a:pt x="67627" y="155258"/>
                      <a:pt x="71438" y="157163"/>
                    </a:cubicBezTo>
                    <a:cubicBezTo>
                      <a:pt x="70485" y="158115"/>
                      <a:pt x="69532" y="158115"/>
                      <a:pt x="69532" y="158115"/>
                    </a:cubicBezTo>
                    <a:cubicBezTo>
                      <a:pt x="72390" y="160020"/>
                      <a:pt x="75248" y="159067"/>
                      <a:pt x="78105" y="160973"/>
                    </a:cubicBezTo>
                    <a:cubicBezTo>
                      <a:pt x="76200" y="162878"/>
                      <a:pt x="75248" y="160973"/>
                      <a:pt x="73343" y="160973"/>
                    </a:cubicBezTo>
                    <a:cubicBezTo>
                      <a:pt x="89535" y="165735"/>
                      <a:pt x="105727" y="169545"/>
                      <a:pt x="119063" y="179070"/>
                    </a:cubicBezTo>
                    <a:cubicBezTo>
                      <a:pt x="107632" y="184785"/>
                      <a:pt x="96202" y="187642"/>
                      <a:pt x="83820" y="189548"/>
                    </a:cubicBezTo>
                    <a:cubicBezTo>
                      <a:pt x="81915" y="189548"/>
                      <a:pt x="80963" y="189548"/>
                      <a:pt x="80010" y="188595"/>
                    </a:cubicBezTo>
                    <a:cubicBezTo>
                      <a:pt x="80010" y="189548"/>
                      <a:pt x="80010" y="190500"/>
                      <a:pt x="79057" y="190500"/>
                    </a:cubicBezTo>
                    <a:cubicBezTo>
                      <a:pt x="77152" y="190500"/>
                      <a:pt x="75248" y="190500"/>
                      <a:pt x="74295" y="191453"/>
                    </a:cubicBezTo>
                    <a:cubicBezTo>
                      <a:pt x="73343" y="194310"/>
                      <a:pt x="70485" y="194310"/>
                      <a:pt x="68580" y="193358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6" name="Forme libre : forme 15">
                <a:extLst>
                  <a:ext uri="{FF2B5EF4-FFF2-40B4-BE49-F238E27FC236}">
                    <a16:creationId xmlns:a16="http://schemas.microsoft.com/office/drawing/2014/main" id="{D8D3202E-8F82-4420-97EA-F8CC611573DC}"/>
                  </a:ext>
                </a:extLst>
              </p:cNvPr>
              <p:cNvSpPr/>
              <p:nvPr/>
            </p:nvSpPr>
            <p:spPr>
              <a:xfrm>
                <a:off x="270509" y="270509"/>
                <a:ext cx="349567" cy="269557"/>
              </a:xfrm>
              <a:custGeom>
                <a:avLst/>
                <a:gdLst>
                  <a:gd name="connsiteX0" fmla="*/ 306705 w 349567"/>
                  <a:gd name="connsiteY0" fmla="*/ 237173 h 269557"/>
                  <a:gd name="connsiteX1" fmla="*/ 315278 w 349567"/>
                  <a:gd name="connsiteY1" fmla="*/ 227648 h 269557"/>
                  <a:gd name="connsiteX2" fmla="*/ 315278 w 349567"/>
                  <a:gd name="connsiteY2" fmla="*/ 227648 h 269557"/>
                  <a:gd name="connsiteX3" fmla="*/ 332423 w 349567"/>
                  <a:gd name="connsiteY3" fmla="*/ 210503 h 269557"/>
                  <a:gd name="connsiteX4" fmla="*/ 338138 w 349567"/>
                  <a:gd name="connsiteY4" fmla="*/ 205740 h 269557"/>
                  <a:gd name="connsiteX5" fmla="*/ 339090 w 349567"/>
                  <a:gd name="connsiteY5" fmla="*/ 203835 h 269557"/>
                  <a:gd name="connsiteX6" fmla="*/ 332423 w 349567"/>
                  <a:gd name="connsiteY6" fmla="*/ 207645 h 269557"/>
                  <a:gd name="connsiteX7" fmla="*/ 331470 w 349567"/>
                  <a:gd name="connsiteY7" fmla="*/ 206692 h 269557"/>
                  <a:gd name="connsiteX8" fmla="*/ 337185 w 349567"/>
                  <a:gd name="connsiteY8" fmla="*/ 202883 h 269557"/>
                  <a:gd name="connsiteX9" fmla="*/ 337185 w 349567"/>
                  <a:gd name="connsiteY9" fmla="*/ 202883 h 269557"/>
                  <a:gd name="connsiteX10" fmla="*/ 336233 w 349567"/>
                  <a:gd name="connsiteY10" fmla="*/ 201930 h 269557"/>
                  <a:gd name="connsiteX11" fmla="*/ 320040 w 349567"/>
                  <a:gd name="connsiteY11" fmla="*/ 210503 h 269557"/>
                  <a:gd name="connsiteX12" fmla="*/ 317183 w 349567"/>
                  <a:gd name="connsiteY12" fmla="*/ 209550 h 269557"/>
                  <a:gd name="connsiteX13" fmla="*/ 296228 w 349567"/>
                  <a:gd name="connsiteY13" fmla="*/ 221933 h 269557"/>
                  <a:gd name="connsiteX14" fmla="*/ 296228 w 349567"/>
                  <a:gd name="connsiteY14" fmla="*/ 220980 h 269557"/>
                  <a:gd name="connsiteX15" fmla="*/ 286703 w 349567"/>
                  <a:gd name="connsiteY15" fmla="*/ 224790 h 269557"/>
                  <a:gd name="connsiteX16" fmla="*/ 274320 w 349567"/>
                  <a:gd name="connsiteY16" fmla="*/ 225742 h 269557"/>
                  <a:gd name="connsiteX17" fmla="*/ 256223 w 349567"/>
                  <a:gd name="connsiteY17" fmla="*/ 228600 h 269557"/>
                  <a:gd name="connsiteX18" fmla="*/ 255270 w 349567"/>
                  <a:gd name="connsiteY18" fmla="*/ 228600 h 269557"/>
                  <a:gd name="connsiteX19" fmla="*/ 245745 w 349567"/>
                  <a:gd name="connsiteY19" fmla="*/ 232410 h 269557"/>
                  <a:gd name="connsiteX20" fmla="*/ 245745 w 349567"/>
                  <a:gd name="connsiteY20" fmla="*/ 232410 h 269557"/>
                  <a:gd name="connsiteX21" fmla="*/ 244792 w 349567"/>
                  <a:gd name="connsiteY21" fmla="*/ 233363 h 269557"/>
                  <a:gd name="connsiteX22" fmla="*/ 240983 w 349567"/>
                  <a:gd name="connsiteY22" fmla="*/ 236220 h 269557"/>
                  <a:gd name="connsiteX23" fmla="*/ 232410 w 349567"/>
                  <a:gd name="connsiteY23" fmla="*/ 242888 h 269557"/>
                  <a:gd name="connsiteX24" fmla="*/ 231458 w 349567"/>
                  <a:gd name="connsiteY24" fmla="*/ 242888 h 269557"/>
                  <a:gd name="connsiteX25" fmla="*/ 222885 w 349567"/>
                  <a:gd name="connsiteY25" fmla="*/ 250508 h 269557"/>
                  <a:gd name="connsiteX26" fmla="*/ 220980 w 349567"/>
                  <a:gd name="connsiteY26" fmla="*/ 250508 h 269557"/>
                  <a:gd name="connsiteX27" fmla="*/ 220980 w 349567"/>
                  <a:gd name="connsiteY27" fmla="*/ 250508 h 269557"/>
                  <a:gd name="connsiteX28" fmla="*/ 220980 w 349567"/>
                  <a:gd name="connsiteY28" fmla="*/ 249555 h 269557"/>
                  <a:gd name="connsiteX29" fmla="*/ 221933 w 349567"/>
                  <a:gd name="connsiteY29" fmla="*/ 247650 h 269557"/>
                  <a:gd name="connsiteX30" fmla="*/ 223838 w 349567"/>
                  <a:gd name="connsiteY30" fmla="*/ 245745 h 269557"/>
                  <a:gd name="connsiteX31" fmla="*/ 225742 w 349567"/>
                  <a:gd name="connsiteY31" fmla="*/ 242888 h 269557"/>
                  <a:gd name="connsiteX32" fmla="*/ 225742 w 349567"/>
                  <a:gd name="connsiteY32" fmla="*/ 241935 h 269557"/>
                  <a:gd name="connsiteX33" fmla="*/ 224790 w 349567"/>
                  <a:gd name="connsiteY33" fmla="*/ 241935 h 269557"/>
                  <a:gd name="connsiteX34" fmla="*/ 233363 w 349567"/>
                  <a:gd name="connsiteY34" fmla="*/ 235267 h 269557"/>
                  <a:gd name="connsiteX35" fmla="*/ 233363 w 349567"/>
                  <a:gd name="connsiteY35" fmla="*/ 235267 h 269557"/>
                  <a:gd name="connsiteX36" fmla="*/ 232410 w 349567"/>
                  <a:gd name="connsiteY36" fmla="*/ 234315 h 269557"/>
                  <a:gd name="connsiteX37" fmla="*/ 233363 w 349567"/>
                  <a:gd name="connsiteY37" fmla="*/ 233363 h 269557"/>
                  <a:gd name="connsiteX38" fmla="*/ 233363 w 349567"/>
                  <a:gd name="connsiteY38" fmla="*/ 233363 h 269557"/>
                  <a:gd name="connsiteX39" fmla="*/ 233363 w 349567"/>
                  <a:gd name="connsiteY39" fmla="*/ 233363 h 269557"/>
                  <a:gd name="connsiteX40" fmla="*/ 233363 w 349567"/>
                  <a:gd name="connsiteY40" fmla="*/ 234315 h 269557"/>
                  <a:gd name="connsiteX41" fmla="*/ 229553 w 349567"/>
                  <a:gd name="connsiteY41" fmla="*/ 237173 h 269557"/>
                  <a:gd name="connsiteX42" fmla="*/ 228600 w 349567"/>
                  <a:gd name="connsiteY42" fmla="*/ 237173 h 269557"/>
                  <a:gd name="connsiteX43" fmla="*/ 227648 w 349567"/>
                  <a:gd name="connsiteY43" fmla="*/ 237173 h 269557"/>
                  <a:gd name="connsiteX44" fmla="*/ 227648 w 349567"/>
                  <a:gd name="connsiteY44" fmla="*/ 237173 h 269557"/>
                  <a:gd name="connsiteX45" fmla="*/ 227648 w 349567"/>
                  <a:gd name="connsiteY45" fmla="*/ 237173 h 269557"/>
                  <a:gd name="connsiteX46" fmla="*/ 227648 w 349567"/>
                  <a:gd name="connsiteY46" fmla="*/ 237173 h 269557"/>
                  <a:gd name="connsiteX47" fmla="*/ 227648 w 349567"/>
                  <a:gd name="connsiteY47" fmla="*/ 237173 h 269557"/>
                  <a:gd name="connsiteX48" fmla="*/ 227648 w 349567"/>
                  <a:gd name="connsiteY48" fmla="*/ 237173 h 269557"/>
                  <a:gd name="connsiteX49" fmla="*/ 227648 w 349567"/>
                  <a:gd name="connsiteY49" fmla="*/ 237173 h 269557"/>
                  <a:gd name="connsiteX50" fmla="*/ 227648 w 349567"/>
                  <a:gd name="connsiteY50" fmla="*/ 236220 h 269557"/>
                  <a:gd name="connsiteX51" fmla="*/ 227648 w 349567"/>
                  <a:gd name="connsiteY51" fmla="*/ 236220 h 269557"/>
                  <a:gd name="connsiteX52" fmla="*/ 228600 w 349567"/>
                  <a:gd name="connsiteY52" fmla="*/ 235267 h 269557"/>
                  <a:gd name="connsiteX53" fmla="*/ 228600 w 349567"/>
                  <a:gd name="connsiteY53" fmla="*/ 234315 h 269557"/>
                  <a:gd name="connsiteX54" fmla="*/ 229553 w 349567"/>
                  <a:gd name="connsiteY54" fmla="*/ 233363 h 269557"/>
                  <a:gd name="connsiteX55" fmla="*/ 229553 w 349567"/>
                  <a:gd name="connsiteY55" fmla="*/ 232410 h 269557"/>
                  <a:gd name="connsiteX56" fmla="*/ 233363 w 349567"/>
                  <a:gd name="connsiteY56" fmla="*/ 229553 h 269557"/>
                  <a:gd name="connsiteX57" fmla="*/ 233363 w 349567"/>
                  <a:gd name="connsiteY57" fmla="*/ 229553 h 269557"/>
                  <a:gd name="connsiteX58" fmla="*/ 239078 w 349567"/>
                  <a:gd name="connsiteY58" fmla="*/ 226695 h 269557"/>
                  <a:gd name="connsiteX59" fmla="*/ 240030 w 349567"/>
                  <a:gd name="connsiteY59" fmla="*/ 225742 h 269557"/>
                  <a:gd name="connsiteX60" fmla="*/ 231458 w 349567"/>
                  <a:gd name="connsiteY60" fmla="*/ 229553 h 269557"/>
                  <a:gd name="connsiteX61" fmla="*/ 230505 w 349567"/>
                  <a:gd name="connsiteY61" fmla="*/ 229553 h 269557"/>
                  <a:gd name="connsiteX62" fmla="*/ 229553 w 349567"/>
                  <a:gd name="connsiteY62" fmla="*/ 229553 h 269557"/>
                  <a:gd name="connsiteX63" fmla="*/ 229553 w 349567"/>
                  <a:gd name="connsiteY63" fmla="*/ 229553 h 269557"/>
                  <a:gd name="connsiteX64" fmla="*/ 232410 w 349567"/>
                  <a:gd name="connsiteY64" fmla="*/ 226695 h 269557"/>
                  <a:gd name="connsiteX65" fmla="*/ 233363 w 349567"/>
                  <a:gd name="connsiteY65" fmla="*/ 227648 h 269557"/>
                  <a:gd name="connsiteX66" fmla="*/ 291465 w 349567"/>
                  <a:gd name="connsiteY66" fmla="*/ 211455 h 269557"/>
                  <a:gd name="connsiteX67" fmla="*/ 296228 w 349567"/>
                  <a:gd name="connsiteY67" fmla="*/ 208598 h 269557"/>
                  <a:gd name="connsiteX68" fmla="*/ 303848 w 349567"/>
                  <a:gd name="connsiteY68" fmla="*/ 203835 h 269557"/>
                  <a:gd name="connsiteX69" fmla="*/ 312420 w 349567"/>
                  <a:gd name="connsiteY69" fmla="*/ 192405 h 269557"/>
                  <a:gd name="connsiteX70" fmla="*/ 311468 w 349567"/>
                  <a:gd name="connsiteY70" fmla="*/ 191453 h 269557"/>
                  <a:gd name="connsiteX71" fmla="*/ 288608 w 349567"/>
                  <a:gd name="connsiteY71" fmla="*/ 208598 h 269557"/>
                  <a:gd name="connsiteX72" fmla="*/ 255270 w 349567"/>
                  <a:gd name="connsiteY72" fmla="*/ 214313 h 269557"/>
                  <a:gd name="connsiteX73" fmla="*/ 258128 w 349567"/>
                  <a:gd name="connsiteY73" fmla="*/ 213360 h 269557"/>
                  <a:gd name="connsiteX74" fmla="*/ 260033 w 349567"/>
                  <a:gd name="connsiteY74" fmla="*/ 210503 h 269557"/>
                  <a:gd name="connsiteX75" fmla="*/ 261938 w 349567"/>
                  <a:gd name="connsiteY75" fmla="*/ 210503 h 269557"/>
                  <a:gd name="connsiteX76" fmla="*/ 262890 w 349567"/>
                  <a:gd name="connsiteY76" fmla="*/ 209550 h 269557"/>
                  <a:gd name="connsiteX77" fmla="*/ 264795 w 349567"/>
                  <a:gd name="connsiteY77" fmla="*/ 208598 h 269557"/>
                  <a:gd name="connsiteX78" fmla="*/ 257175 w 349567"/>
                  <a:gd name="connsiteY78" fmla="*/ 208598 h 269557"/>
                  <a:gd name="connsiteX79" fmla="*/ 259080 w 349567"/>
                  <a:gd name="connsiteY79" fmla="*/ 205740 h 269557"/>
                  <a:gd name="connsiteX80" fmla="*/ 260985 w 349567"/>
                  <a:gd name="connsiteY80" fmla="*/ 205740 h 269557"/>
                  <a:gd name="connsiteX81" fmla="*/ 261938 w 349567"/>
                  <a:gd name="connsiteY81" fmla="*/ 203835 h 269557"/>
                  <a:gd name="connsiteX82" fmla="*/ 283845 w 349567"/>
                  <a:gd name="connsiteY82" fmla="*/ 191453 h 269557"/>
                  <a:gd name="connsiteX83" fmla="*/ 280035 w 349567"/>
                  <a:gd name="connsiteY83" fmla="*/ 192405 h 269557"/>
                  <a:gd name="connsiteX84" fmla="*/ 280988 w 349567"/>
                  <a:gd name="connsiteY84" fmla="*/ 190500 h 269557"/>
                  <a:gd name="connsiteX85" fmla="*/ 297180 w 349567"/>
                  <a:gd name="connsiteY85" fmla="*/ 183833 h 269557"/>
                  <a:gd name="connsiteX86" fmla="*/ 291465 w 349567"/>
                  <a:gd name="connsiteY86" fmla="*/ 183833 h 269557"/>
                  <a:gd name="connsiteX87" fmla="*/ 294323 w 349567"/>
                  <a:gd name="connsiteY87" fmla="*/ 181928 h 269557"/>
                  <a:gd name="connsiteX88" fmla="*/ 294323 w 349567"/>
                  <a:gd name="connsiteY88" fmla="*/ 180023 h 269557"/>
                  <a:gd name="connsiteX89" fmla="*/ 295275 w 349567"/>
                  <a:gd name="connsiteY89" fmla="*/ 179070 h 269557"/>
                  <a:gd name="connsiteX90" fmla="*/ 294323 w 349567"/>
                  <a:gd name="connsiteY90" fmla="*/ 178117 h 269557"/>
                  <a:gd name="connsiteX91" fmla="*/ 297180 w 349567"/>
                  <a:gd name="connsiteY91" fmla="*/ 176213 h 269557"/>
                  <a:gd name="connsiteX92" fmla="*/ 295275 w 349567"/>
                  <a:gd name="connsiteY92" fmla="*/ 175260 h 269557"/>
                  <a:gd name="connsiteX93" fmla="*/ 301943 w 349567"/>
                  <a:gd name="connsiteY93" fmla="*/ 172403 h 269557"/>
                  <a:gd name="connsiteX94" fmla="*/ 300038 w 349567"/>
                  <a:gd name="connsiteY94" fmla="*/ 171450 h 269557"/>
                  <a:gd name="connsiteX95" fmla="*/ 300990 w 349567"/>
                  <a:gd name="connsiteY95" fmla="*/ 170498 h 269557"/>
                  <a:gd name="connsiteX96" fmla="*/ 300990 w 349567"/>
                  <a:gd name="connsiteY96" fmla="*/ 170498 h 269557"/>
                  <a:gd name="connsiteX97" fmla="*/ 300038 w 349567"/>
                  <a:gd name="connsiteY97" fmla="*/ 168592 h 269557"/>
                  <a:gd name="connsiteX98" fmla="*/ 304800 w 349567"/>
                  <a:gd name="connsiteY98" fmla="*/ 156210 h 269557"/>
                  <a:gd name="connsiteX99" fmla="*/ 303848 w 349567"/>
                  <a:gd name="connsiteY99" fmla="*/ 155258 h 269557"/>
                  <a:gd name="connsiteX100" fmla="*/ 282893 w 349567"/>
                  <a:gd name="connsiteY100" fmla="*/ 164783 h 269557"/>
                  <a:gd name="connsiteX101" fmla="*/ 280035 w 349567"/>
                  <a:gd name="connsiteY101" fmla="*/ 164783 h 269557"/>
                  <a:gd name="connsiteX102" fmla="*/ 271463 w 349567"/>
                  <a:gd name="connsiteY102" fmla="*/ 163830 h 269557"/>
                  <a:gd name="connsiteX103" fmla="*/ 266700 w 349567"/>
                  <a:gd name="connsiteY103" fmla="*/ 160020 h 269557"/>
                  <a:gd name="connsiteX104" fmla="*/ 254317 w 349567"/>
                  <a:gd name="connsiteY104" fmla="*/ 154305 h 269557"/>
                  <a:gd name="connsiteX105" fmla="*/ 215265 w 349567"/>
                  <a:gd name="connsiteY105" fmla="*/ 148590 h 269557"/>
                  <a:gd name="connsiteX106" fmla="*/ 233363 w 349567"/>
                  <a:gd name="connsiteY106" fmla="*/ 143828 h 269557"/>
                  <a:gd name="connsiteX107" fmla="*/ 259080 w 349567"/>
                  <a:gd name="connsiteY107" fmla="*/ 139065 h 269557"/>
                  <a:gd name="connsiteX108" fmla="*/ 254317 w 349567"/>
                  <a:gd name="connsiteY108" fmla="*/ 139065 h 269557"/>
                  <a:gd name="connsiteX109" fmla="*/ 232410 w 349567"/>
                  <a:gd name="connsiteY109" fmla="*/ 141923 h 269557"/>
                  <a:gd name="connsiteX110" fmla="*/ 217170 w 349567"/>
                  <a:gd name="connsiteY110" fmla="*/ 145733 h 269557"/>
                  <a:gd name="connsiteX111" fmla="*/ 208598 w 349567"/>
                  <a:gd name="connsiteY111" fmla="*/ 149542 h 269557"/>
                  <a:gd name="connsiteX112" fmla="*/ 208598 w 349567"/>
                  <a:gd name="connsiteY112" fmla="*/ 147638 h 269557"/>
                  <a:gd name="connsiteX113" fmla="*/ 227648 w 349567"/>
                  <a:gd name="connsiteY113" fmla="*/ 135255 h 269557"/>
                  <a:gd name="connsiteX114" fmla="*/ 254317 w 349567"/>
                  <a:gd name="connsiteY114" fmla="*/ 136208 h 269557"/>
                  <a:gd name="connsiteX115" fmla="*/ 273368 w 349567"/>
                  <a:gd name="connsiteY115" fmla="*/ 140017 h 269557"/>
                  <a:gd name="connsiteX116" fmla="*/ 278130 w 349567"/>
                  <a:gd name="connsiteY116" fmla="*/ 144780 h 269557"/>
                  <a:gd name="connsiteX117" fmla="*/ 287655 w 349567"/>
                  <a:gd name="connsiteY117" fmla="*/ 146685 h 269557"/>
                  <a:gd name="connsiteX118" fmla="*/ 287655 w 349567"/>
                  <a:gd name="connsiteY118" fmla="*/ 143828 h 269557"/>
                  <a:gd name="connsiteX119" fmla="*/ 294323 w 349567"/>
                  <a:gd name="connsiteY119" fmla="*/ 142875 h 269557"/>
                  <a:gd name="connsiteX120" fmla="*/ 288608 w 349567"/>
                  <a:gd name="connsiteY120" fmla="*/ 132398 h 269557"/>
                  <a:gd name="connsiteX121" fmla="*/ 289560 w 349567"/>
                  <a:gd name="connsiteY121" fmla="*/ 131445 h 269557"/>
                  <a:gd name="connsiteX122" fmla="*/ 301943 w 349567"/>
                  <a:gd name="connsiteY122" fmla="*/ 141923 h 269557"/>
                  <a:gd name="connsiteX123" fmla="*/ 309563 w 349567"/>
                  <a:gd name="connsiteY123" fmla="*/ 140970 h 269557"/>
                  <a:gd name="connsiteX124" fmla="*/ 298133 w 349567"/>
                  <a:gd name="connsiteY124" fmla="*/ 125730 h 269557"/>
                  <a:gd name="connsiteX125" fmla="*/ 298133 w 349567"/>
                  <a:gd name="connsiteY125" fmla="*/ 123825 h 269557"/>
                  <a:gd name="connsiteX126" fmla="*/ 296228 w 349567"/>
                  <a:gd name="connsiteY126" fmla="*/ 122873 h 269557"/>
                  <a:gd name="connsiteX127" fmla="*/ 296228 w 349567"/>
                  <a:gd name="connsiteY127" fmla="*/ 120015 h 269557"/>
                  <a:gd name="connsiteX128" fmla="*/ 293370 w 349567"/>
                  <a:gd name="connsiteY128" fmla="*/ 115253 h 269557"/>
                  <a:gd name="connsiteX129" fmla="*/ 291465 w 349567"/>
                  <a:gd name="connsiteY129" fmla="*/ 105728 h 269557"/>
                  <a:gd name="connsiteX130" fmla="*/ 290513 w 349567"/>
                  <a:gd name="connsiteY130" fmla="*/ 98108 h 269557"/>
                  <a:gd name="connsiteX131" fmla="*/ 285750 w 349567"/>
                  <a:gd name="connsiteY131" fmla="*/ 73342 h 269557"/>
                  <a:gd name="connsiteX132" fmla="*/ 296228 w 349567"/>
                  <a:gd name="connsiteY132" fmla="*/ 47625 h 269557"/>
                  <a:gd name="connsiteX133" fmla="*/ 310515 w 349567"/>
                  <a:gd name="connsiteY133" fmla="*/ 31433 h 269557"/>
                  <a:gd name="connsiteX134" fmla="*/ 320040 w 349567"/>
                  <a:gd name="connsiteY134" fmla="*/ 15240 h 269557"/>
                  <a:gd name="connsiteX135" fmla="*/ 336233 w 349567"/>
                  <a:gd name="connsiteY135" fmla="*/ 4763 h 269557"/>
                  <a:gd name="connsiteX136" fmla="*/ 349568 w 349567"/>
                  <a:gd name="connsiteY136" fmla="*/ 0 h 269557"/>
                  <a:gd name="connsiteX137" fmla="*/ 0 w 349567"/>
                  <a:gd name="connsiteY137" fmla="*/ 0 h 269557"/>
                  <a:gd name="connsiteX138" fmla="*/ 0 w 349567"/>
                  <a:gd name="connsiteY138" fmla="*/ 269558 h 269557"/>
                  <a:gd name="connsiteX139" fmla="*/ 247650 w 349567"/>
                  <a:gd name="connsiteY139" fmla="*/ 269558 h 269557"/>
                  <a:gd name="connsiteX140" fmla="*/ 280988 w 349567"/>
                  <a:gd name="connsiteY140" fmla="*/ 252413 h 269557"/>
                  <a:gd name="connsiteX141" fmla="*/ 306705 w 349567"/>
                  <a:gd name="connsiteY141" fmla="*/ 237173 h 269557"/>
                  <a:gd name="connsiteX142" fmla="*/ 227648 w 349567"/>
                  <a:gd name="connsiteY142" fmla="*/ 200978 h 269557"/>
                  <a:gd name="connsiteX143" fmla="*/ 224790 w 349567"/>
                  <a:gd name="connsiteY143" fmla="*/ 200025 h 269557"/>
                  <a:gd name="connsiteX144" fmla="*/ 230505 w 349567"/>
                  <a:gd name="connsiteY144" fmla="*/ 196215 h 269557"/>
                  <a:gd name="connsiteX145" fmla="*/ 234315 w 349567"/>
                  <a:gd name="connsiteY145" fmla="*/ 195263 h 269557"/>
                  <a:gd name="connsiteX146" fmla="*/ 238125 w 349567"/>
                  <a:gd name="connsiteY146" fmla="*/ 197167 h 269557"/>
                  <a:gd name="connsiteX147" fmla="*/ 227648 w 349567"/>
                  <a:gd name="connsiteY147" fmla="*/ 200978 h 269557"/>
                  <a:gd name="connsiteX148" fmla="*/ 149542 w 349567"/>
                  <a:gd name="connsiteY148" fmla="*/ 189548 h 269557"/>
                  <a:gd name="connsiteX149" fmla="*/ 148590 w 349567"/>
                  <a:gd name="connsiteY149" fmla="*/ 188595 h 269557"/>
                  <a:gd name="connsiteX150" fmla="*/ 164783 w 349567"/>
                  <a:gd name="connsiteY150" fmla="*/ 162878 h 269557"/>
                  <a:gd name="connsiteX151" fmla="*/ 181928 w 349567"/>
                  <a:gd name="connsiteY151" fmla="*/ 148590 h 269557"/>
                  <a:gd name="connsiteX152" fmla="*/ 210503 w 349567"/>
                  <a:gd name="connsiteY152" fmla="*/ 125730 h 269557"/>
                  <a:gd name="connsiteX153" fmla="*/ 223838 w 349567"/>
                  <a:gd name="connsiteY153" fmla="*/ 126683 h 269557"/>
                  <a:gd name="connsiteX154" fmla="*/ 218123 w 349567"/>
                  <a:gd name="connsiteY154" fmla="*/ 129540 h 269557"/>
                  <a:gd name="connsiteX155" fmla="*/ 216217 w 349567"/>
                  <a:gd name="connsiteY155" fmla="*/ 128588 h 269557"/>
                  <a:gd name="connsiteX156" fmla="*/ 217170 w 349567"/>
                  <a:gd name="connsiteY156" fmla="*/ 126683 h 269557"/>
                  <a:gd name="connsiteX157" fmla="*/ 200978 w 349567"/>
                  <a:gd name="connsiteY157" fmla="*/ 141923 h 269557"/>
                  <a:gd name="connsiteX158" fmla="*/ 189548 w 349567"/>
                  <a:gd name="connsiteY158" fmla="*/ 155258 h 269557"/>
                  <a:gd name="connsiteX159" fmla="*/ 188595 w 349567"/>
                  <a:gd name="connsiteY159" fmla="*/ 154305 h 269557"/>
                  <a:gd name="connsiteX160" fmla="*/ 149542 w 349567"/>
                  <a:gd name="connsiteY160" fmla="*/ 189548 h 269557"/>
                  <a:gd name="connsiteX161" fmla="*/ 192405 w 349567"/>
                  <a:gd name="connsiteY161" fmla="*/ 156210 h 269557"/>
                  <a:gd name="connsiteX162" fmla="*/ 190500 w 349567"/>
                  <a:gd name="connsiteY162" fmla="*/ 158115 h 269557"/>
                  <a:gd name="connsiteX163" fmla="*/ 188595 w 349567"/>
                  <a:gd name="connsiteY163" fmla="*/ 160020 h 269557"/>
                  <a:gd name="connsiteX164" fmla="*/ 187642 w 349567"/>
                  <a:gd name="connsiteY164" fmla="*/ 159067 h 269557"/>
                  <a:gd name="connsiteX165" fmla="*/ 191453 w 349567"/>
                  <a:gd name="connsiteY165" fmla="*/ 154305 h 269557"/>
                  <a:gd name="connsiteX166" fmla="*/ 192405 w 349567"/>
                  <a:gd name="connsiteY166" fmla="*/ 156210 h 269557"/>
                  <a:gd name="connsiteX167" fmla="*/ 216217 w 349567"/>
                  <a:gd name="connsiteY167" fmla="*/ 232410 h 269557"/>
                  <a:gd name="connsiteX168" fmla="*/ 215265 w 349567"/>
                  <a:gd name="connsiteY168" fmla="*/ 234315 h 269557"/>
                  <a:gd name="connsiteX169" fmla="*/ 216217 w 349567"/>
                  <a:gd name="connsiteY169" fmla="*/ 235267 h 269557"/>
                  <a:gd name="connsiteX170" fmla="*/ 212408 w 349567"/>
                  <a:gd name="connsiteY170" fmla="*/ 238125 h 269557"/>
                  <a:gd name="connsiteX171" fmla="*/ 211455 w 349567"/>
                  <a:gd name="connsiteY171" fmla="*/ 238125 h 269557"/>
                  <a:gd name="connsiteX172" fmla="*/ 209550 w 349567"/>
                  <a:gd name="connsiteY172" fmla="*/ 240030 h 269557"/>
                  <a:gd name="connsiteX173" fmla="*/ 206692 w 349567"/>
                  <a:gd name="connsiteY173" fmla="*/ 239078 h 269557"/>
                  <a:gd name="connsiteX174" fmla="*/ 210503 w 349567"/>
                  <a:gd name="connsiteY174" fmla="*/ 235267 h 269557"/>
                  <a:gd name="connsiteX175" fmla="*/ 212408 w 349567"/>
                  <a:gd name="connsiteY175" fmla="*/ 233363 h 269557"/>
                  <a:gd name="connsiteX176" fmla="*/ 213360 w 349567"/>
                  <a:gd name="connsiteY176" fmla="*/ 232410 h 269557"/>
                  <a:gd name="connsiteX177" fmla="*/ 216217 w 349567"/>
                  <a:gd name="connsiteY177" fmla="*/ 232410 h 269557"/>
                  <a:gd name="connsiteX178" fmla="*/ 206692 w 349567"/>
                  <a:gd name="connsiteY178" fmla="*/ 228600 h 269557"/>
                  <a:gd name="connsiteX179" fmla="*/ 206692 w 349567"/>
                  <a:gd name="connsiteY179" fmla="*/ 228600 h 269557"/>
                  <a:gd name="connsiteX180" fmla="*/ 200978 w 349567"/>
                  <a:gd name="connsiteY180" fmla="*/ 232410 h 269557"/>
                  <a:gd name="connsiteX181" fmla="*/ 194310 w 349567"/>
                  <a:gd name="connsiteY181" fmla="*/ 235267 h 269557"/>
                  <a:gd name="connsiteX182" fmla="*/ 194310 w 349567"/>
                  <a:gd name="connsiteY182" fmla="*/ 235267 h 269557"/>
                  <a:gd name="connsiteX183" fmla="*/ 193358 w 349567"/>
                  <a:gd name="connsiteY183" fmla="*/ 235267 h 269557"/>
                  <a:gd name="connsiteX184" fmla="*/ 188595 w 349567"/>
                  <a:gd name="connsiteY184" fmla="*/ 239078 h 269557"/>
                  <a:gd name="connsiteX185" fmla="*/ 187642 w 349567"/>
                  <a:gd name="connsiteY185" fmla="*/ 240030 h 269557"/>
                  <a:gd name="connsiteX186" fmla="*/ 187642 w 349567"/>
                  <a:gd name="connsiteY186" fmla="*/ 240030 h 269557"/>
                  <a:gd name="connsiteX187" fmla="*/ 187642 w 349567"/>
                  <a:gd name="connsiteY187" fmla="*/ 240030 h 269557"/>
                  <a:gd name="connsiteX188" fmla="*/ 186690 w 349567"/>
                  <a:gd name="connsiteY188" fmla="*/ 240983 h 269557"/>
                  <a:gd name="connsiteX189" fmla="*/ 186690 w 349567"/>
                  <a:gd name="connsiteY189" fmla="*/ 240983 h 269557"/>
                  <a:gd name="connsiteX190" fmla="*/ 186690 w 349567"/>
                  <a:gd name="connsiteY190" fmla="*/ 240983 h 269557"/>
                  <a:gd name="connsiteX191" fmla="*/ 185738 w 349567"/>
                  <a:gd name="connsiteY191" fmla="*/ 241935 h 269557"/>
                  <a:gd name="connsiteX192" fmla="*/ 184785 w 349567"/>
                  <a:gd name="connsiteY192" fmla="*/ 242888 h 269557"/>
                  <a:gd name="connsiteX193" fmla="*/ 183833 w 349567"/>
                  <a:gd name="connsiteY193" fmla="*/ 242888 h 269557"/>
                  <a:gd name="connsiteX194" fmla="*/ 183833 w 349567"/>
                  <a:gd name="connsiteY194" fmla="*/ 242888 h 269557"/>
                  <a:gd name="connsiteX195" fmla="*/ 182880 w 349567"/>
                  <a:gd name="connsiteY195" fmla="*/ 242888 h 269557"/>
                  <a:gd name="connsiteX196" fmla="*/ 181928 w 349567"/>
                  <a:gd name="connsiteY196" fmla="*/ 242888 h 269557"/>
                  <a:gd name="connsiteX197" fmla="*/ 181928 w 349567"/>
                  <a:gd name="connsiteY197" fmla="*/ 242888 h 269557"/>
                  <a:gd name="connsiteX198" fmla="*/ 181928 w 349567"/>
                  <a:gd name="connsiteY198" fmla="*/ 242888 h 269557"/>
                  <a:gd name="connsiteX199" fmla="*/ 180023 w 349567"/>
                  <a:gd name="connsiteY199" fmla="*/ 244792 h 269557"/>
                  <a:gd name="connsiteX200" fmla="*/ 177165 w 349567"/>
                  <a:gd name="connsiteY200" fmla="*/ 247650 h 269557"/>
                  <a:gd name="connsiteX201" fmla="*/ 177165 w 349567"/>
                  <a:gd name="connsiteY201" fmla="*/ 247650 h 269557"/>
                  <a:gd name="connsiteX202" fmla="*/ 177165 w 349567"/>
                  <a:gd name="connsiteY202" fmla="*/ 247650 h 269557"/>
                  <a:gd name="connsiteX203" fmla="*/ 177165 w 349567"/>
                  <a:gd name="connsiteY203" fmla="*/ 247650 h 269557"/>
                  <a:gd name="connsiteX204" fmla="*/ 177165 w 349567"/>
                  <a:gd name="connsiteY204" fmla="*/ 247650 h 269557"/>
                  <a:gd name="connsiteX205" fmla="*/ 177165 w 349567"/>
                  <a:gd name="connsiteY205" fmla="*/ 247650 h 269557"/>
                  <a:gd name="connsiteX206" fmla="*/ 177165 w 349567"/>
                  <a:gd name="connsiteY206" fmla="*/ 248603 h 269557"/>
                  <a:gd name="connsiteX207" fmla="*/ 177165 w 349567"/>
                  <a:gd name="connsiteY207" fmla="*/ 248603 h 269557"/>
                  <a:gd name="connsiteX208" fmla="*/ 177165 w 349567"/>
                  <a:gd name="connsiteY208" fmla="*/ 248603 h 269557"/>
                  <a:gd name="connsiteX209" fmla="*/ 177165 w 349567"/>
                  <a:gd name="connsiteY209" fmla="*/ 248603 h 269557"/>
                  <a:gd name="connsiteX210" fmla="*/ 177165 w 349567"/>
                  <a:gd name="connsiteY210" fmla="*/ 248603 h 269557"/>
                  <a:gd name="connsiteX211" fmla="*/ 177165 w 349567"/>
                  <a:gd name="connsiteY211" fmla="*/ 247650 h 269557"/>
                  <a:gd name="connsiteX212" fmla="*/ 177165 w 349567"/>
                  <a:gd name="connsiteY212" fmla="*/ 247650 h 269557"/>
                  <a:gd name="connsiteX213" fmla="*/ 177165 w 349567"/>
                  <a:gd name="connsiteY213" fmla="*/ 247650 h 269557"/>
                  <a:gd name="connsiteX214" fmla="*/ 179070 w 349567"/>
                  <a:gd name="connsiteY214" fmla="*/ 245745 h 269557"/>
                  <a:gd name="connsiteX215" fmla="*/ 179070 w 349567"/>
                  <a:gd name="connsiteY215" fmla="*/ 245745 h 269557"/>
                  <a:gd name="connsiteX216" fmla="*/ 180023 w 349567"/>
                  <a:gd name="connsiteY216" fmla="*/ 244792 h 269557"/>
                  <a:gd name="connsiteX217" fmla="*/ 180975 w 349567"/>
                  <a:gd name="connsiteY217" fmla="*/ 243840 h 269557"/>
                  <a:gd name="connsiteX218" fmla="*/ 180975 w 349567"/>
                  <a:gd name="connsiteY218" fmla="*/ 243840 h 269557"/>
                  <a:gd name="connsiteX219" fmla="*/ 182880 w 349567"/>
                  <a:gd name="connsiteY219" fmla="*/ 241935 h 269557"/>
                  <a:gd name="connsiteX220" fmla="*/ 182880 w 349567"/>
                  <a:gd name="connsiteY220" fmla="*/ 241935 h 269557"/>
                  <a:gd name="connsiteX221" fmla="*/ 182880 w 349567"/>
                  <a:gd name="connsiteY221" fmla="*/ 241935 h 269557"/>
                  <a:gd name="connsiteX222" fmla="*/ 183833 w 349567"/>
                  <a:gd name="connsiteY222" fmla="*/ 240983 h 269557"/>
                  <a:gd name="connsiteX223" fmla="*/ 184785 w 349567"/>
                  <a:gd name="connsiteY223" fmla="*/ 240030 h 269557"/>
                  <a:gd name="connsiteX224" fmla="*/ 184785 w 349567"/>
                  <a:gd name="connsiteY224" fmla="*/ 240030 h 269557"/>
                  <a:gd name="connsiteX225" fmla="*/ 184785 w 349567"/>
                  <a:gd name="connsiteY225" fmla="*/ 240030 h 269557"/>
                  <a:gd name="connsiteX226" fmla="*/ 184785 w 349567"/>
                  <a:gd name="connsiteY226" fmla="*/ 240030 h 269557"/>
                  <a:gd name="connsiteX227" fmla="*/ 185738 w 349567"/>
                  <a:gd name="connsiteY227" fmla="*/ 239078 h 269557"/>
                  <a:gd name="connsiteX228" fmla="*/ 185738 w 349567"/>
                  <a:gd name="connsiteY228" fmla="*/ 239078 h 269557"/>
                  <a:gd name="connsiteX229" fmla="*/ 185738 w 349567"/>
                  <a:gd name="connsiteY229" fmla="*/ 239078 h 269557"/>
                  <a:gd name="connsiteX230" fmla="*/ 185738 w 349567"/>
                  <a:gd name="connsiteY230" fmla="*/ 238125 h 269557"/>
                  <a:gd name="connsiteX231" fmla="*/ 185738 w 349567"/>
                  <a:gd name="connsiteY231" fmla="*/ 238125 h 269557"/>
                  <a:gd name="connsiteX232" fmla="*/ 185738 w 349567"/>
                  <a:gd name="connsiteY232" fmla="*/ 237173 h 269557"/>
                  <a:gd name="connsiteX233" fmla="*/ 185738 w 349567"/>
                  <a:gd name="connsiteY233" fmla="*/ 237173 h 269557"/>
                  <a:gd name="connsiteX234" fmla="*/ 187642 w 349567"/>
                  <a:gd name="connsiteY234" fmla="*/ 234315 h 269557"/>
                  <a:gd name="connsiteX235" fmla="*/ 187642 w 349567"/>
                  <a:gd name="connsiteY235" fmla="*/ 234315 h 269557"/>
                  <a:gd name="connsiteX236" fmla="*/ 185738 w 349567"/>
                  <a:gd name="connsiteY236" fmla="*/ 236220 h 269557"/>
                  <a:gd name="connsiteX237" fmla="*/ 184785 w 349567"/>
                  <a:gd name="connsiteY237" fmla="*/ 235267 h 269557"/>
                  <a:gd name="connsiteX238" fmla="*/ 185738 w 349567"/>
                  <a:gd name="connsiteY238" fmla="*/ 234315 h 269557"/>
                  <a:gd name="connsiteX239" fmla="*/ 185738 w 349567"/>
                  <a:gd name="connsiteY239" fmla="*/ 234315 h 269557"/>
                  <a:gd name="connsiteX240" fmla="*/ 188595 w 349567"/>
                  <a:gd name="connsiteY240" fmla="*/ 231458 h 269557"/>
                  <a:gd name="connsiteX241" fmla="*/ 190500 w 349567"/>
                  <a:gd name="connsiteY241" fmla="*/ 230505 h 269557"/>
                  <a:gd name="connsiteX242" fmla="*/ 190500 w 349567"/>
                  <a:gd name="connsiteY242" fmla="*/ 230505 h 269557"/>
                  <a:gd name="connsiteX243" fmla="*/ 191453 w 349567"/>
                  <a:gd name="connsiteY243" fmla="*/ 229553 h 269557"/>
                  <a:gd name="connsiteX244" fmla="*/ 191453 w 349567"/>
                  <a:gd name="connsiteY244" fmla="*/ 229553 h 269557"/>
                  <a:gd name="connsiteX245" fmla="*/ 211455 w 349567"/>
                  <a:gd name="connsiteY245" fmla="*/ 221933 h 269557"/>
                  <a:gd name="connsiteX246" fmla="*/ 220028 w 349567"/>
                  <a:gd name="connsiteY246" fmla="*/ 221933 h 269557"/>
                  <a:gd name="connsiteX247" fmla="*/ 224790 w 349567"/>
                  <a:gd name="connsiteY247" fmla="*/ 222885 h 269557"/>
                  <a:gd name="connsiteX248" fmla="*/ 206692 w 349567"/>
                  <a:gd name="connsiteY248" fmla="*/ 228600 h 269557"/>
                  <a:gd name="connsiteX249" fmla="*/ 217170 w 349567"/>
                  <a:gd name="connsiteY249" fmla="*/ 193358 h 269557"/>
                  <a:gd name="connsiteX250" fmla="*/ 219075 w 349567"/>
                  <a:gd name="connsiteY250" fmla="*/ 192405 h 269557"/>
                  <a:gd name="connsiteX251" fmla="*/ 215265 w 349567"/>
                  <a:gd name="connsiteY251" fmla="*/ 192405 h 269557"/>
                  <a:gd name="connsiteX252" fmla="*/ 214313 w 349567"/>
                  <a:gd name="connsiteY252" fmla="*/ 191453 h 269557"/>
                  <a:gd name="connsiteX253" fmla="*/ 205740 w 349567"/>
                  <a:gd name="connsiteY253" fmla="*/ 193358 h 269557"/>
                  <a:gd name="connsiteX254" fmla="*/ 195263 w 349567"/>
                  <a:gd name="connsiteY254" fmla="*/ 198120 h 269557"/>
                  <a:gd name="connsiteX255" fmla="*/ 179070 w 349567"/>
                  <a:gd name="connsiteY255" fmla="*/ 206692 h 269557"/>
                  <a:gd name="connsiteX256" fmla="*/ 178117 w 349567"/>
                  <a:gd name="connsiteY256" fmla="*/ 205740 h 269557"/>
                  <a:gd name="connsiteX257" fmla="*/ 181928 w 349567"/>
                  <a:gd name="connsiteY257" fmla="*/ 201930 h 269557"/>
                  <a:gd name="connsiteX258" fmla="*/ 180975 w 349567"/>
                  <a:gd name="connsiteY258" fmla="*/ 200978 h 269557"/>
                  <a:gd name="connsiteX259" fmla="*/ 196215 w 349567"/>
                  <a:gd name="connsiteY259" fmla="*/ 187642 h 269557"/>
                  <a:gd name="connsiteX260" fmla="*/ 196215 w 349567"/>
                  <a:gd name="connsiteY260" fmla="*/ 185738 h 269557"/>
                  <a:gd name="connsiteX261" fmla="*/ 200978 w 349567"/>
                  <a:gd name="connsiteY261" fmla="*/ 180023 h 269557"/>
                  <a:gd name="connsiteX262" fmla="*/ 205740 w 349567"/>
                  <a:gd name="connsiteY262" fmla="*/ 175260 h 269557"/>
                  <a:gd name="connsiteX263" fmla="*/ 203835 w 349567"/>
                  <a:gd name="connsiteY263" fmla="*/ 173355 h 269557"/>
                  <a:gd name="connsiteX264" fmla="*/ 198120 w 349567"/>
                  <a:gd name="connsiteY264" fmla="*/ 172403 h 269557"/>
                  <a:gd name="connsiteX265" fmla="*/ 200978 w 349567"/>
                  <a:gd name="connsiteY265" fmla="*/ 170498 h 269557"/>
                  <a:gd name="connsiteX266" fmla="*/ 200025 w 349567"/>
                  <a:gd name="connsiteY266" fmla="*/ 169545 h 269557"/>
                  <a:gd name="connsiteX267" fmla="*/ 202883 w 349567"/>
                  <a:gd name="connsiteY267" fmla="*/ 166688 h 269557"/>
                  <a:gd name="connsiteX268" fmla="*/ 208598 w 349567"/>
                  <a:gd name="connsiteY268" fmla="*/ 164783 h 269557"/>
                  <a:gd name="connsiteX269" fmla="*/ 197167 w 349567"/>
                  <a:gd name="connsiteY269" fmla="*/ 163830 h 269557"/>
                  <a:gd name="connsiteX270" fmla="*/ 209550 w 349567"/>
                  <a:gd name="connsiteY270" fmla="*/ 148590 h 269557"/>
                  <a:gd name="connsiteX271" fmla="*/ 211455 w 349567"/>
                  <a:gd name="connsiteY271" fmla="*/ 149542 h 269557"/>
                  <a:gd name="connsiteX272" fmla="*/ 207645 w 349567"/>
                  <a:gd name="connsiteY272" fmla="*/ 154305 h 269557"/>
                  <a:gd name="connsiteX273" fmla="*/ 220028 w 349567"/>
                  <a:gd name="connsiteY273" fmla="*/ 157163 h 269557"/>
                  <a:gd name="connsiteX274" fmla="*/ 218123 w 349567"/>
                  <a:gd name="connsiteY274" fmla="*/ 158115 h 269557"/>
                  <a:gd name="connsiteX275" fmla="*/ 226695 w 349567"/>
                  <a:gd name="connsiteY275" fmla="*/ 160973 h 269557"/>
                  <a:gd name="connsiteX276" fmla="*/ 221933 w 349567"/>
                  <a:gd name="connsiteY276" fmla="*/ 160973 h 269557"/>
                  <a:gd name="connsiteX277" fmla="*/ 267653 w 349567"/>
                  <a:gd name="connsiteY277" fmla="*/ 179070 h 269557"/>
                  <a:gd name="connsiteX278" fmla="*/ 232410 w 349567"/>
                  <a:gd name="connsiteY278" fmla="*/ 189548 h 269557"/>
                  <a:gd name="connsiteX279" fmla="*/ 228600 w 349567"/>
                  <a:gd name="connsiteY279" fmla="*/ 188595 h 269557"/>
                  <a:gd name="connsiteX280" fmla="*/ 227648 w 349567"/>
                  <a:gd name="connsiteY280" fmla="*/ 190500 h 269557"/>
                  <a:gd name="connsiteX281" fmla="*/ 222885 w 349567"/>
                  <a:gd name="connsiteY281" fmla="*/ 191453 h 269557"/>
                  <a:gd name="connsiteX282" fmla="*/ 217170 w 349567"/>
                  <a:gd name="connsiteY282" fmla="*/ 193358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</a:cxnLst>
                <a:rect l="l" t="t" r="r" b="b"/>
                <a:pathLst>
                  <a:path w="349567" h="269557">
                    <a:moveTo>
                      <a:pt x="306705" y="237173"/>
                    </a:moveTo>
                    <a:cubicBezTo>
                      <a:pt x="309563" y="234315"/>
                      <a:pt x="312420" y="231458"/>
                      <a:pt x="315278" y="227648"/>
                    </a:cubicBezTo>
                    <a:lnTo>
                      <a:pt x="315278" y="227648"/>
                    </a:lnTo>
                    <a:cubicBezTo>
                      <a:pt x="320993" y="221933"/>
                      <a:pt x="325755" y="215265"/>
                      <a:pt x="332423" y="210503"/>
                    </a:cubicBezTo>
                    <a:cubicBezTo>
                      <a:pt x="334328" y="208598"/>
                      <a:pt x="336233" y="207645"/>
                      <a:pt x="338138" y="205740"/>
                    </a:cubicBezTo>
                    <a:cubicBezTo>
                      <a:pt x="339090" y="204788"/>
                      <a:pt x="339090" y="203835"/>
                      <a:pt x="339090" y="203835"/>
                    </a:cubicBezTo>
                    <a:cubicBezTo>
                      <a:pt x="336233" y="204788"/>
                      <a:pt x="335280" y="206692"/>
                      <a:pt x="332423" y="207645"/>
                    </a:cubicBezTo>
                    <a:cubicBezTo>
                      <a:pt x="331470" y="207645"/>
                      <a:pt x="331470" y="206692"/>
                      <a:pt x="331470" y="206692"/>
                    </a:cubicBezTo>
                    <a:cubicBezTo>
                      <a:pt x="333375" y="205740"/>
                      <a:pt x="335280" y="203835"/>
                      <a:pt x="337185" y="202883"/>
                    </a:cubicBezTo>
                    <a:cubicBezTo>
                      <a:pt x="337185" y="202883"/>
                      <a:pt x="337185" y="202883"/>
                      <a:pt x="337185" y="202883"/>
                    </a:cubicBezTo>
                    <a:cubicBezTo>
                      <a:pt x="336233" y="202883"/>
                      <a:pt x="336233" y="201930"/>
                      <a:pt x="336233" y="201930"/>
                    </a:cubicBezTo>
                    <a:cubicBezTo>
                      <a:pt x="329565" y="201930"/>
                      <a:pt x="324803" y="205740"/>
                      <a:pt x="320040" y="210503"/>
                    </a:cubicBezTo>
                    <a:cubicBezTo>
                      <a:pt x="319088" y="211455"/>
                      <a:pt x="318135" y="209550"/>
                      <a:pt x="317183" y="209550"/>
                    </a:cubicBezTo>
                    <a:cubicBezTo>
                      <a:pt x="309563" y="212408"/>
                      <a:pt x="303848" y="219075"/>
                      <a:pt x="296228" y="221933"/>
                    </a:cubicBezTo>
                    <a:lnTo>
                      <a:pt x="296228" y="220980"/>
                    </a:lnTo>
                    <a:cubicBezTo>
                      <a:pt x="293370" y="221933"/>
                      <a:pt x="290513" y="223838"/>
                      <a:pt x="286703" y="224790"/>
                    </a:cubicBezTo>
                    <a:cubicBezTo>
                      <a:pt x="281940" y="225742"/>
                      <a:pt x="278130" y="225742"/>
                      <a:pt x="274320" y="225742"/>
                    </a:cubicBezTo>
                    <a:cubicBezTo>
                      <a:pt x="268605" y="226695"/>
                      <a:pt x="261938" y="227648"/>
                      <a:pt x="256223" y="228600"/>
                    </a:cubicBezTo>
                    <a:cubicBezTo>
                      <a:pt x="256223" y="228600"/>
                      <a:pt x="256223" y="228600"/>
                      <a:pt x="255270" y="228600"/>
                    </a:cubicBezTo>
                    <a:cubicBezTo>
                      <a:pt x="252413" y="229553"/>
                      <a:pt x="248603" y="230505"/>
                      <a:pt x="245745" y="232410"/>
                    </a:cubicBezTo>
                    <a:cubicBezTo>
                      <a:pt x="245745" y="232410"/>
                      <a:pt x="245745" y="232410"/>
                      <a:pt x="245745" y="232410"/>
                    </a:cubicBezTo>
                    <a:cubicBezTo>
                      <a:pt x="245745" y="232410"/>
                      <a:pt x="244792" y="233363"/>
                      <a:pt x="244792" y="233363"/>
                    </a:cubicBezTo>
                    <a:cubicBezTo>
                      <a:pt x="243840" y="234315"/>
                      <a:pt x="242888" y="235267"/>
                      <a:pt x="240983" y="236220"/>
                    </a:cubicBezTo>
                    <a:cubicBezTo>
                      <a:pt x="238125" y="238125"/>
                      <a:pt x="235267" y="240983"/>
                      <a:pt x="232410" y="242888"/>
                    </a:cubicBezTo>
                    <a:cubicBezTo>
                      <a:pt x="232410" y="242888"/>
                      <a:pt x="231458" y="242888"/>
                      <a:pt x="231458" y="242888"/>
                    </a:cubicBezTo>
                    <a:cubicBezTo>
                      <a:pt x="228600" y="245745"/>
                      <a:pt x="225742" y="248603"/>
                      <a:pt x="222885" y="250508"/>
                    </a:cubicBezTo>
                    <a:cubicBezTo>
                      <a:pt x="222885" y="250508"/>
                      <a:pt x="221933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49555"/>
                    </a:cubicBezTo>
                    <a:cubicBezTo>
                      <a:pt x="220980" y="248603"/>
                      <a:pt x="221933" y="247650"/>
                      <a:pt x="221933" y="247650"/>
                    </a:cubicBezTo>
                    <a:cubicBezTo>
                      <a:pt x="222885" y="246698"/>
                      <a:pt x="222885" y="245745"/>
                      <a:pt x="223838" y="245745"/>
                    </a:cubicBezTo>
                    <a:cubicBezTo>
                      <a:pt x="224790" y="244792"/>
                      <a:pt x="224790" y="243840"/>
                      <a:pt x="225742" y="242888"/>
                    </a:cubicBezTo>
                    <a:cubicBezTo>
                      <a:pt x="225742" y="242888"/>
                      <a:pt x="225742" y="241935"/>
                      <a:pt x="225742" y="241935"/>
                    </a:cubicBezTo>
                    <a:cubicBezTo>
                      <a:pt x="225742" y="241935"/>
                      <a:pt x="225742" y="241935"/>
                      <a:pt x="224790" y="241935"/>
                    </a:cubicBezTo>
                    <a:cubicBezTo>
                      <a:pt x="227648" y="239078"/>
                      <a:pt x="230505" y="237173"/>
                      <a:pt x="233363" y="235267"/>
                    </a:cubicBezTo>
                    <a:lnTo>
                      <a:pt x="233363" y="235267"/>
                    </a:lnTo>
                    <a:cubicBezTo>
                      <a:pt x="233363" y="235267"/>
                      <a:pt x="232410" y="235267"/>
                      <a:pt x="232410" y="234315"/>
                    </a:cubicBezTo>
                    <a:cubicBezTo>
                      <a:pt x="232410" y="234315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4315" y="233363"/>
                      <a:pt x="233363" y="234315"/>
                      <a:pt x="233363" y="234315"/>
                    </a:cubicBezTo>
                    <a:cubicBezTo>
                      <a:pt x="232410" y="235267"/>
                      <a:pt x="231458" y="238125"/>
                      <a:pt x="229553" y="237173"/>
                    </a:cubicBezTo>
                    <a:cubicBezTo>
                      <a:pt x="229553" y="237173"/>
                      <a:pt x="228600" y="237173"/>
                      <a:pt x="228600" y="237173"/>
                    </a:cubicBezTo>
                    <a:cubicBezTo>
                      <a:pt x="228600" y="237173"/>
                      <a:pt x="228600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6220"/>
                    </a:cubicBezTo>
                    <a:cubicBezTo>
                      <a:pt x="227648" y="236220"/>
                      <a:pt x="227648" y="236220"/>
                      <a:pt x="227648" y="236220"/>
                    </a:cubicBezTo>
                    <a:cubicBezTo>
                      <a:pt x="227648" y="236220"/>
                      <a:pt x="227648" y="235267"/>
                      <a:pt x="228600" y="235267"/>
                    </a:cubicBezTo>
                    <a:cubicBezTo>
                      <a:pt x="228600" y="235267"/>
                      <a:pt x="228600" y="235267"/>
                      <a:pt x="228600" y="234315"/>
                    </a:cubicBezTo>
                    <a:cubicBezTo>
                      <a:pt x="228600" y="234315"/>
                      <a:pt x="228600" y="233363"/>
                      <a:pt x="229553" y="233363"/>
                    </a:cubicBezTo>
                    <a:cubicBezTo>
                      <a:pt x="229553" y="233363"/>
                      <a:pt x="229553" y="232410"/>
                      <a:pt x="229553" y="232410"/>
                    </a:cubicBezTo>
                    <a:cubicBezTo>
                      <a:pt x="230505" y="231458"/>
                      <a:pt x="231458" y="230505"/>
                      <a:pt x="233363" y="229553"/>
                    </a:cubicBezTo>
                    <a:lnTo>
                      <a:pt x="233363" y="229553"/>
                    </a:lnTo>
                    <a:cubicBezTo>
                      <a:pt x="235267" y="228600"/>
                      <a:pt x="237173" y="227648"/>
                      <a:pt x="239078" y="226695"/>
                    </a:cubicBezTo>
                    <a:cubicBezTo>
                      <a:pt x="239078" y="226695"/>
                      <a:pt x="240030" y="225742"/>
                      <a:pt x="240030" y="225742"/>
                    </a:cubicBezTo>
                    <a:cubicBezTo>
                      <a:pt x="237173" y="226695"/>
                      <a:pt x="234315" y="227648"/>
                      <a:pt x="231458" y="229553"/>
                    </a:cubicBezTo>
                    <a:cubicBezTo>
                      <a:pt x="231458" y="229553"/>
                      <a:pt x="230505" y="229553"/>
                      <a:pt x="230505" y="229553"/>
                    </a:cubicBezTo>
                    <a:cubicBezTo>
                      <a:pt x="230505" y="229553"/>
                      <a:pt x="229553" y="229553"/>
                      <a:pt x="229553" y="229553"/>
                    </a:cubicBezTo>
                    <a:cubicBezTo>
                      <a:pt x="229553" y="229553"/>
                      <a:pt x="229553" y="229553"/>
                      <a:pt x="229553" y="229553"/>
                    </a:cubicBezTo>
                    <a:cubicBezTo>
                      <a:pt x="230505" y="228600"/>
                      <a:pt x="231458" y="227648"/>
                      <a:pt x="232410" y="226695"/>
                    </a:cubicBezTo>
                    <a:cubicBezTo>
                      <a:pt x="233363" y="226695"/>
                      <a:pt x="233363" y="226695"/>
                      <a:pt x="233363" y="227648"/>
                    </a:cubicBezTo>
                    <a:cubicBezTo>
                      <a:pt x="249555" y="215265"/>
                      <a:pt x="272415" y="218123"/>
                      <a:pt x="291465" y="211455"/>
                    </a:cubicBezTo>
                    <a:cubicBezTo>
                      <a:pt x="293370" y="210503"/>
                      <a:pt x="294323" y="209550"/>
                      <a:pt x="296228" y="208598"/>
                    </a:cubicBezTo>
                    <a:cubicBezTo>
                      <a:pt x="299085" y="207645"/>
                      <a:pt x="300990" y="204788"/>
                      <a:pt x="303848" y="203835"/>
                    </a:cubicBezTo>
                    <a:cubicBezTo>
                      <a:pt x="307658" y="200978"/>
                      <a:pt x="310515" y="197167"/>
                      <a:pt x="312420" y="192405"/>
                    </a:cubicBezTo>
                    <a:cubicBezTo>
                      <a:pt x="312420" y="191453"/>
                      <a:pt x="311468" y="191453"/>
                      <a:pt x="311468" y="191453"/>
                    </a:cubicBezTo>
                    <a:cubicBezTo>
                      <a:pt x="304800" y="199073"/>
                      <a:pt x="297180" y="203835"/>
                      <a:pt x="288608" y="208598"/>
                    </a:cubicBezTo>
                    <a:cubicBezTo>
                      <a:pt x="278130" y="214313"/>
                      <a:pt x="265748" y="213360"/>
                      <a:pt x="255270" y="214313"/>
                    </a:cubicBezTo>
                    <a:cubicBezTo>
                      <a:pt x="256223" y="213360"/>
                      <a:pt x="257175" y="213360"/>
                      <a:pt x="258128" y="213360"/>
                    </a:cubicBezTo>
                    <a:cubicBezTo>
                      <a:pt x="258128" y="211455"/>
                      <a:pt x="259080" y="211455"/>
                      <a:pt x="260033" y="210503"/>
                    </a:cubicBezTo>
                    <a:lnTo>
                      <a:pt x="261938" y="210503"/>
                    </a:lnTo>
                    <a:cubicBezTo>
                      <a:pt x="262890" y="210503"/>
                      <a:pt x="262890" y="209550"/>
                      <a:pt x="262890" y="209550"/>
                    </a:cubicBezTo>
                    <a:cubicBezTo>
                      <a:pt x="263843" y="209550"/>
                      <a:pt x="265748" y="208598"/>
                      <a:pt x="264795" y="208598"/>
                    </a:cubicBezTo>
                    <a:cubicBezTo>
                      <a:pt x="262890" y="206692"/>
                      <a:pt x="260033" y="210503"/>
                      <a:pt x="257175" y="208598"/>
                    </a:cubicBezTo>
                    <a:cubicBezTo>
                      <a:pt x="258128" y="207645"/>
                      <a:pt x="258128" y="205740"/>
                      <a:pt x="259080" y="205740"/>
                    </a:cubicBezTo>
                    <a:lnTo>
                      <a:pt x="260985" y="205740"/>
                    </a:lnTo>
                    <a:cubicBezTo>
                      <a:pt x="260985" y="204788"/>
                      <a:pt x="261938" y="203835"/>
                      <a:pt x="261938" y="203835"/>
                    </a:cubicBezTo>
                    <a:cubicBezTo>
                      <a:pt x="269558" y="199073"/>
                      <a:pt x="277178" y="195263"/>
                      <a:pt x="283845" y="191453"/>
                    </a:cubicBezTo>
                    <a:cubicBezTo>
                      <a:pt x="281940" y="191453"/>
                      <a:pt x="280988" y="193358"/>
                      <a:pt x="280035" y="192405"/>
                    </a:cubicBezTo>
                    <a:cubicBezTo>
                      <a:pt x="280988" y="192405"/>
                      <a:pt x="280035" y="190500"/>
                      <a:pt x="280988" y="190500"/>
                    </a:cubicBezTo>
                    <a:cubicBezTo>
                      <a:pt x="286703" y="188595"/>
                      <a:pt x="291465" y="185738"/>
                      <a:pt x="297180" y="183833"/>
                    </a:cubicBezTo>
                    <a:cubicBezTo>
                      <a:pt x="295275" y="183833"/>
                      <a:pt x="293370" y="185738"/>
                      <a:pt x="291465" y="183833"/>
                    </a:cubicBezTo>
                    <a:cubicBezTo>
                      <a:pt x="292418" y="182880"/>
                      <a:pt x="293370" y="181928"/>
                      <a:pt x="294323" y="181928"/>
                    </a:cubicBezTo>
                    <a:lnTo>
                      <a:pt x="294323" y="180023"/>
                    </a:lnTo>
                    <a:cubicBezTo>
                      <a:pt x="294323" y="179070"/>
                      <a:pt x="295275" y="179070"/>
                      <a:pt x="295275" y="179070"/>
                    </a:cubicBezTo>
                    <a:cubicBezTo>
                      <a:pt x="294323" y="179070"/>
                      <a:pt x="294323" y="178117"/>
                      <a:pt x="294323" y="178117"/>
                    </a:cubicBezTo>
                    <a:cubicBezTo>
                      <a:pt x="295275" y="177165"/>
                      <a:pt x="296228" y="177165"/>
                      <a:pt x="297180" y="176213"/>
                    </a:cubicBezTo>
                    <a:cubicBezTo>
                      <a:pt x="296228" y="176213"/>
                      <a:pt x="295275" y="176213"/>
                      <a:pt x="295275" y="175260"/>
                    </a:cubicBezTo>
                    <a:cubicBezTo>
                      <a:pt x="297180" y="173355"/>
                      <a:pt x="299085" y="172403"/>
                      <a:pt x="301943" y="172403"/>
                    </a:cubicBezTo>
                    <a:cubicBezTo>
                      <a:pt x="300990" y="171450"/>
                      <a:pt x="300038" y="172403"/>
                      <a:pt x="300038" y="171450"/>
                    </a:cubicBezTo>
                    <a:cubicBezTo>
                      <a:pt x="300038" y="170498"/>
                      <a:pt x="300990" y="170498"/>
                      <a:pt x="300990" y="170498"/>
                    </a:cubicBezTo>
                    <a:lnTo>
                      <a:pt x="300990" y="170498"/>
                    </a:lnTo>
                    <a:cubicBezTo>
                      <a:pt x="300038" y="169545"/>
                      <a:pt x="300038" y="168592"/>
                      <a:pt x="300038" y="168592"/>
                    </a:cubicBezTo>
                    <a:cubicBezTo>
                      <a:pt x="302895" y="164783"/>
                      <a:pt x="302895" y="160020"/>
                      <a:pt x="304800" y="156210"/>
                    </a:cubicBezTo>
                    <a:cubicBezTo>
                      <a:pt x="303848" y="156210"/>
                      <a:pt x="303848" y="156210"/>
                      <a:pt x="303848" y="155258"/>
                    </a:cubicBezTo>
                    <a:cubicBezTo>
                      <a:pt x="299085" y="160973"/>
                      <a:pt x="290513" y="162878"/>
                      <a:pt x="282893" y="164783"/>
                    </a:cubicBezTo>
                    <a:lnTo>
                      <a:pt x="280035" y="164783"/>
                    </a:lnTo>
                    <a:cubicBezTo>
                      <a:pt x="277178" y="165735"/>
                      <a:pt x="274320" y="165735"/>
                      <a:pt x="271463" y="163830"/>
                    </a:cubicBezTo>
                    <a:cubicBezTo>
                      <a:pt x="269558" y="162878"/>
                      <a:pt x="268605" y="160973"/>
                      <a:pt x="266700" y="160020"/>
                    </a:cubicBezTo>
                    <a:cubicBezTo>
                      <a:pt x="262890" y="157163"/>
                      <a:pt x="258128" y="155258"/>
                      <a:pt x="254317" y="154305"/>
                    </a:cubicBezTo>
                    <a:cubicBezTo>
                      <a:pt x="240983" y="150495"/>
                      <a:pt x="227648" y="148590"/>
                      <a:pt x="215265" y="148590"/>
                    </a:cubicBezTo>
                    <a:cubicBezTo>
                      <a:pt x="220980" y="145733"/>
                      <a:pt x="226695" y="145733"/>
                      <a:pt x="233363" y="143828"/>
                    </a:cubicBezTo>
                    <a:cubicBezTo>
                      <a:pt x="241935" y="140970"/>
                      <a:pt x="250508" y="138113"/>
                      <a:pt x="259080" y="139065"/>
                    </a:cubicBezTo>
                    <a:cubicBezTo>
                      <a:pt x="257175" y="138113"/>
                      <a:pt x="255270" y="139065"/>
                      <a:pt x="254317" y="139065"/>
                    </a:cubicBezTo>
                    <a:cubicBezTo>
                      <a:pt x="246698" y="138113"/>
                      <a:pt x="240030" y="140970"/>
                      <a:pt x="232410" y="141923"/>
                    </a:cubicBezTo>
                    <a:cubicBezTo>
                      <a:pt x="227648" y="142875"/>
                      <a:pt x="222885" y="144780"/>
                      <a:pt x="217170" y="145733"/>
                    </a:cubicBezTo>
                    <a:cubicBezTo>
                      <a:pt x="214313" y="146685"/>
                      <a:pt x="212408" y="149542"/>
                      <a:pt x="208598" y="149542"/>
                    </a:cubicBezTo>
                    <a:lnTo>
                      <a:pt x="208598" y="147638"/>
                    </a:lnTo>
                    <a:cubicBezTo>
                      <a:pt x="213360" y="141923"/>
                      <a:pt x="220028" y="135255"/>
                      <a:pt x="227648" y="135255"/>
                    </a:cubicBezTo>
                    <a:cubicBezTo>
                      <a:pt x="237173" y="133350"/>
                      <a:pt x="245745" y="135255"/>
                      <a:pt x="254317" y="136208"/>
                    </a:cubicBezTo>
                    <a:cubicBezTo>
                      <a:pt x="260985" y="137160"/>
                      <a:pt x="266700" y="138113"/>
                      <a:pt x="273368" y="140017"/>
                    </a:cubicBezTo>
                    <a:cubicBezTo>
                      <a:pt x="276225" y="140017"/>
                      <a:pt x="276225" y="143828"/>
                      <a:pt x="278130" y="144780"/>
                    </a:cubicBezTo>
                    <a:cubicBezTo>
                      <a:pt x="280988" y="145733"/>
                      <a:pt x="283845" y="144780"/>
                      <a:pt x="287655" y="146685"/>
                    </a:cubicBezTo>
                    <a:cubicBezTo>
                      <a:pt x="287655" y="145733"/>
                      <a:pt x="286703" y="144780"/>
                      <a:pt x="287655" y="143828"/>
                    </a:cubicBezTo>
                    <a:cubicBezTo>
                      <a:pt x="289560" y="141923"/>
                      <a:pt x="292418" y="144780"/>
                      <a:pt x="294323" y="142875"/>
                    </a:cubicBezTo>
                    <a:cubicBezTo>
                      <a:pt x="298133" y="140017"/>
                      <a:pt x="290513" y="136208"/>
                      <a:pt x="288608" y="132398"/>
                    </a:cubicBezTo>
                    <a:cubicBezTo>
                      <a:pt x="288608" y="131445"/>
                      <a:pt x="289560" y="131445"/>
                      <a:pt x="289560" y="131445"/>
                    </a:cubicBezTo>
                    <a:cubicBezTo>
                      <a:pt x="293370" y="135255"/>
                      <a:pt x="296228" y="139065"/>
                      <a:pt x="301943" y="141923"/>
                    </a:cubicBezTo>
                    <a:cubicBezTo>
                      <a:pt x="304800" y="142875"/>
                      <a:pt x="310515" y="144780"/>
                      <a:pt x="309563" y="140970"/>
                    </a:cubicBezTo>
                    <a:cubicBezTo>
                      <a:pt x="306705" y="135255"/>
                      <a:pt x="301943" y="130492"/>
                      <a:pt x="298133" y="125730"/>
                    </a:cubicBezTo>
                    <a:lnTo>
                      <a:pt x="298133" y="123825"/>
                    </a:lnTo>
                    <a:cubicBezTo>
                      <a:pt x="297180" y="123825"/>
                      <a:pt x="297180" y="122873"/>
                      <a:pt x="296228" y="122873"/>
                    </a:cubicBezTo>
                    <a:lnTo>
                      <a:pt x="296228" y="120015"/>
                    </a:lnTo>
                    <a:cubicBezTo>
                      <a:pt x="294323" y="119063"/>
                      <a:pt x="294323" y="117158"/>
                      <a:pt x="293370" y="115253"/>
                    </a:cubicBezTo>
                    <a:cubicBezTo>
                      <a:pt x="291465" y="112395"/>
                      <a:pt x="292418" y="109538"/>
                      <a:pt x="291465" y="105728"/>
                    </a:cubicBezTo>
                    <a:cubicBezTo>
                      <a:pt x="291465" y="103823"/>
                      <a:pt x="291465" y="100965"/>
                      <a:pt x="290513" y="98108"/>
                    </a:cubicBezTo>
                    <a:cubicBezTo>
                      <a:pt x="288608" y="89535"/>
                      <a:pt x="286703" y="81915"/>
                      <a:pt x="285750" y="73342"/>
                    </a:cubicBezTo>
                    <a:cubicBezTo>
                      <a:pt x="284798" y="63817"/>
                      <a:pt x="291465" y="56197"/>
                      <a:pt x="296228" y="47625"/>
                    </a:cubicBezTo>
                    <a:cubicBezTo>
                      <a:pt x="300038" y="41910"/>
                      <a:pt x="303848" y="35242"/>
                      <a:pt x="310515" y="31433"/>
                    </a:cubicBezTo>
                    <a:cubicBezTo>
                      <a:pt x="312420" y="25718"/>
                      <a:pt x="316230" y="20003"/>
                      <a:pt x="320040" y="15240"/>
                    </a:cubicBezTo>
                    <a:cubicBezTo>
                      <a:pt x="323850" y="10478"/>
                      <a:pt x="330518" y="7620"/>
                      <a:pt x="336233" y="4763"/>
                    </a:cubicBezTo>
                    <a:cubicBezTo>
                      <a:pt x="342900" y="1905"/>
                      <a:pt x="349568" y="0"/>
                      <a:pt x="349568" y="0"/>
                    </a:cubicBezTo>
                    <a:lnTo>
                      <a:pt x="0" y="0"/>
                    </a:lnTo>
                    <a:lnTo>
                      <a:pt x="0" y="269558"/>
                    </a:lnTo>
                    <a:lnTo>
                      <a:pt x="247650" y="269558"/>
                    </a:lnTo>
                    <a:cubicBezTo>
                      <a:pt x="257175" y="262890"/>
                      <a:pt x="266700" y="259080"/>
                      <a:pt x="280988" y="252413"/>
                    </a:cubicBezTo>
                    <a:cubicBezTo>
                      <a:pt x="286703" y="249555"/>
                      <a:pt x="301943" y="242888"/>
                      <a:pt x="306705" y="237173"/>
                    </a:cubicBezTo>
                    <a:moveTo>
                      <a:pt x="227648" y="200978"/>
                    </a:moveTo>
                    <a:cubicBezTo>
                      <a:pt x="226695" y="200978"/>
                      <a:pt x="224790" y="201930"/>
                      <a:pt x="224790" y="200025"/>
                    </a:cubicBezTo>
                    <a:cubicBezTo>
                      <a:pt x="225742" y="197167"/>
                      <a:pt x="228600" y="197167"/>
                      <a:pt x="230505" y="196215"/>
                    </a:cubicBezTo>
                    <a:cubicBezTo>
                      <a:pt x="231458" y="195263"/>
                      <a:pt x="233363" y="194310"/>
                      <a:pt x="234315" y="195263"/>
                    </a:cubicBezTo>
                    <a:cubicBezTo>
                      <a:pt x="235267" y="197167"/>
                      <a:pt x="237173" y="196215"/>
                      <a:pt x="238125" y="197167"/>
                    </a:cubicBezTo>
                    <a:cubicBezTo>
                      <a:pt x="235267" y="200978"/>
                      <a:pt x="231458" y="200025"/>
                      <a:pt x="227648" y="200978"/>
                    </a:cubicBezTo>
                    <a:moveTo>
                      <a:pt x="149542" y="189548"/>
                    </a:moveTo>
                    <a:cubicBezTo>
                      <a:pt x="149542" y="189548"/>
                      <a:pt x="148590" y="188595"/>
                      <a:pt x="148590" y="188595"/>
                    </a:cubicBezTo>
                    <a:cubicBezTo>
                      <a:pt x="155258" y="180023"/>
                      <a:pt x="160020" y="171450"/>
                      <a:pt x="164783" y="162878"/>
                    </a:cubicBezTo>
                    <a:cubicBezTo>
                      <a:pt x="171450" y="159067"/>
                      <a:pt x="177165" y="154305"/>
                      <a:pt x="181928" y="148590"/>
                    </a:cubicBezTo>
                    <a:cubicBezTo>
                      <a:pt x="190500" y="139065"/>
                      <a:pt x="200025" y="131445"/>
                      <a:pt x="210503" y="125730"/>
                    </a:cubicBezTo>
                    <a:cubicBezTo>
                      <a:pt x="214313" y="123825"/>
                      <a:pt x="220028" y="124778"/>
                      <a:pt x="223838" y="126683"/>
                    </a:cubicBezTo>
                    <a:cubicBezTo>
                      <a:pt x="221933" y="128588"/>
                      <a:pt x="220028" y="128588"/>
                      <a:pt x="218123" y="129540"/>
                    </a:cubicBezTo>
                    <a:cubicBezTo>
                      <a:pt x="217170" y="129540"/>
                      <a:pt x="217170" y="129540"/>
                      <a:pt x="216217" y="128588"/>
                    </a:cubicBezTo>
                    <a:cubicBezTo>
                      <a:pt x="217170" y="127635"/>
                      <a:pt x="217170" y="127635"/>
                      <a:pt x="217170" y="126683"/>
                    </a:cubicBezTo>
                    <a:cubicBezTo>
                      <a:pt x="212408" y="132398"/>
                      <a:pt x="204788" y="135255"/>
                      <a:pt x="200978" y="141923"/>
                    </a:cubicBezTo>
                    <a:cubicBezTo>
                      <a:pt x="198120" y="146685"/>
                      <a:pt x="196215" y="153353"/>
                      <a:pt x="189548" y="155258"/>
                    </a:cubicBezTo>
                    <a:cubicBezTo>
                      <a:pt x="187642" y="156210"/>
                      <a:pt x="190500" y="153353"/>
                      <a:pt x="188595" y="154305"/>
                    </a:cubicBezTo>
                    <a:cubicBezTo>
                      <a:pt x="173355" y="164783"/>
                      <a:pt x="161925" y="176213"/>
                      <a:pt x="149542" y="189548"/>
                    </a:cubicBezTo>
                    <a:moveTo>
                      <a:pt x="192405" y="156210"/>
                    </a:moveTo>
                    <a:cubicBezTo>
                      <a:pt x="191453" y="157163"/>
                      <a:pt x="191453" y="157163"/>
                      <a:pt x="190500" y="158115"/>
                    </a:cubicBezTo>
                    <a:cubicBezTo>
                      <a:pt x="189548" y="159067"/>
                      <a:pt x="189548" y="160020"/>
                      <a:pt x="188595" y="160020"/>
                    </a:cubicBezTo>
                    <a:cubicBezTo>
                      <a:pt x="187642" y="160020"/>
                      <a:pt x="187642" y="160020"/>
                      <a:pt x="187642" y="159067"/>
                    </a:cubicBezTo>
                    <a:cubicBezTo>
                      <a:pt x="188595" y="157163"/>
                      <a:pt x="189548" y="155258"/>
                      <a:pt x="191453" y="154305"/>
                    </a:cubicBezTo>
                    <a:cubicBezTo>
                      <a:pt x="192405" y="155258"/>
                      <a:pt x="192405" y="155258"/>
                      <a:pt x="192405" y="156210"/>
                    </a:cubicBezTo>
                    <a:moveTo>
                      <a:pt x="216217" y="232410"/>
                    </a:moveTo>
                    <a:cubicBezTo>
                      <a:pt x="216217" y="233363"/>
                      <a:pt x="215265" y="233363"/>
                      <a:pt x="215265" y="234315"/>
                    </a:cubicBezTo>
                    <a:cubicBezTo>
                      <a:pt x="216217" y="234315"/>
                      <a:pt x="216217" y="234315"/>
                      <a:pt x="216217" y="235267"/>
                    </a:cubicBezTo>
                    <a:cubicBezTo>
                      <a:pt x="215265" y="236220"/>
                      <a:pt x="214313" y="237173"/>
                      <a:pt x="212408" y="238125"/>
                    </a:cubicBezTo>
                    <a:cubicBezTo>
                      <a:pt x="212408" y="238125"/>
                      <a:pt x="212408" y="238125"/>
                      <a:pt x="211455" y="238125"/>
                    </a:cubicBezTo>
                    <a:cubicBezTo>
                      <a:pt x="210503" y="239078"/>
                      <a:pt x="210503" y="239078"/>
                      <a:pt x="209550" y="240030"/>
                    </a:cubicBezTo>
                    <a:cubicBezTo>
                      <a:pt x="208598" y="240983"/>
                      <a:pt x="205740" y="240030"/>
                      <a:pt x="206692" y="239078"/>
                    </a:cubicBezTo>
                    <a:cubicBezTo>
                      <a:pt x="207645" y="238125"/>
                      <a:pt x="209550" y="236220"/>
                      <a:pt x="210503" y="235267"/>
                    </a:cubicBezTo>
                    <a:cubicBezTo>
                      <a:pt x="211455" y="234315"/>
                      <a:pt x="212408" y="234315"/>
                      <a:pt x="212408" y="233363"/>
                    </a:cubicBezTo>
                    <a:cubicBezTo>
                      <a:pt x="212408" y="233363"/>
                      <a:pt x="213360" y="232410"/>
                      <a:pt x="213360" y="232410"/>
                    </a:cubicBezTo>
                    <a:cubicBezTo>
                      <a:pt x="213360" y="231458"/>
                      <a:pt x="216217" y="231458"/>
                      <a:pt x="216217" y="232410"/>
                    </a:cubicBezTo>
                    <a:moveTo>
                      <a:pt x="206692" y="228600"/>
                    </a:moveTo>
                    <a:cubicBezTo>
                      <a:pt x="206692" y="228600"/>
                      <a:pt x="206692" y="228600"/>
                      <a:pt x="206692" y="228600"/>
                    </a:cubicBezTo>
                    <a:cubicBezTo>
                      <a:pt x="204788" y="230505"/>
                      <a:pt x="202883" y="231458"/>
                      <a:pt x="200978" y="232410"/>
                    </a:cubicBezTo>
                    <a:cubicBezTo>
                      <a:pt x="199073" y="233363"/>
                      <a:pt x="196215" y="234315"/>
                      <a:pt x="194310" y="235267"/>
                    </a:cubicBezTo>
                    <a:cubicBezTo>
                      <a:pt x="194310" y="235267"/>
                      <a:pt x="194310" y="235267"/>
                      <a:pt x="194310" y="235267"/>
                    </a:cubicBezTo>
                    <a:cubicBezTo>
                      <a:pt x="194310" y="235267"/>
                      <a:pt x="193358" y="235267"/>
                      <a:pt x="193358" y="235267"/>
                    </a:cubicBezTo>
                    <a:cubicBezTo>
                      <a:pt x="191453" y="236220"/>
                      <a:pt x="189548" y="238125"/>
                      <a:pt x="188595" y="239078"/>
                    </a:cubicBezTo>
                    <a:cubicBezTo>
                      <a:pt x="188595" y="239078"/>
                      <a:pt x="188595" y="239078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5738" y="241935"/>
                      <a:pt x="185738" y="241935"/>
                    </a:cubicBezTo>
                    <a:cubicBezTo>
                      <a:pt x="185738" y="241935"/>
                      <a:pt x="185738" y="242888"/>
                      <a:pt x="184785" y="242888"/>
                    </a:cubicBezTo>
                    <a:cubicBezTo>
                      <a:pt x="184785" y="242888"/>
                      <a:pt x="183833" y="242888"/>
                      <a:pt x="183833" y="242888"/>
                    </a:cubicBezTo>
                    <a:cubicBezTo>
                      <a:pt x="183833" y="242888"/>
                      <a:pt x="183833" y="242888"/>
                      <a:pt x="183833" y="242888"/>
                    </a:cubicBezTo>
                    <a:cubicBezTo>
                      <a:pt x="183833" y="242888"/>
                      <a:pt x="182880" y="242888"/>
                      <a:pt x="182880" y="242888"/>
                    </a:cubicBezTo>
                    <a:cubicBezTo>
                      <a:pt x="182880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0975" y="243840"/>
                      <a:pt x="180975" y="243840"/>
                      <a:pt x="180023" y="244792"/>
                    </a:cubicBezTo>
                    <a:cubicBezTo>
                      <a:pt x="179070" y="245745"/>
                      <a:pt x="178117" y="246698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8603"/>
                    </a:cubicBezTo>
                    <a:lnTo>
                      <a:pt x="177165" y="248603"/>
                    </a:ln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7650"/>
                      <a:pt x="177165" y="247650"/>
                    </a:cubicBezTo>
                    <a:lnTo>
                      <a:pt x="177165" y="247650"/>
                    </a:ln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8117" y="246698"/>
                      <a:pt x="178117" y="246698"/>
                      <a:pt x="179070" y="245745"/>
                    </a:cubicBezTo>
                    <a:cubicBezTo>
                      <a:pt x="179070" y="245745"/>
                      <a:pt x="179070" y="245745"/>
                      <a:pt x="179070" y="245745"/>
                    </a:cubicBezTo>
                    <a:cubicBezTo>
                      <a:pt x="179070" y="245745"/>
                      <a:pt x="179070" y="245745"/>
                      <a:pt x="180023" y="244792"/>
                    </a:cubicBezTo>
                    <a:cubicBezTo>
                      <a:pt x="180023" y="244792"/>
                      <a:pt x="180975" y="243840"/>
                      <a:pt x="180975" y="243840"/>
                    </a:cubicBezTo>
                    <a:cubicBezTo>
                      <a:pt x="180975" y="243840"/>
                      <a:pt x="180975" y="243840"/>
                      <a:pt x="180975" y="243840"/>
                    </a:cubicBezTo>
                    <a:cubicBezTo>
                      <a:pt x="181928" y="242888"/>
                      <a:pt x="181928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3833" y="240983"/>
                      <a:pt x="183833" y="240983"/>
                    </a:cubicBezTo>
                    <a:cubicBezTo>
                      <a:pt x="183833" y="240983"/>
                      <a:pt x="183833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8125"/>
                    </a:cubicBezTo>
                    <a:cubicBezTo>
                      <a:pt x="185738" y="238125"/>
                      <a:pt x="185738" y="238125"/>
                      <a:pt x="185738" y="238125"/>
                    </a:cubicBezTo>
                    <a:cubicBezTo>
                      <a:pt x="185738" y="238125"/>
                      <a:pt x="185738" y="237173"/>
                      <a:pt x="185738" y="237173"/>
                    </a:cubicBezTo>
                    <a:cubicBezTo>
                      <a:pt x="185738" y="237173"/>
                      <a:pt x="185738" y="237173"/>
                      <a:pt x="185738" y="237173"/>
                    </a:cubicBezTo>
                    <a:cubicBezTo>
                      <a:pt x="186690" y="236220"/>
                      <a:pt x="186690" y="235267"/>
                      <a:pt x="187642" y="234315"/>
                    </a:cubicBezTo>
                    <a:cubicBezTo>
                      <a:pt x="187642" y="234315"/>
                      <a:pt x="187642" y="234315"/>
                      <a:pt x="187642" y="234315"/>
                    </a:cubicBezTo>
                    <a:cubicBezTo>
                      <a:pt x="186690" y="234315"/>
                      <a:pt x="186690" y="235267"/>
                      <a:pt x="185738" y="236220"/>
                    </a:cubicBezTo>
                    <a:cubicBezTo>
                      <a:pt x="184785" y="236220"/>
                      <a:pt x="183833" y="236220"/>
                      <a:pt x="184785" y="235267"/>
                    </a:cubicBezTo>
                    <a:cubicBezTo>
                      <a:pt x="184785" y="235267"/>
                      <a:pt x="185738" y="234315"/>
                      <a:pt x="185738" y="234315"/>
                    </a:cubicBezTo>
                    <a:cubicBezTo>
                      <a:pt x="185738" y="234315"/>
                      <a:pt x="185738" y="234315"/>
                      <a:pt x="185738" y="234315"/>
                    </a:cubicBezTo>
                    <a:cubicBezTo>
                      <a:pt x="186690" y="233363"/>
                      <a:pt x="187642" y="232410"/>
                      <a:pt x="188595" y="231458"/>
                    </a:cubicBezTo>
                    <a:cubicBezTo>
                      <a:pt x="189548" y="231458"/>
                      <a:pt x="189548" y="230505"/>
                      <a:pt x="190500" y="230505"/>
                    </a:cubicBezTo>
                    <a:cubicBezTo>
                      <a:pt x="190500" y="230505"/>
                      <a:pt x="190500" y="230505"/>
                      <a:pt x="190500" y="230505"/>
                    </a:cubicBezTo>
                    <a:cubicBezTo>
                      <a:pt x="190500" y="230505"/>
                      <a:pt x="191453" y="229553"/>
                      <a:pt x="191453" y="229553"/>
                    </a:cubicBezTo>
                    <a:cubicBezTo>
                      <a:pt x="191453" y="229553"/>
                      <a:pt x="191453" y="229553"/>
                      <a:pt x="191453" y="229553"/>
                    </a:cubicBezTo>
                    <a:cubicBezTo>
                      <a:pt x="196215" y="224790"/>
                      <a:pt x="204788" y="224790"/>
                      <a:pt x="211455" y="221933"/>
                    </a:cubicBezTo>
                    <a:cubicBezTo>
                      <a:pt x="214313" y="220980"/>
                      <a:pt x="217170" y="222885"/>
                      <a:pt x="220028" y="221933"/>
                    </a:cubicBezTo>
                    <a:cubicBezTo>
                      <a:pt x="221933" y="221933"/>
                      <a:pt x="222885" y="221933"/>
                      <a:pt x="224790" y="222885"/>
                    </a:cubicBezTo>
                    <a:cubicBezTo>
                      <a:pt x="215265" y="222885"/>
                      <a:pt x="211455" y="225742"/>
                      <a:pt x="206692" y="228600"/>
                    </a:cubicBezTo>
                    <a:moveTo>
                      <a:pt x="217170" y="193358"/>
                    </a:moveTo>
                    <a:cubicBezTo>
                      <a:pt x="216217" y="192405"/>
                      <a:pt x="219075" y="193358"/>
                      <a:pt x="219075" y="192405"/>
                    </a:cubicBezTo>
                    <a:lnTo>
                      <a:pt x="215265" y="192405"/>
                    </a:lnTo>
                    <a:cubicBezTo>
                      <a:pt x="214313" y="192405"/>
                      <a:pt x="214313" y="191453"/>
                      <a:pt x="214313" y="191453"/>
                    </a:cubicBezTo>
                    <a:cubicBezTo>
                      <a:pt x="211455" y="192405"/>
                      <a:pt x="208598" y="193358"/>
                      <a:pt x="205740" y="193358"/>
                    </a:cubicBezTo>
                    <a:cubicBezTo>
                      <a:pt x="201930" y="194310"/>
                      <a:pt x="199073" y="197167"/>
                      <a:pt x="195263" y="198120"/>
                    </a:cubicBezTo>
                    <a:cubicBezTo>
                      <a:pt x="189548" y="200025"/>
                      <a:pt x="184785" y="204788"/>
                      <a:pt x="179070" y="206692"/>
                    </a:cubicBezTo>
                    <a:cubicBezTo>
                      <a:pt x="178117" y="206692"/>
                      <a:pt x="178117" y="205740"/>
                      <a:pt x="178117" y="205740"/>
                    </a:cubicBezTo>
                    <a:cubicBezTo>
                      <a:pt x="179070" y="203835"/>
                      <a:pt x="180975" y="203835"/>
                      <a:pt x="181928" y="201930"/>
                    </a:cubicBezTo>
                    <a:cubicBezTo>
                      <a:pt x="181928" y="200978"/>
                      <a:pt x="181928" y="200978"/>
                      <a:pt x="180975" y="200978"/>
                    </a:cubicBezTo>
                    <a:cubicBezTo>
                      <a:pt x="184785" y="195263"/>
                      <a:pt x="190500" y="192405"/>
                      <a:pt x="196215" y="187642"/>
                    </a:cubicBezTo>
                    <a:lnTo>
                      <a:pt x="196215" y="185738"/>
                    </a:lnTo>
                    <a:cubicBezTo>
                      <a:pt x="198120" y="183833"/>
                      <a:pt x="200025" y="182880"/>
                      <a:pt x="200978" y="180023"/>
                    </a:cubicBezTo>
                    <a:cubicBezTo>
                      <a:pt x="201930" y="178117"/>
                      <a:pt x="203835" y="176213"/>
                      <a:pt x="205740" y="175260"/>
                    </a:cubicBezTo>
                    <a:cubicBezTo>
                      <a:pt x="204788" y="174308"/>
                      <a:pt x="203835" y="174308"/>
                      <a:pt x="203835" y="173355"/>
                    </a:cubicBezTo>
                    <a:cubicBezTo>
                      <a:pt x="201930" y="173355"/>
                      <a:pt x="200025" y="174308"/>
                      <a:pt x="198120" y="172403"/>
                    </a:cubicBezTo>
                    <a:cubicBezTo>
                      <a:pt x="199073" y="171450"/>
                      <a:pt x="200025" y="170498"/>
                      <a:pt x="200978" y="170498"/>
                    </a:cubicBezTo>
                    <a:cubicBezTo>
                      <a:pt x="200978" y="170498"/>
                      <a:pt x="200025" y="170498"/>
                      <a:pt x="200025" y="169545"/>
                    </a:cubicBezTo>
                    <a:cubicBezTo>
                      <a:pt x="199073" y="168592"/>
                      <a:pt x="200978" y="167640"/>
                      <a:pt x="202883" y="166688"/>
                    </a:cubicBezTo>
                    <a:cubicBezTo>
                      <a:pt x="204788" y="165735"/>
                      <a:pt x="207645" y="165735"/>
                      <a:pt x="208598" y="164783"/>
                    </a:cubicBezTo>
                    <a:cubicBezTo>
                      <a:pt x="204788" y="163830"/>
                      <a:pt x="200978" y="165735"/>
                      <a:pt x="197167" y="163830"/>
                    </a:cubicBezTo>
                    <a:cubicBezTo>
                      <a:pt x="200025" y="157163"/>
                      <a:pt x="203835" y="151448"/>
                      <a:pt x="209550" y="148590"/>
                    </a:cubicBezTo>
                    <a:cubicBezTo>
                      <a:pt x="210503" y="148590"/>
                      <a:pt x="211455" y="148590"/>
                      <a:pt x="211455" y="149542"/>
                    </a:cubicBezTo>
                    <a:cubicBezTo>
                      <a:pt x="211455" y="152400"/>
                      <a:pt x="209550" y="154305"/>
                      <a:pt x="207645" y="154305"/>
                    </a:cubicBezTo>
                    <a:cubicBezTo>
                      <a:pt x="211455" y="155258"/>
                      <a:pt x="216217" y="155258"/>
                      <a:pt x="220028" y="157163"/>
                    </a:cubicBezTo>
                    <a:cubicBezTo>
                      <a:pt x="219075" y="158115"/>
                      <a:pt x="218123" y="158115"/>
                      <a:pt x="218123" y="158115"/>
                    </a:cubicBezTo>
                    <a:cubicBezTo>
                      <a:pt x="220980" y="160020"/>
                      <a:pt x="223838" y="159067"/>
                      <a:pt x="226695" y="160973"/>
                    </a:cubicBezTo>
                    <a:cubicBezTo>
                      <a:pt x="224790" y="162878"/>
                      <a:pt x="223838" y="160973"/>
                      <a:pt x="221933" y="160973"/>
                    </a:cubicBezTo>
                    <a:cubicBezTo>
                      <a:pt x="238125" y="165735"/>
                      <a:pt x="254317" y="169545"/>
                      <a:pt x="267653" y="179070"/>
                    </a:cubicBezTo>
                    <a:cubicBezTo>
                      <a:pt x="256223" y="184785"/>
                      <a:pt x="244792" y="187642"/>
                      <a:pt x="232410" y="189548"/>
                    </a:cubicBezTo>
                    <a:cubicBezTo>
                      <a:pt x="230505" y="189548"/>
                      <a:pt x="229553" y="189548"/>
                      <a:pt x="228600" y="188595"/>
                    </a:cubicBezTo>
                    <a:cubicBezTo>
                      <a:pt x="228600" y="189548"/>
                      <a:pt x="228600" y="190500"/>
                      <a:pt x="227648" y="190500"/>
                    </a:cubicBezTo>
                    <a:cubicBezTo>
                      <a:pt x="225742" y="190500"/>
                      <a:pt x="223838" y="190500"/>
                      <a:pt x="222885" y="191453"/>
                    </a:cubicBezTo>
                    <a:cubicBezTo>
                      <a:pt x="221933" y="194310"/>
                      <a:pt x="219075" y="194310"/>
                      <a:pt x="217170" y="193358"/>
                    </a:cubicBezTo>
                  </a:path>
                </a:pathLst>
              </a:custGeom>
              <a:solidFill>
                <a:srgbClr val="0000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7" name="Forme libre : forme 16">
                <a:extLst>
                  <a:ext uri="{FF2B5EF4-FFF2-40B4-BE49-F238E27FC236}">
                    <a16:creationId xmlns:a16="http://schemas.microsoft.com/office/drawing/2014/main" id="{41FC6F51-0348-4282-861C-87E9A6355D24}"/>
                  </a:ext>
                </a:extLst>
              </p:cNvPr>
              <p:cNvSpPr/>
              <p:nvPr/>
            </p:nvSpPr>
            <p:spPr>
              <a:xfrm>
                <a:off x="687476" y="269557"/>
                <a:ext cx="327888" cy="269557"/>
              </a:xfrm>
              <a:custGeom>
                <a:avLst/>
                <a:gdLst>
                  <a:gd name="connsiteX0" fmla="*/ 325031 w 327888"/>
                  <a:gd name="connsiteY0" fmla="*/ 0 h 269557"/>
                  <a:gd name="connsiteX1" fmla="*/ 34519 w 327888"/>
                  <a:gd name="connsiteY1" fmla="*/ 0 h 269557"/>
                  <a:gd name="connsiteX2" fmla="*/ 37376 w 327888"/>
                  <a:gd name="connsiteY2" fmla="*/ 953 h 269557"/>
                  <a:gd name="connsiteX3" fmla="*/ 44996 w 327888"/>
                  <a:gd name="connsiteY3" fmla="*/ 4763 h 269557"/>
                  <a:gd name="connsiteX4" fmla="*/ 54521 w 327888"/>
                  <a:gd name="connsiteY4" fmla="*/ 13335 h 269557"/>
                  <a:gd name="connsiteX5" fmla="*/ 56426 w 327888"/>
                  <a:gd name="connsiteY5" fmla="*/ 20003 h 269557"/>
                  <a:gd name="connsiteX6" fmla="*/ 52616 w 327888"/>
                  <a:gd name="connsiteY6" fmla="*/ 27623 h 269557"/>
                  <a:gd name="connsiteX7" fmla="*/ 42139 w 327888"/>
                  <a:gd name="connsiteY7" fmla="*/ 28575 h 269557"/>
                  <a:gd name="connsiteX8" fmla="*/ 36424 w 327888"/>
                  <a:gd name="connsiteY8" fmla="*/ 27623 h 269557"/>
                  <a:gd name="connsiteX9" fmla="*/ 56426 w 327888"/>
                  <a:gd name="connsiteY9" fmla="*/ 40957 h 269557"/>
                  <a:gd name="connsiteX10" fmla="*/ 61189 w 327888"/>
                  <a:gd name="connsiteY10" fmla="*/ 42863 h 269557"/>
                  <a:gd name="connsiteX11" fmla="*/ 62141 w 327888"/>
                  <a:gd name="connsiteY11" fmla="*/ 44768 h 269557"/>
                  <a:gd name="connsiteX12" fmla="*/ 60236 w 327888"/>
                  <a:gd name="connsiteY12" fmla="*/ 47625 h 269557"/>
                  <a:gd name="connsiteX13" fmla="*/ 62141 w 327888"/>
                  <a:gd name="connsiteY13" fmla="*/ 47625 h 269557"/>
                  <a:gd name="connsiteX14" fmla="*/ 67856 w 327888"/>
                  <a:gd name="connsiteY14" fmla="*/ 42863 h 269557"/>
                  <a:gd name="connsiteX15" fmla="*/ 69761 w 327888"/>
                  <a:gd name="connsiteY15" fmla="*/ 50482 h 269557"/>
                  <a:gd name="connsiteX16" fmla="*/ 64046 w 327888"/>
                  <a:gd name="connsiteY16" fmla="*/ 55245 h 269557"/>
                  <a:gd name="connsiteX17" fmla="*/ 64046 w 327888"/>
                  <a:gd name="connsiteY17" fmla="*/ 59055 h 269557"/>
                  <a:gd name="connsiteX18" fmla="*/ 66904 w 327888"/>
                  <a:gd name="connsiteY18" fmla="*/ 64770 h 269557"/>
                  <a:gd name="connsiteX19" fmla="*/ 70714 w 327888"/>
                  <a:gd name="connsiteY19" fmla="*/ 76200 h 269557"/>
                  <a:gd name="connsiteX20" fmla="*/ 74524 w 327888"/>
                  <a:gd name="connsiteY20" fmla="*/ 99060 h 269557"/>
                  <a:gd name="connsiteX21" fmla="*/ 73571 w 327888"/>
                  <a:gd name="connsiteY21" fmla="*/ 110490 h 269557"/>
                  <a:gd name="connsiteX22" fmla="*/ 79286 w 327888"/>
                  <a:gd name="connsiteY22" fmla="*/ 120968 h 269557"/>
                  <a:gd name="connsiteX23" fmla="*/ 85001 w 327888"/>
                  <a:gd name="connsiteY23" fmla="*/ 129540 h 269557"/>
                  <a:gd name="connsiteX24" fmla="*/ 90716 w 327888"/>
                  <a:gd name="connsiteY24" fmla="*/ 145733 h 269557"/>
                  <a:gd name="connsiteX25" fmla="*/ 80239 w 327888"/>
                  <a:gd name="connsiteY25" fmla="*/ 150495 h 269557"/>
                  <a:gd name="connsiteX26" fmla="*/ 81191 w 327888"/>
                  <a:gd name="connsiteY26" fmla="*/ 160020 h 269557"/>
                  <a:gd name="connsiteX27" fmla="*/ 74524 w 327888"/>
                  <a:gd name="connsiteY27" fmla="*/ 169545 h 269557"/>
                  <a:gd name="connsiteX28" fmla="*/ 78334 w 327888"/>
                  <a:gd name="connsiteY28" fmla="*/ 171450 h 269557"/>
                  <a:gd name="connsiteX29" fmla="*/ 80239 w 327888"/>
                  <a:gd name="connsiteY29" fmla="*/ 178118 h 269557"/>
                  <a:gd name="connsiteX30" fmla="*/ 75476 w 327888"/>
                  <a:gd name="connsiteY30" fmla="*/ 187643 h 269557"/>
                  <a:gd name="connsiteX31" fmla="*/ 74524 w 327888"/>
                  <a:gd name="connsiteY31" fmla="*/ 199073 h 269557"/>
                  <a:gd name="connsiteX32" fmla="*/ 64999 w 327888"/>
                  <a:gd name="connsiteY32" fmla="*/ 206693 h 269557"/>
                  <a:gd name="connsiteX33" fmla="*/ 55474 w 327888"/>
                  <a:gd name="connsiteY33" fmla="*/ 207645 h 269557"/>
                  <a:gd name="connsiteX34" fmla="*/ 49759 w 327888"/>
                  <a:gd name="connsiteY34" fmla="*/ 206693 h 269557"/>
                  <a:gd name="connsiteX35" fmla="*/ 24041 w 327888"/>
                  <a:gd name="connsiteY35" fmla="*/ 202883 h 269557"/>
                  <a:gd name="connsiteX36" fmla="*/ 17374 w 327888"/>
                  <a:gd name="connsiteY36" fmla="*/ 204788 h 269557"/>
                  <a:gd name="connsiteX37" fmla="*/ 11659 w 327888"/>
                  <a:gd name="connsiteY37" fmla="*/ 210503 h 269557"/>
                  <a:gd name="connsiteX38" fmla="*/ 11659 w 327888"/>
                  <a:gd name="connsiteY38" fmla="*/ 210503 h 269557"/>
                  <a:gd name="connsiteX39" fmla="*/ 10706 w 327888"/>
                  <a:gd name="connsiteY39" fmla="*/ 211455 h 269557"/>
                  <a:gd name="connsiteX40" fmla="*/ 9754 w 327888"/>
                  <a:gd name="connsiteY40" fmla="*/ 212408 h 269557"/>
                  <a:gd name="connsiteX41" fmla="*/ 9754 w 327888"/>
                  <a:gd name="connsiteY41" fmla="*/ 213360 h 269557"/>
                  <a:gd name="connsiteX42" fmla="*/ 5944 w 327888"/>
                  <a:gd name="connsiteY42" fmla="*/ 219075 h 269557"/>
                  <a:gd name="connsiteX43" fmla="*/ 5944 w 327888"/>
                  <a:gd name="connsiteY43" fmla="*/ 219075 h 269557"/>
                  <a:gd name="connsiteX44" fmla="*/ 5944 w 327888"/>
                  <a:gd name="connsiteY44" fmla="*/ 220028 h 269557"/>
                  <a:gd name="connsiteX45" fmla="*/ 2134 w 327888"/>
                  <a:gd name="connsiteY45" fmla="*/ 229553 h 269557"/>
                  <a:gd name="connsiteX46" fmla="*/ 3086 w 327888"/>
                  <a:gd name="connsiteY46" fmla="*/ 253365 h 269557"/>
                  <a:gd name="connsiteX47" fmla="*/ 30709 w 327888"/>
                  <a:gd name="connsiteY47" fmla="*/ 263843 h 269557"/>
                  <a:gd name="connsiteX48" fmla="*/ 43091 w 327888"/>
                  <a:gd name="connsiteY48" fmla="*/ 269558 h 269557"/>
                  <a:gd name="connsiteX49" fmla="*/ 327889 w 327888"/>
                  <a:gd name="connsiteY49" fmla="*/ 269558 h 269557"/>
                  <a:gd name="connsiteX50" fmla="*/ 327889 w 327888"/>
                  <a:gd name="connsiteY50" fmla="*/ 0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327888" h="269557">
                    <a:moveTo>
                      <a:pt x="325031" y="0"/>
                    </a:moveTo>
                    <a:lnTo>
                      <a:pt x="34519" y="0"/>
                    </a:lnTo>
                    <a:cubicBezTo>
                      <a:pt x="34519" y="0"/>
                      <a:pt x="35471" y="0"/>
                      <a:pt x="37376" y="953"/>
                    </a:cubicBezTo>
                    <a:cubicBezTo>
                      <a:pt x="39281" y="1905"/>
                      <a:pt x="43091" y="3810"/>
                      <a:pt x="44996" y="4763"/>
                    </a:cubicBezTo>
                    <a:cubicBezTo>
                      <a:pt x="48806" y="6668"/>
                      <a:pt x="52616" y="9525"/>
                      <a:pt x="54521" y="13335"/>
                    </a:cubicBezTo>
                    <a:cubicBezTo>
                      <a:pt x="55474" y="15240"/>
                      <a:pt x="57379" y="18098"/>
                      <a:pt x="56426" y="20003"/>
                    </a:cubicBezTo>
                    <a:cubicBezTo>
                      <a:pt x="55474" y="22860"/>
                      <a:pt x="54521" y="26670"/>
                      <a:pt x="52616" y="27623"/>
                    </a:cubicBezTo>
                    <a:cubicBezTo>
                      <a:pt x="49759" y="29528"/>
                      <a:pt x="45949" y="29528"/>
                      <a:pt x="42139" y="28575"/>
                    </a:cubicBezTo>
                    <a:cubicBezTo>
                      <a:pt x="40234" y="28575"/>
                      <a:pt x="38329" y="27623"/>
                      <a:pt x="36424" y="27623"/>
                    </a:cubicBezTo>
                    <a:cubicBezTo>
                      <a:pt x="44044" y="30480"/>
                      <a:pt x="51664" y="34290"/>
                      <a:pt x="56426" y="40957"/>
                    </a:cubicBezTo>
                    <a:cubicBezTo>
                      <a:pt x="57379" y="41910"/>
                      <a:pt x="59284" y="42863"/>
                      <a:pt x="61189" y="42863"/>
                    </a:cubicBezTo>
                    <a:cubicBezTo>
                      <a:pt x="62141" y="42863"/>
                      <a:pt x="62141" y="43815"/>
                      <a:pt x="62141" y="44768"/>
                    </a:cubicBezTo>
                    <a:cubicBezTo>
                      <a:pt x="61189" y="45720"/>
                      <a:pt x="60236" y="46673"/>
                      <a:pt x="60236" y="47625"/>
                    </a:cubicBezTo>
                    <a:lnTo>
                      <a:pt x="62141" y="47625"/>
                    </a:lnTo>
                    <a:cubicBezTo>
                      <a:pt x="64999" y="46673"/>
                      <a:pt x="64046" y="41910"/>
                      <a:pt x="67856" y="42863"/>
                    </a:cubicBezTo>
                    <a:cubicBezTo>
                      <a:pt x="70714" y="44768"/>
                      <a:pt x="71666" y="47625"/>
                      <a:pt x="69761" y="50482"/>
                    </a:cubicBezTo>
                    <a:cubicBezTo>
                      <a:pt x="67856" y="52388"/>
                      <a:pt x="65951" y="54293"/>
                      <a:pt x="64046" y="55245"/>
                    </a:cubicBezTo>
                    <a:cubicBezTo>
                      <a:pt x="63094" y="56198"/>
                      <a:pt x="63094" y="58103"/>
                      <a:pt x="64046" y="59055"/>
                    </a:cubicBezTo>
                    <a:cubicBezTo>
                      <a:pt x="65951" y="60960"/>
                      <a:pt x="65951" y="62865"/>
                      <a:pt x="66904" y="64770"/>
                    </a:cubicBezTo>
                    <a:cubicBezTo>
                      <a:pt x="68809" y="68580"/>
                      <a:pt x="68809" y="72390"/>
                      <a:pt x="70714" y="76200"/>
                    </a:cubicBezTo>
                    <a:cubicBezTo>
                      <a:pt x="72619" y="83820"/>
                      <a:pt x="74524" y="91440"/>
                      <a:pt x="74524" y="99060"/>
                    </a:cubicBezTo>
                    <a:cubicBezTo>
                      <a:pt x="74524" y="102870"/>
                      <a:pt x="72619" y="106680"/>
                      <a:pt x="73571" y="110490"/>
                    </a:cubicBezTo>
                    <a:cubicBezTo>
                      <a:pt x="74524" y="114300"/>
                      <a:pt x="77381" y="118110"/>
                      <a:pt x="79286" y="120968"/>
                    </a:cubicBezTo>
                    <a:cubicBezTo>
                      <a:pt x="81191" y="123825"/>
                      <a:pt x="83096" y="125730"/>
                      <a:pt x="85001" y="129540"/>
                    </a:cubicBezTo>
                    <a:cubicBezTo>
                      <a:pt x="87859" y="134303"/>
                      <a:pt x="93574" y="140018"/>
                      <a:pt x="90716" y="145733"/>
                    </a:cubicBezTo>
                    <a:cubicBezTo>
                      <a:pt x="88811" y="149543"/>
                      <a:pt x="83096" y="148590"/>
                      <a:pt x="80239" y="150495"/>
                    </a:cubicBezTo>
                    <a:cubicBezTo>
                      <a:pt x="77381" y="153353"/>
                      <a:pt x="79286" y="157163"/>
                      <a:pt x="81191" y="160020"/>
                    </a:cubicBezTo>
                    <a:cubicBezTo>
                      <a:pt x="84049" y="164783"/>
                      <a:pt x="78334" y="167640"/>
                      <a:pt x="74524" y="169545"/>
                    </a:cubicBezTo>
                    <a:cubicBezTo>
                      <a:pt x="75476" y="171450"/>
                      <a:pt x="77381" y="170498"/>
                      <a:pt x="78334" y="171450"/>
                    </a:cubicBezTo>
                    <a:cubicBezTo>
                      <a:pt x="79286" y="174308"/>
                      <a:pt x="81191" y="175260"/>
                      <a:pt x="80239" y="178118"/>
                    </a:cubicBezTo>
                    <a:cubicBezTo>
                      <a:pt x="78334" y="180975"/>
                      <a:pt x="71666" y="182880"/>
                      <a:pt x="75476" y="187643"/>
                    </a:cubicBezTo>
                    <a:cubicBezTo>
                      <a:pt x="77381" y="191453"/>
                      <a:pt x="76429" y="195263"/>
                      <a:pt x="74524" y="199073"/>
                    </a:cubicBezTo>
                    <a:cubicBezTo>
                      <a:pt x="72619" y="203835"/>
                      <a:pt x="68809" y="205740"/>
                      <a:pt x="64999" y="206693"/>
                    </a:cubicBezTo>
                    <a:cubicBezTo>
                      <a:pt x="62141" y="207645"/>
                      <a:pt x="58331" y="207645"/>
                      <a:pt x="55474" y="207645"/>
                    </a:cubicBezTo>
                    <a:cubicBezTo>
                      <a:pt x="51664" y="206693"/>
                      <a:pt x="50711" y="206693"/>
                      <a:pt x="49759" y="206693"/>
                    </a:cubicBezTo>
                    <a:cubicBezTo>
                      <a:pt x="41186" y="205740"/>
                      <a:pt x="32614" y="202883"/>
                      <a:pt x="24041" y="202883"/>
                    </a:cubicBezTo>
                    <a:cubicBezTo>
                      <a:pt x="21184" y="203835"/>
                      <a:pt x="19279" y="203835"/>
                      <a:pt x="17374" y="204788"/>
                    </a:cubicBezTo>
                    <a:cubicBezTo>
                      <a:pt x="15469" y="206693"/>
                      <a:pt x="12611" y="208598"/>
                      <a:pt x="11659" y="210503"/>
                    </a:cubicBezTo>
                    <a:cubicBezTo>
                      <a:pt x="11659" y="210503"/>
                      <a:pt x="11659" y="210503"/>
                      <a:pt x="11659" y="210503"/>
                    </a:cubicBezTo>
                    <a:cubicBezTo>
                      <a:pt x="11659" y="210503"/>
                      <a:pt x="10706" y="211455"/>
                      <a:pt x="10706" y="211455"/>
                    </a:cubicBezTo>
                    <a:cubicBezTo>
                      <a:pt x="10706" y="211455"/>
                      <a:pt x="10706" y="212408"/>
                      <a:pt x="9754" y="212408"/>
                    </a:cubicBezTo>
                    <a:cubicBezTo>
                      <a:pt x="9754" y="212408"/>
                      <a:pt x="9754" y="212408"/>
                      <a:pt x="9754" y="213360"/>
                    </a:cubicBezTo>
                    <a:cubicBezTo>
                      <a:pt x="7849" y="215265"/>
                      <a:pt x="6896" y="217170"/>
                      <a:pt x="5944" y="219075"/>
                    </a:cubicBezTo>
                    <a:cubicBezTo>
                      <a:pt x="5944" y="219075"/>
                      <a:pt x="5944" y="219075"/>
                      <a:pt x="5944" y="219075"/>
                    </a:cubicBezTo>
                    <a:cubicBezTo>
                      <a:pt x="5944" y="219075"/>
                      <a:pt x="5944" y="220028"/>
                      <a:pt x="5944" y="220028"/>
                    </a:cubicBezTo>
                    <a:cubicBezTo>
                      <a:pt x="4039" y="222885"/>
                      <a:pt x="3086" y="226695"/>
                      <a:pt x="2134" y="229553"/>
                    </a:cubicBezTo>
                    <a:cubicBezTo>
                      <a:pt x="-1676" y="240983"/>
                      <a:pt x="229" y="251460"/>
                      <a:pt x="3086" y="253365"/>
                    </a:cubicBezTo>
                    <a:cubicBezTo>
                      <a:pt x="4039" y="254318"/>
                      <a:pt x="20231" y="259080"/>
                      <a:pt x="30709" y="263843"/>
                    </a:cubicBezTo>
                    <a:cubicBezTo>
                      <a:pt x="36424" y="265748"/>
                      <a:pt x="39281" y="267653"/>
                      <a:pt x="43091" y="269558"/>
                    </a:cubicBezTo>
                    <a:lnTo>
                      <a:pt x="327889" y="269558"/>
                    </a:lnTo>
                    <a:lnTo>
                      <a:pt x="327889" y="0"/>
                    </a:lnTo>
                    <a:close/>
                  </a:path>
                </a:pathLst>
              </a:custGeom>
              <a:solidFill>
                <a:srgbClr val="E1000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8" name="Forme libre : forme 17">
                <a:extLst>
                  <a:ext uri="{FF2B5EF4-FFF2-40B4-BE49-F238E27FC236}">
                    <a16:creationId xmlns:a16="http://schemas.microsoft.com/office/drawing/2014/main" id="{C721A0DA-2CD2-4A93-9D0C-C1DEBB82B2D7}"/>
                  </a:ext>
                </a:extLst>
              </p:cNvPr>
              <p:cNvSpPr/>
              <p:nvPr/>
            </p:nvSpPr>
            <p:spPr>
              <a:xfrm>
                <a:off x="717232" y="362507"/>
                <a:ext cx="33524" cy="30636"/>
              </a:xfrm>
              <a:custGeom>
                <a:avLst/>
                <a:gdLst>
                  <a:gd name="connsiteX0" fmla="*/ 21907 w 33524"/>
                  <a:gd name="connsiteY0" fmla="*/ 6110 h 30636"/>
                  <a:gd name="connsiteX1" fmla="*/ 26670 w 33524"/>
                  <a:gd name="connsiteY1" fmla="*/ 8015 h 30636"/>
                  <a:gd name="connsiteX2" fmla="*/ 16192 w 33524"/>
                  <a:gd name="connsiteY2" fmla="*/ 17540 h 30636"/>
                  <a:gd name="connsiteX3" fmla="*/ 14288 w 33524"/>
                  <a:gd name="connsiteY3" fmla="*/ 17540 h 30636"/>
                  <a:gd name="connsiteX4" fmla="*/ 11430 w 33524"/>
                  <a:gd name="connsiteY4" fmla="*/ 21350 h 30636"/>
                  <a:gd name="connsiteX5" fmla="*/ 6667 w 33524"/>
                  <a:gd name="connsiteY5" fmla="*/ 22302 h 30636"/>
                  <a:gd name="connsiteX6" fmla="*/ 14288 w 33524"/>
                  <a:gd name="connsiteY6" fmla="*/ 25160 h 30636"/>
                  <a:gd name="connsiteX7" fmla="*/ 16192 w 33524"/>
                  <a:gd name="connsiteY7" fmla="*/ 27065 h 30636"/>
                  <a:gd name="connsiteX8" fmla="*/ 17145 w 33524"/>
                  <a:gd name="connsiteY8" fmla="*/ 26112 h 30636"/>
                  <a:gd name="connsiteX9" fmla="*/ 18097 w 33524"/>
                  <a:gd name="connsiteY9" fmla="*/ 27065 h 30636"/>
                  <a:gd name="connsiteX10" fmla="*/ 18097 w 33524"/>
                  <a:gd name="connsiteY10" fmla="*/ 28017 h 30636"/>
                  <a:gd name="connsiteX11" fmla="*/ 12382 w 33524"/>
                  <a:gd name="connsiteY11" fmla="*/ 29922 h 30636"/>
                  <a:gd name="connsiteX12" fmla="*/ 23813 w 33524"/>
                  <a:gd name="connsiteY12" fmla="*/ 29922 h 30636"/>
                  <a:gd name="connsiteX13" fmla="*/ 25717 w 33524"/>
                  <a:gd name="connsiteY13" fmla="*/ 21350 h 30636"/>
                  <a:gd name="connsiteX14" fmla="*/ 24765 w 33524"/>
                  <a:gd name="connsiteY14" fmla="*/ 19445 h 30636"/>
                  <a:gd name="connsiteX15" fmla="*/ 27622 w 33524"/>
                  <a:gd name="connsiteY15" fmla="*/ 16587 h 30636"/>
                  <a:gd name="connsiteX16" fmla="*/ 30480 w 33524"/>
                  <a:gd name="connsiteY16" fmla="*/ 14682 h 30636"/>
                  <a:gd name="connsiteX17" fmla="*/ 28575 w 33524"/>
                  <a:gd name="connsiteY17" fmla="*/ 11825 h 30636"/>
                  <a:gd name="connsiteX18" fmla="*/ 33338 w 33524"/>
                  <a:gd name="connsiteY18" fmla="*/ 3252 h 30636"/>
                  <a:gd name="connsiteX19" fmla="*/ 25717 w 33524"/>
                  <a:gd name="connsiteY19" fmla="*/ 395 h 30636"/>
                  <a:gd name="connsiteX20" fmla="*/ 17145 w 33524"/>
                  <a:gd name="connsiteY20" fmla="*/ 1347 h 30636"/>
                  <a:gd name="connsiteX21" fmla="*/ 9525 w 33524"/>
                  <a:gd name="connsiteY21" fmla="*/ 3252 h 30636"/>
                  <a:gd name="connsiteX22" fmla="*/ 0 w 33524"/>
                  <a:gd name="connsiteY22" fmla="*/ 8015 h 30636"/>
                  <a:gd name="connsiteX23" fmla="*/ 11430 w 33524"/>
                  <a:gd name="connsiteY23" fmla="*/ 5157 h 30636"/>
                  <a:gd name="connsiteX24" fmla="*/ 21907 w 33524"/>
                  <a:gd name="connsiteY24" fmla="*/ 6110 h 3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3524" h="30636">
                    <a:moveTo>
                      <a:pt x="21907" y="6110"/>
                    </a:moveTo>
                    <a:cubicBezTo>
                      <a:pt x="23813" y="7062"/>
                      <a:pt x="26670" y="7062"/>
                      <a:pt x="26670" y="8015"/>
                    </a:cubicBezTo>
                    <a:cubicBezTo>
                      <a:pt x="25717" y="11825"/>
                      <a:pt x="20002" y="12777"/>
                      <a:pt x="16192" y="17540"/>
                    </a:cubicBezTo>
                    <a:lnTo>
                      <a:pt x="14288" y="17540"/>
                    </a:lnTo>
                    <a:cubicBezTo>
                      <a:pt x="12382" y="18492"/>
                      <a:pt x="13335" y="21350"/>
                      <a:pt x="11430" y="21350"/>
                    </a:cubicBezTo>
                    <a:cubicBezTo>
                      <a:pt x="9525" y="20397"/>
                      <a:pt x="8572" y="21350"/>
                      <a:pt x="6667" y="22302"/>
                    </a:cubicBezTo>
                    <a:cubicBezTo>
                      <a:pt x="8572" y="24207"/>
                      <a:pt x="11430" y="26112"/>
                      <a:pt x="14288" y="25160"/>
                    </a:cubicBezTo>
                    <a:cubicBezTo>
                      <a:pt x="15240" y="25160"/>
                      <a:pt x="16192" y="26112"/>
                      <a:pt x="16192" y="27065"/>
                    </a:cubicBezTo>
                    <a:cubicBezTo>
                      <a:pt x="16192" y="27065"/>
                      <a:pt x="17145" y="27065"/>
                      <a:pt x="17145" y="26112"/>
                    </a:cubicBezTo>
                    <a:cubicBezTo>
                      <a:pt x="18097" y="26112"/>
                      <a:pt x="18097" y="26112"/>
                      <a:pt x="18097" y="27065"/>
                    </a:cubicBezTo>
                    <a:lnTo>
                      <a:pt x="18097" y="28017"/>
                    </a:lnTo>
                    <a:cubicBezTo>
                      <a:pt x="16192" y="29922"/>
                      <a:pt x="14288" y="28970"/>
                      <a:pt x="12382" y="29922"/>
                    </a:cubicBezTo>
                    <a:cubicBezTo>
                      <a:pt x="16192" y="30875"/>
                      <a:pt x="20955" y="30875"/>
                      <a:pt x="23813" y="29922"/>
                    </a:cubicBezTo>
                    <a:cubicBezTo>
                      <a:pt x="26670" y="28970"/>
                      <a:pt x="23813" y="24207"/>
                      <a:pt x="25717" y="21350"/>
                    </a:cubicBezTo>
                    <a:cubicBezTo>
                      <a:pt x="24765" y="21350"/>
                      <a:pt x="25717" y="19445"/>
                      <a:pt x="24765" y="19445"/>
                    </a:cubicBezTo>
                    <a:cubicBezTo>
                      <a:pt x="25717" y="18492"/>
                      <a:pt x="26670" y="16587"/>
                      <a:pt x="27622" y="16587"/>
                    </a:cubicBezTo>
                    <a:cubicBezTo>
                      <a:pt x="28575" y="16587"/>
                      <a:pt x="30480" y="15635"/>
                      <a:pt x="30480" y="14682"/>
                    </a:cubicBezTo>
                    <a:cubicBezTo>
                      <a:pt x="30480" y="13730"/>
                      <a:pt x="28575" y="12777"/>
                      <a:pt x="28575" y="11825"/>
                    </a:cubicBezTo>
                    <a:cubicBezTo>
                      <a:pt x="31432" y="9920"/>
                      <a:pt x="34290" y="7062"/>
                      <a:pt x="33338" y="3252"/>
                    </a:cubicBezTo>
                    <a:cubicBezTo>
                      <a:pt x="32385" y="1347"/>
                      <a:pt x="28575" y="1347"/>
                      <a:pt x="25717" y="395"/>
                    </a:cubicBezTo>
                    <a:cubicBezTo>
                      <a:pt x="22860" y="-558"/>
                      <a:pt x="20002" y="395"/>
                      <a:pt x="17145" y="1347"/>
                    </a:cubicBezTo>
                    <a:cubicBezTo>
                      <a:pt x="14288" y="1347"/>
                      <a:pt x="12382" y="3252"/>
                      <a:pt x="9525" y="3252"/>
                    </a:cubicBezTo>
                    <a:cubicBezTo>
                      <a:pt x="5715" y="4205"/>
                      <a:pt x="2857" y="6110"/>
                      <a:pt x="0" y="8015"/>
                    </a:cubicBezTo>
                    <a:cubicBezTo>
                      <a:pt x="3810" y="6110"/>
                      <a:pt x="7620" y="6110"/>
                      <a:pt x="11430" y="5157"/>
                    </a:cubicBezTo>
                    <a:cubicBezTo>
                      <a:pt x="16192" y="6110"/>
                      <a:pt x="19050" y="5157"/>
                      <a:pt x="21907" y="6110"/>
                    </a:cubicBezTo>
                  </a:path>
                </a:pathLst>
              </a:custGeom>
              <a:solidFill>
                <a:srgbClr val="9C9B9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  <p:sp>
        <p:nvSpPr>
          <p:cNvPr id="31" name="Titre 1">
            <a:extLst>
              <a:ext uri="{FF2B5EF4-FFF2-40B4-BE49-F238E27FC236}">
                <a16:creationId xmlns:a16="http://schemas.microsoft.com/office/drawing/2014/main" id="{B798DD63-88D7-4D98-8CBC-A6C469B47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8163" y="1043685"/>
            <a:ext cx="11115675" cy="1180386"/>
          </a:xfrm>
          <a:prstGeom prst="rect">
            <a:avLst/>
          </a:prstGeom>
          <a:ln w="10160">
            <a:noFill/>
          </a:ln>
        </p:spPr>
        <p:txBody>
          <a:bodyPr lIns="0" bIns="0" anchor="b" anchorCtr="0"/>
          <a:lstStyle>
            <a:lvl1pPr marL="0" indent="0">
              <a:buFont typeface="+mj-lt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N°. Titre</a:t>
            </a:r>
          </a:p>
        </p:txBody>
      </p: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4E5DC8BB-A03E-454C-8700-FA262A8A9059}"/>
              </a:ext>
            </a:extLst>
          </p:cNvPr>
          <p:cNvGrpSpPr/>
          <p:nvPr userDrawn="1"/>
        </p:nvGrpSpPr>
        <p:grpSpPr>
          <a:xfrm>
            <a:off x="10061357" y="512156"/>
            <a:ext cx="1592481" cy="198907"/>
            <a:chOff x="10061357" y="512156"/>
            <a:chExt cx="1592481" cy="198907"/>
          </a:xfrm>
        </p:grpSpPr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890A0559-75E3-4080-8330-FC675456C3C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189201" y="540544"/>
              <a:ext cx="464637" cy="170519"/>
            </a:xfrm>
            <a:custGeom>
              <a:avLst/>
              <a:gdLst>
                <a:gd name="connsiteX0" fmla="*/ 0 w 464637"/>
                <a:gd name="connsiteY0" fmla="*/ 0 h 170519"/>
                <a:gd name="connsiteX1" fmla="*/ 0 w 464637"/>
                <a:gd name="connsiteY1" fmla="*/ 82673 h 170519"/>
                <a:gd name="connsiteX2" fmla="*/ 381965 w 464637"/>
                <a:gd name="connsiteY2" fmla="*/ 82673 h 170519"/>
                <a:gd name="connsiteX3" fmla="*/ 381965 w 464637"/>
                <a:gd name="connsiteY3" fmla="*/ 170520 h 170519"/>
                <a:gd name="connsiteX4" fmla="*/ 464638 w 464637"/>
                <a:gd name="connsiteY4" fmla="*/ 170520 h 170519"/>
                <a:gd name="connsiteX5" fmla="*/ 464638 w 464637"/>
                <a:gd name="connsiteY5" fmla="*/ 0 h 170519"/>
                <a:gd name="connsiteX6" fmla="*/ 0 w 464637"/>
                <a:gd name="connsiteY6" fmla="*/ 0 h 170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4637" h="170519">
                  <a:moveTo>
                    <a:pt x="0" y="0"/>
                  </a:moveTo>
                  <a:lnTo>
                    <a:pt x="0" y="82673"/>
                  </a:lnTo>
                  <a:lnTo>
                    <a:pt x="381965" y="82673"/>
                  </a:lnTo>
                  <a:lnTo>
                    <a:pt x="381965" y="170520"/>
                  </a:lnTo>
                  <a:lnTo>
                    <a:pt x="464638" y="170520"/>
                  </a:lnTo>
                  <a:lnTo>
                    <a:pt x="46463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" name="ZoneTexte 20">
              <a:extLst>
                <a:ext uri="{FF2B5EF4-FFF2-40B4-BE49-F238E27FC236}">
                  <a16:creationId xmlns:a16="http://schemas.microsoft.com/office/drawing/2014/main" id="{31F459CB-ABA4-4666-AA94-812858220C6C}"/>
                </a:ext>
              </a:extLst>
            </p:cNvPr>
            <p:cNvSpPr txBox="1"/>
            <p:nvPr userDrawn="1"/>
          </p:nvSpPr>
          <p:spPr>
            <a:xfrm>
              <a:off x="10061357" y="512156"/>
              <a:ext cx="1102866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fr-FR" sz="900" b="1" cap="all" baseline="0" dirty="0">
                  <a:solidFill>
                    <a:schemeClr val="accent1"/>
                  </a:solidFill>
                </a:rPr>
                <a:t>Investir l’aveni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9816733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- Fu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D96F4B6-B01F-4AB3-ABC6-8527D7A2733A}"/>
              </a:ext>
            </a:extLst>
          </p:cNvPr>
          <p:cNvSpPr/>
          <p:nvPr userDrawn="1"/>
        </p:nvSpPr>
        <p:spPr>
          <a:xfrm>
            <a:off x="0" y="0"/>
            <a:ext cx="12192000" cy="10436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A52FDD7-76B5-4B8E-A008-DBC75B8F4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2CE5E28-6AF4-477F-B82D-4F5ABBAB60BE}" type="datetime1">
              <a:rPr lang="fr-FR" smtClean="0"/>
              <a:t>22/11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02BE54F-4953-4F0A-AA2E-99A3D6292F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COMEX – 9 avril 2021 - POUR INFORM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35E73AA-FFC7-4E68-A1E5-2653FA5B5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3598" y="6511056"/>
            <a:ext cx="650240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C02D038-4989-45BB-AD16-38E0E231338A}" type="slidenum">
              <a:rPr lang="fr-FR" smtClean="0"/>
              <a:pPr/>
              <a:t>‹N°›</a:t>
            </a:fld>
            <a:endParaRPr lang="fr-FR" dirty="0"/>
          </a:p>
        </p:txBody>
      </p:sp>
      <p:grpSp>
        <p:nvGrpSpPr>
          <p:cNvPr id="11" name="Graphique 2">
            <a:extLst>
              <a:ext uri="{FF2B5EF4-FFF2-40B4-BE49-F238E27FC236}">
                <a16:creationId xmlns:a16="http://schemas.microsoft.com/office/drawing/2014/main" id="{889398C8-CCDA-460C-8D6D-66F796CDB51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40000" y="270000"/>
            <a:ext cx="432404" cy="504000"/>
            <a:chOff x="269557" y="269557"/>
            <a:chExt cx="1311592" cy="1528762"/>
          </a:xfrm>
        </p:grpSpPr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B68CE830-96CE-42DC-A43C-3F0242DFFD10}"/>
                </a:ext>
              </a:extLst>
            </p:cNvPr>
            <p:cNvSpPr/>
            <p:nvPr/>
          </p:nvSpPr>
          <p:spPr>
            <a:xfrm>
              <a:off x="269557" y="1304925"/>
              <a:ext cx="693419" cy="493395"/>
            </a:xfrm>
            <a:custGeom>
              <a:avLst/>
              <a:gdLst>
                <a:gd name="connsiteX0" fmla="*/ 659130 w 693419"/>
                <a:gd name="connsiteY0" fmla="*/ 422910 h 493395"/>
                <a:gd name="connsiteX1" fmla="*/ 666750 w 693419"/>
                <a:gd name="connsiteY1" fmla="*/ 437197 h 493395"/>
                <a:gd name="connsiteX2" fmla="*/ 641033 w 693419"/>
                <a:gd name="connsiteY2" fmla="*/ 442913 h 493395"/>
                <a:gd name="connsiteX3" fmla="*/ 659130 w 693419"/>
                <a:gd name="connsiteY3" fmla="*/ 422910 h 493395"/>
                <a:gd name="connsiteX4" fmla="*/ 673418 w 693419"/>
                <a:gd name="connsiteY4" fmla="*/ 464820 h 493395"/>
                <a:gd name="connsiteX5" fmla="*/ 668655 w 693419"/>
                <a:gd name="connsiteY5" fmla="*/ 464820 h 493395"/>
                <a:gd name="connsiteX6" fmla="*/ 648653 w 693419"/>
                <a:gd name="connsiteY6" fmla="*/ 478155 h 493395"/>
                <a:gd name="connsiteX7" fmla="*/ 638175 w 693419"/>
                <a:gd name="connsiteY7" fmla="*/ 464820 h 493395"/>
                <a:gd name="connsiteX8" fmla="*/ 639128 w 693419"/>
                <a:gd name="connsiteY8" fmla="*/ 453390 h 493395"/>
                <a:gd name="connsiteX9" fmla="*/ 680085 w 693419"/>
                <a:gd name="connsiteY9" fmla="*/ 440055 h 493395"/>
                <a:gd name="connsiteX10" fmla="*/ 666750 w 693419"/>
                <a:gd name="connsiteY10" fmla="*/ 412433 h 493395"/>
                <a:gd name="connsiteX11" fmla="*/ 624840 w 693419"/>
                <a:gd name="connsiteY11" fmla="*/ 473392 h 493395"/>
                <a:gd name="connsiteX12" fmla="*/ 640080 w 693419"/>
                <a:gd name="connsiteY12" fmla="*/ 493395 h 493395"/>
                <a:gd name="connsiteX13" fmla="*/ 673418 w 693419"/>
                <a:gd name="connsiteY13" fmla="*/ 464820 h 493395"/>
                <a:gd name="connsiteX14" fmla="*/ 664845 w 693419"/>
                <a:gd name="connsiteY14" fmla="*/ 404813 h 493395"/>
                <a:gd name="connsiteX15" fmla="*/ 693420 w 693419"/>
                <a:gd name="connsiteY15" fmla="*/ 378142 h 493395"/>
                <a:gd name="connsiteX16" fmla="*/ 693420 w 693419"/>
                <a:gd name="connsiteY16" fmla="*/ 375285 h 493395"/>
                <a:gd name="connsiteX17" fmla="*/ 678180 w 693419"/>
                <a:gd name="connsiteY17" fmla="*/ 375285 h 493395"/>
                <a:gd name="connsiteX18" fmla="*/ 660083 w 693419"/>
                <a:gd name="connsiteY18" fmla="*/ 405765 h 493395"/>
                <a:gd name="connsiteX19" fmla="*/ 664845 w 693419"/>
                <a:gd name="connsiteY19" fmla="*/ 405765 h 493395"/>
                <a:gd name="connsiteX20" fmla="*/ 576263 w 693419"/>
                <a:gd name="connsiteY20" fmla="*/ 423863 h 493395"/>
                <a:gd name="connsiteX21" fmla="*/ 589598 w 693419"/>
                <a:gd name="connsiteY21" fmla="*/ 423863 h 493395"/>
                <a:gd name="connsiteX22" fmla="*/ 567690 w 693419"/>
                <a:gd name="connsiteY22" fmla="*/ 482917 h 493395"/>
                <a:gd name="connsiteX23" fmla="*/ 573405 w 693419"/>
                <a:gd name="connsiteY23" fmla="*/ 493395 h 493395"/>
                <a:gd name="connsiteX24" fmla="*/ 612458 w 693419"/>
                <a:gd name="connsiteY24" fmla="*/ 464820 h 493395"/>
                <a:gd name="connsiteX25" fmla="*/ 608648 w 693419"/>
                <a:gd name="connsiteY25" fmla="*/ 464820 h 493395"/>
                <a:gd name="connsiteX26" fmla="*/ 583883 w 693419"/>
                <a:gd name="connsiteY26" fmla="*/ 480060 h 493395"/>
                <a:gd name="connsiteX27" fmla="*/ 603885 w 693419"/>
                <a:gd name="connsiteY27" fmla="*/ 424815 h 493395"/>
                <a:gd name="connsiteX28" fmla="*/ 623888 w 693419"/>
                <a:gd name="connsiteY28" fmla="*/ 424815 h 493395"/>
                <a:gd name="connsiteX29" fmla="*/ 626745 w 693419"/>
                <a:gd name="connsiteY29" fmla="*/ 416242 h 493395"/>
                <a:gd name="connsiteX30" fmla="*/ 606743 w 693419"/>
                <a:gd name="connsiteY30" fmla="*/ 416242 h 493395"/>
                <a:gd name="connsiteX31" fmla="*/ 614363 w 693419"/>
                <a:gd name="connsiteY31" fmla="*/ 395288 h 493395"/>
                <a:gd name="connsiteX32" fmla="*/ 606743 w 693419"/>
                <a:gd name="connsiteY32" fmla="*/ 395288 h 493395"/>
                <a:gd name="connsiteX33" fmla="*/ 592455 w 693419"/>
                <a:gd name="connsiteY33" fmla="*/ 416242 h 493395"/>
                <a:gd name="connsiteX34" fmla="*/ 575310 w 693419"/>
                <a:gd name="connsiteY34" fmla="*/ 418147 h 493395"/>
                <a:gd name="connsiteX35" fmla="*/ 575310 w 693419"/>
                <a:gd name="connsiteY35" fmla="*/ 423863 h 493395"/>
                <a:gd name="connsiteX36" fmla="*/ 558165 w 693419"/>
                <a:gd name="connsiteY36" fmla="*/ 421005 h 493395"/>
                <a:gd name="connsiteX37" fmla="*/ 553403 w 693419"/>
                <a:gd name="connsiteY37" fmla="*/ 412433 h 493395"/>
                <a:gd name="connsiteX38" fmla="*/ 521970 w 693419"/>
                <a:gd name="connsiteY38" fmla="*/ 438150 h 493395"/>
                <a:gd name="connsiteX39" fmla="*/ 525780 w 693419"/>
                <a:gd name="connsiteY39" fmla="*/ 438150 h 493395"/>
                <a:gd name="connsiteX40" fmla="*/ 541973 w 693419"/>
                <a:gd name="connsiteY40" fmla="*/ 425767 h 493395"/>
                <a:gd name="connsiteX41" fmla="*/ 519113 w 693419"/>
                <a:gd name="connsiteY41" fmla="*/ 484822 h 493395"/>
                <a:gd name="connsiteX42" fmla="*/ 523875 w 693419"/>
                <a:gd name="connsiteY42" fmla="*/ 493395 h 493395"/>
                <a:gd name="connsiteX43" fmla="*/ 554355 w 693419"/>
                <a:gd name="connsiteY43" fmla="*/ 467678 h 493395"/>
                <a:gd name="connsiteX44" fmla="*/ 550545 w 693419"/>
                <a:gd name="connsiteY44" fmla="*/ 467678 h 493395"/>
                <a:gd name="connsiteX45" fmla="*/ 534353 w 693419"/>
                <a:gd name="connsiteY45" fmla="*/ 480060 h 493395"/>
                <a:gd name="connsiteX46" fmla="*/ 558165 w 693419"/>
                <a:gd name="connsiteY46" fmla="*/ 421005 h 493395"/>
                <a:gd name="connsiteX47" fmla="*/ 561975 w 693419"/>
                <a:gd name="connsiteY47" fmla="*/ 391478 h 493395"/>
                <a:gd name="connsiteX48" fmla="*/ 571500 w 693419"/>
                <a:gd name="connsiteY48" fmla="*/ 381953 h 493395"/>
                <a:gd name="connsiteX49" fmla="*/ 561975 w 693419"/>
                <a:gd name="connsiteY49" fmla="*/ 372428 h 493395"/>
                <a:gd name="connsiteX50" fmla="*/ 552450 w 693419"/>
                <a:gd name="connsiteY50" fmla="*/ 381953 h 493395"/>
                <a:gd name="connsiteX51" fmla="*/ 561975 w 693419"/>
                <a:gd name="connsiteY51" fmla="*/ 391478 h 493395"/>
                <a:gd name="connsiteX52" fmla="*/ 431483 w 693419"/>
                <a:gd name="connsiteY52" fmla="*/ 481965 h 493395"/>
                <a:gd name="connsiteX53" fmla="*/ 438150 w 693419"/>
                <a:gd name="connsiteY53" fmla="*/ 493395 h 493395"/>
                <a:gd name="connsiteX54" fmla="*/ 445770 w 693419"/>
                <a:gd name="connsiteY54" fmla="*/ 487680 h 493395"/>
                <a:gd name="connsiteX55" fmla="*/ 461963 w 693419"/>
                <a:gd name="connsiteY55" fmla="*/ 445770 h 493395"/>
                <a:gd name="connsiteX56" fmla="*/ 490538 w 693419"/>
                <a:gd name="connsiteY56" fmla="*/ 427672 h 493395"/>
                <a:gd name="connsiteX57" fmla="*/ 491490 w 693419"/>
                <a:gd name="connsiteY57" fmla="*/ 436245 h 493395"/>
                <a:gd name="connsiteX58" fmla="*/ 467678 w 693419"/>
                <a:gd name="connsiteY58" fmla="*/ 482917 h 493395"/>
                <a:gd name="connsiteX59" fmla="*/ 473393 w 693419"/>
                <a:gd name="connsiteY59" fmla="*/ 493395 h 493395"/>
                <a:gd name="connsiteX60" fmla="*/ 504825 w 693419"/>
                <a:gd name="connsiteY60" fmla="*/ 467678 h 493395"/>
                <a:gd name="connsiteX61" fmla="*/ 501015 w 693419"/>
                <a:gd name="connsiteY61" fmla="*/ 467678 h 493395"/>
                <a:gd name="connsiteX62" fmla="*/ 484822 w 693419"/>
                <a:gd name="connsiteY62" fmla="*/ 480060 h 493395"/>
                <a:gd name="connsiteX63" fmla="*/ 505778 w 693419"/>
                <a:gd name="connsiteY63" fmla="*/ 438150 h 493395"/>
                <a:gd name="connsiteX64" fmla="*/ 509588 w 693419"/>
                <a:gd name="connsiteY64" fmla="*/ 423863 h 493395"/>
                <a:gd name="connsiteX65" fmla="*/ 498158 w 693419"/>
                <a:gd name="connsiteY65" fmla="*/ 412433 h 493395"/>
                <a:gd name="connsiteX66" fmla="*/ 464820 w 693419"/>
                <a:gd name="connsiteY66" fmla="*/ 438150 h 493395"/>
                <a:gd name="connsiteX67" fmla="*/ 464820 w 693419"/>
                <a:gd name="connsiteY67" fmla="*/ 426720 h 493395"/>
                <a:gd name="connsiteX68" fmla="*/ 455295 w 693419"/>
                <a:gd name="connsiteY68" fmla="*/ 411480 h 493395"/>
                <a:gd name="connsiteX69" fmla="*/ 442913 w 693419"/>
                <a:gd name="connsiteY69" fmla="*/ 421005 h 493395"/>
                <a:gd name="connsiteX70" fmla="*/ 442913 w 693419"/>
                <a:gd name="connsiteY70" fmla="*/ 422910 h 493395"/>
                <a:gd name="connsiteX71" fmla="*/ 448628 w 693419"/>
                <a:gd name="connsiteY71" fmla="*/ 445770 h 493395"/>
                <a:gd name="connsiteX72" fmla="*/ 431483 w 693419"/>
                <a:gd name="connsiteY72" fmla="*/ 481965 h 493395"/>
                <a:gd name="connsiteX73" fmla="*/ 431483 w 693419"/>
                <a:gd name="connsiteY73" fmla="*/ 430530 h 493395"/>
                <a:gd name="connsiteX74" fmla="*/ 425768 w 693419"/>
                <a:gd name="connsiteY74" fmla="*/ 412433 h 493395"/>
                <a:gd name="connsiteX75" fmla="*/ 405765 w 693419"/>
                <a:gd name="connsiteY75" fmla="*/ 438150 h 493395"/>
                <a:gd name="connsiteX76" fmla="*/ 405765 w 693419"/>
                <a:gd name="connsiteY76" fmla="*/ 426720 h 493395"/>
                <a:gd name="connsiteX77" fmla="*/ 396240 w 693419"/>
                <a:gd name="connsiteY77" fmla="*/ 411480 h 493395"/>
                <a:gd name="connsiteX78" fmla="*/ 374333 w 693419"/>
                <a:gd name="connsiteY78" fmla="*/ 437197 h 493395"/>
                <a:gd name="connsiteX79" fmla="*/ 378143 w 693419"/>
                <a:gd name="connsiteY79" fmla="*/ 437197 h 493395"/>
                <a:gd name="connsiteX80" fmla="*/ 388620 w 693419"/>
                <a:gd name="connsiteY80" fmla="*/ 427672 h 493395"/>
                <a:gd name="connsiteX81" fmla="*/ 388620 w 693419"/>
                <a:gd name="connsiteY81" fmla="*/ 445770 h 493395"/>
                <a:gd name="connsiteX82" fmla="*/ 372428 w 693419"/>
                <a:gd name="connsiteY82" fmla="*/ 481013 h 493395"/>
                <a:gd name="connsiteX83" fmla="*/ 379095 w 693419"/>
                <a:gd name="connsiteY83" fmla="*/ 492442 h 493395"/>
                <a:gd name="connsiteX84" fmla="*/ 386715 w 693419"/>
                <a:gd name="connsiteY84" fmla="*/ 486728 h 493395"/>
                <a:gd name="connsiteX85" fmla="*/ 402908 w 693419"/>
                <a:gd name="connsiteY85" fmla="*/ 444817 h 493395"/>
                <a:gd name="connsiteX86" fmla="*/ 416243 w 693419"/>
                <a:gd name="connsiteY86" fmla="*/ 429578 h 493395"/>
                <a:gd name="connsiteX87" fmla="*/ 431483 w 693419"/>
                <a:gd name="connsiteY87" fmla="*/ 429578 h 493395"/>
                <a:gd name="connsiteX88" fmla="*/ 340043 w 693419"/>
                <a:gd name="connsiteY88" fmla="*/ 422910 h 493395"/>
                <a:gd name="connsiteX89" fmla="*/ 347663 w 693419"/>
                <a:gd name="connsiteY89" fmla="*/ 437197 h 493395"/>
                <a:gd name="connsiteX90" fmla="*/ 321945 w 693419"/>
                <a:gd name="connsiteY90" fmla="*/ 442913 h 493395"/>
                <a:gd name="connsiteX91" fmla="*/ 340043 w 693419"/>
                <a:gd name="connsiteY91" fmla="*/ 422910 h 493395"/>
                <a:gd name="connsiteX92" fmla="*/ 354330 w 693419"/>
                <a:gd name="connsiteY92" fmla="*/ 464820 h 493395"/>
                <a:gd name="connsiteX93" fmla="*/ 349568 w 693419"/>
                <a:gd name="connsiteY93" fmla="*/ 464820 h 493395"/>
                <a:gd name="connsiteX94" fmla="*/ 329565 w 693419"/>
                <a:gd name="connsiteY94" fmla="*/ 478155 h 493395"/>
                <a:gd name="connsiteX95" fmla="*/ 319088 w 693419"/>
                <a:gd name="connsiteY95" fmla="*/ 464820 h 493395"/>
                <a:gd name="connsiteX96" fmla="*/ 320040 w 693419"/>
                <a:gd name="connsiteY96" fmla="*/ 453390 h 493395"/>
                <a:gd name="connsiteX97" fmla="*/ 360997 w 693419"/>
                <a:gd name="connsiteY97" fmla="*/ 440055 h 493395"/>
                <a:gd name="connsiteX98" fmla="*/ 347663 w 693419"/>
                <a:gd name="connsiteY98" fmla="*/ 412433 h 493395"/>
                <a:gd name="connsiteX99" fmla="*/ 305753 w 693419"/>
                <a:gd name="connsiteY99" fmla="*/ 473392 h 493395"/>
                <a:gd name="connsiteX100" fmla="*/ 320993 w 693419"/>
                <a:gd name="connsiteY100" fmla="*/ 493395 h 493395"/>
                <a:gd name="connsiteX101" fmla="*/ 354330 w 693419"/>
                <a:gd name="connsiteY101" fmla="*/ 464820 h 493395"/>
                <a:gd name="connsiteX102" fmla="*/ 257175 w 693419"/>
                <a:gd name="connsiteY102" fmla="*/ 423863 h 493395"/>
                <a:gd name="connsiteX103" fmla="*/ 270510 w 693419"/>
                <a:gd name="connsiteY103" fmla="*/ 423863 h 493395"/>
                <a:gd name="connsiteX104" fmla="*/ 248603 w 693419"/>
                <a:gd name="connsiteY104" fmla="*/ 482917 h 493395"/>
                <a:gd name="connsiteX105" fmla="*/ 254318 w 693419"/>
                <a:gd name="connsiteY105" fmla="*/ 493395 h 493395"/>
                <a:gd name="connsiteX106" fmla="*/ 293370 w 693419"/>
                <a:gd name="connsiteY106" fmla="*/ 464820 h 493395"/>
                <a:gd name="connsiteX107" fmla="*/ 289560 w 693419"/>
                <a:gd name="connsiteY107" fmla="*/ 464820 h 493395"/>
                <a:gd name="connsiteX108" fmla="*/ 264795 w 693419"/>
                <a:gd name="connsiteY108" fmla="*/ 480060 h 493395"/>
                <a:gd name="connsiteX109" fmla="*/ 284798 w 693419"/>
                <a:gd name="connsiteY109" fmla="*/ 424815 h 493395"/>
                <a:gd name="connsiteX110" fmla="*/ 304800 w 693419"/>
                <a:gd name="connsiteY110" fmla="*/ 424815 h 493395"/>
                <a:gd name="connsiteX111" fmla="*/ 307658 w 693419"/>
                <a:gd name="connsiteY111" fmla="*/ 416242 h 493395"/>
                <a:gd name="connsiteX112" fmla="*/ 287655 w 693419"/>
                <a:gd name="connsiteY112" fmla="*/ 416242 h 493395"/>
                <a:gd name="connsiteX113" fmla="*/ 295275 w 693419"/>
                <a:gd name="connsiteY113" fmla="*/ 395288 h 493395"/>
                <a:gd name="connsiteX114" fmla="*/ 287655 w 693419"/>
                <a:gd name="connsiteY114" fmla="*/ 395288 h 493395"/>
                <a:gd name="connsiteX115" fmla="*/ 273368 w 693419"/>
                <a:gd name="connsiteY115" fmla="*/ 416242 h 493395"/>
                <a:gd name="connsiteX116" fmla="*/ 256223 w 693419"/>
                <a:gd name="connsiteY116" fmla="*/ 418147 h 493395"/>
                <a:gd name="connsiteX117" fmla="*/ 256223 w 693419"/>
                <a:gd name="connsiteY117" fmla="*/ 423863 h 493395"/>
                <a:gd name="connsiteX118" fmla="*/ 181928 w 693419"/>
                <a:gd name="connsiteY118" fmla="*/ 469583 h 493395"/>
                <a:gd name="connsiteX119" fmla="*/ 213360 w 693419"/>
                <a:gd name="connsiteY119" fmla="*/ 426720 h 493395"/>
                <a:gd name="connsiteX120" fmla="*/ 220028 w 693419"/>
                <a:gd name="connsiteY120" fmla="*/ 427672 h 493395"/>
                <a:gd name="connsiteX121" fmla="*/ 208598 w 693419"/>
                <a:gd name="connsiteY121" fmla="*/ 459105 h 493395"/>
                <a:gd name="connsiteX122" fmla="*/ 186690 w 693419"/>
                <a:gd name="connsiteY122" fmla="*/ 477203 h 493395"/>
                <a:gd name="connsiteX123" fmla="*/ 181928 w 693419"/>
                <a:gd name="connsiteY123" fmla="*/ 469583 h 493395"/>
                <a:gd name="connsiteX124" fmla="*/ 244793 w 693419"/>
                <a:gd name="connsiteY124" fmla="*/ 408622 h 493395"/>
                <a:gd name="connsiteX125" fmla="*/ 238125 w 693419"/>
                <a:gd name="connsiteY125" fmla="*/ 408622 h 493395"/>
                <a:gd name="connsiteX126" fmla="*/ 231458 w 693419"/>
                <a:gd name="connsiteY126" fmla="*/ 415290 h 493395"/>
                <a:gd name="connsiteX127" fmla="*/ 229553 w 693419"/>
                <a:gd name="connsiteY127" fmla="*/ 415290 h 493395"/>
                <a:gd name="connsiteX128" fmla="*/ 166688 w 693419"/>
                <a:gd name="connsiteY128" fmla="*/ 481013 h 493395"/>
                <a:gd name="connsiteX129" fmla="*/ 179070 w 693419"/>
                <a:gd name="connsiteY129" fmla="*/ 493395 h 493395"/>
                <a:gd name="connsiteX130" fmla="*/ 205740 w 693419"/>
                <a:gd name="connsiteY130" fmla="*/ 467678 h 493395"/>
                <a:gd name="connsiteX131" fmla="*/ 205740 w 693419"/>
                <a:gd name="connsiteY131" fmla="*/ 472440 h 493395"/>
                <a:gd name="connsiteX132" fmla="*/ 216218 w 693419"/>
                <a:gd name="connsiteY132" fmla="*/ 493395 h 493395"/>
                <a:gd name="connsiteX133" fmla="*/ 238125 w 693419"/>
                <a:gd name="connsiteY133" fmla="*/ 467678 h 493395"/>
                <a:gd name="connsiteX134" fmla="*/ 234315 w 693419"/>
                <a:gd name="connsiteY134" fmla="*/ 467678 h 493395"/>
                <a:gd name="connsiteX135" fmla="*/ 223838 w 693419"/>
                <a:gd name="connsiteY135" fmla="*/ 477203 h 493395"/>
                <a:gd name="connsiteX136" fmla="*/ 223838 w 693419"/>
                <a:gd name="connsiteY136" fmla="*/ 459105 h 493395"/>
                <a:gd name="connsiteX137" fmla="*/ 244793 w 693419"/>
                <a:gd name="connsiteY137" fmla="*/ 408622 h 493395"/>
                <a:gd name="connsiteX138" fmla="*/ 172403 w 693419"/>
                <a:gd name="connsiteY138" fmla="*/ 430530 h 493395"/>
                <a:gd name="connsiteX139" fmla="*/ 166688 w 693419"/>
                <a:gd name="connsiteY139" fmla="*/ 412433 h 493395"/>
                <a:gd name="connsiteX140" fmla="*/ 146685 w 693419"/>
                <a:gd name="connsiteY140" fmla="*/ 438150 h 493395"/>
                <a:gd name="connsiteX141" fmla="*/ 146685 w 693419"/>
                <a:gd name="connsiteY141" fmla="*/ 426720 h 493395"/>
                <a:gd name="connsiteX142" fmla="*/ 137160 w 693419"/>
                <a:gd name="connsiteY142" fmla="*/ 411480 h 493395"/>
                <a:gd name="connsiteX143" fmla="*/ 115253 w 693419"/>
                <a:gd name="connsiteY143" fmla="*/ 437197 h 493395"/>
                <a:gd name="connsiteX144" fmla="*/ 119063 w 693419"/>
                <a:gd name="connsiteY144" fmla="*/ 437197 h 493395"/>
                <a:gd name="connsiteX145" fmla="*/ 129540 w 693419"/>
                <a:gd name="connsiteY145" fmla="*/ 427672 h 493395"/>
                <a:gd name="connsiteX146" fmla="*/ 129540 w 693419"/>
                <a:gd name="connsiteY146" fmla="*/ 445770 h 493395"/>
                <a:gd name="connsiteX147" fmla="*/ 113348 w 693419"/>
                <a:gd name="connsiteY147" fmla="*/ 481013 h 493395"/>
                <a:gd name="connsiteX148" fmla="*/ 120015 w 693419"/>
                <a:gd name="connsiteY148" fmla="*/ 492442 h 493395"/>
                <a:gd name="connsiteX149" fmla="*/ 127635 w 693419"/>
                <a:gd name="connsiteY149" fmla="*/ 486728 h 493395"/>
                <a:gd name="connsiteX150" fmla="*/ 143828 w 693419"/>
                <a:gd name="connsiteY150" fmla="*/ 444817 h 493395"/>
                <a:gd name="connsiteX151" fmla="*/ 157163 w 693419"/>
                <a:gd name="connsiteY151" fmla="*/ 429578 h 493395"/>
                <a:gd name="connsiteX152" fmla="*/ 172403 w 693419"/>
                <a:gd name="connsiteY152" fmla="*/ 429578 h 493395"/>
                <a:gd name="connsiteX153" fmla="*/ 59055 w 693419"/>
                <a:gd name="connsiteY153" fmla="*/ 489585 h 493395"/>
                <a:gd name="connsiteX154" fmla="*/ 60960 w 693419"/>
                <a:gd name="connsiteY154" fmla="*/ 484822 h 493395"/>
                <a:gd name="connsiteX155" fmla="*/ 46673 w 693419"/>
                <a:gd name="connsiteY155" fmla="*/ 460058 h 493395"/>
                <a:gd name="connsiteX156" fmla="*/ 54293 w 693419"/>
                <a:gd name="connsiteY156" fmla="*/ 438150 h 493395"/>
                <a:gd name="connsiteX157" fmla="*/ 76200 w 693419"/>
                <a:gd name="connsiteY157" fmla="*/ 438150 h 493395"/>
                <a:gd name="connsiteX158" fmla="*/ 84773 w 693419"/>
                <a:gd name="connsiteY158" fmla="*/ 452438 h 493395"/>
                <a:gd name="connsiteX159" fmla="*/ 90488 w 693419"/>
                <a:gd name="connsiteY159" fmla="*/ 452438 h 493395"/>
                <a:gd name="connsiteX160" fmla="*/ 103823 w 693419"/>
                <a:gd name="connsiteY160" fmla="*/ 416242 h 493395"/>
                <a:gd name="connsiteX161" fmla="*/ 98107 w 693419"/>
                <a:gd name="connsiteY161" fmla="*/ 416242 h 493395"/>
                <a:gd name="connsiteX162" fmla="*/ 79057 w 693419"/>
                <a:gd name="connsiteY162" fmla="*/ 430530 h 493395"/>
                <a:gd name="connsiteX163" fmla="*/ 57150 w 693419"/>
                <a:gd name="connsiteY163" fmla="*/ 430530 h 493395"/>
                <a:gd name="connsiteX164" fmla="*/ 68580 w 693419"/>
                <a:gd name="connsiteY164" fmla="*/ 399097 h 493395"/>
                <a:gd name="connsiteX165" fmla="*/ 87630 w 693419"/>
                <a:gd name="connsiteY165" fmla="*/ 386715 h 493395"/>
                <a:gd name="connsiteX166" fmla="*/ 97155 w 693419"/>
                <a:gd name="connsiteY166" fmla="*/ 386715 h 493395"/>
                <a:gd name="connsiteX167" fmla="*/ 112395 w 693419"/>
                <a:gd name="connsiteY167" fmla="*/ 404813 h 493395"/>
                <a:gd name="connsiteX168" fmla="*/ 118110 w 693419"/>
                <a:gd name="connsiteY168" fmla="*/ 404813 h 493395"/>
                <a:gd name="connsiteX169" fmla="*/ 122873 w 693419"/>
                <a:gd name="connsiteY169" fmla="*/ 380047 h 493395"/>
                <a:gd name="connsiteX170" fmla="*/ 40957 w 693419"/>
                <a:gd name="connsiteY170" fmla="*/ 380047 h 493395"/>
                <a:gd name="connsiteX171" fmla="*/ 39053 w 693419"/>
                <a:gd name="connsiteY171" fmla="*/ 384810 h 493395"/>
                <a:gd name="connsiteX172" fmla="*/ 48578 w 693419"/>
                <a:gd name="connsiteY172" fmla="*/ 409575 h 493395"/>
                <a:gd name="connsiteX173" fmla="*/ 30480 w 693419"/>
                <a:gd name="connsiteY173" fmla="*/ 458153 h 493395"/>
                <a:gd name="connsiteX174" fmla="*/ 1905 w 693419"/>
                <a:gd name="connsiteY174" fmla="*/ 482917 h 493395"/>
                <a:gd name="connsiteX175" fmla="*/ 953 w 693419"/>
                <a:gd name="connsiteY175" fmla="*/ 487680 h 493395"/>
                <a:gd name="connsiteX176" fmla="*/ 59055 w 693419"/>
                <a:gd name="connsiteY176" fmla="*/ 487680 h 493395"/>
                <a:gd name="connsiteX177" fmla="*/ 460058 w 693419"/>
                <a:gd name="connsiteY177" fmla="*/ 238125 h 493395"/>
                <a:gd name="connsiteX178" fmla="*/ 467678 w 693419"/>
                <a:gd name="connsiteY178" fmla="*/ 252413 h 493395"/>
                <a:gd name="connsiteX179" fmla="*/ 441960 w 693419"/>
                <a:gd name="connsiteY179" fmla="*/ 258128 h 493395"/>
                <a:gd name="connsiteX180" fmla="*/ 460058 w 693419"/>
                <a:gd name="connsiteY180" fmla="*/ 238125 h 493395"/>
                <a:gd name="connsiteX181" fmla="*/ 474345 w 693419"/>
                <a:gd name="connsiteY181" fmla="*/ 279083 h 493395"/>
                <a:gd name="connsiteX182" fmla="*/ 469583 w 693419"/>
                <a:gd name="connsiteY182" fmla="*/ 279083 h 493395"/>
                <a:gd name="connsiteX183" fmla="*/ 449580 w 693419"/>
                <a:gd name="connsiteY183" fmla="*/ 292417 h 493395"/>
                <a:gd name="connsiteX184" fmla="*/ 439103 w 693419"/>
                <a:gd name="connsiteY184" fmla="*/ 279083 h 493395"/>
                <a:gd name="connsiteX185" fmla="*/ 440055 w 693419"/>
                <a:gd name="connsiteY185" fmla="*/ 267653 h 493395"/>
                <a:gd name="connsiteX186" fmla="*/ 481013 w 693419"/>
                <a:gd name="connsiteY186" fmla="*/ 254317 h 493395"/>
                <a:gd name="connsiteX187" fmla="*/ 467678 w 693419"/>
                <a:gd name="connsiteY187" fmla="*/ 226695 h 493395"/>
                <a:gd name="connsiteX188" fmla="*/ 425768 w 693419"/>
                <a:gd name="connsiteY188" fmla="*/ 287655 h 493395"/>
                <a:gd name="connsiteX189" fmla="*/ 441008 w 693419"/>
                <a:gd name="connsiteY189" fmla="*/ 307658 h 493395"/>
                <a:gd name="connsiteX190" fmla="*/ 474345 w 693419"/>
                <a:gd name="connsiteY190" fmla="*/ 279083 h 493395"/>
                <a:gd name="connsiteX191" fmla="*/ 466725 w 693419"/>
                <a:gd name="connsiteY191" fmla="*/ 219075 h 493395"/>
                <a:gd name="connsiteX192" fmla="*/ 495300 w 693419"/>
                <a:gd name="connsiteY192" fmla="*/ 192405 h 493395"/>
                <a:gd name="connsiteX193" fmla="*/ 495300 w 693419"/>
                <a:gd name="connsiteY193" fmla="*/ 189547 h 493395"/>
                <a:gd name="connsiteX194" fmla="*/ 480060 w 693419"/>
                <a:gd name="connsiteY194" fmla="*/ 189547 h 493395"/>
                <a:gd name="connsiteX195" fmla="*/ 461963 w 693419"/>
                <a:gd name="connsiteY195" fmla="*/ 220028 h 493395"/>
                <a:gd name="connsiteX196" fmla="*/ 466725 w 693419"/>
                <a:gd name="connsiteY196" fmla="*/ 220028 h 493395"/>
                <a:gd name="connsiteX197" fmla="*/ 378143 w 693419"/>
                <a:gd name="connsiteY197" fmla="*/ 238125 h 493395"/>
                <a:gd name="connsiteX198" fmla="*/ 391478 w 693419"/>
                <a:gd name="connsiteY198" fmla="*/ 238125 h 493395"/>
                <a:gd name="connsiteX199" fmla="*/ 369570 w 693419"/>
                <a:gd name="connsiteY199" fmla="*/ 297180 h 493395"/>
                <a:gd name="connsiteX200" fmla="*/ 375285 w 693419"/>
                <a:gd name="connsiteY200" fmla="*/ 307658 h 493395"/>
                <a:gd name="connsiteX201" fmla="*/ 414338 w 693419"/>
                <a:gd name="connsiteY201" fmla="*/ 279083 h 493395"/>
                <a:gd name="connsiteX202" fmla="*/ 410528 w 693419"/>
                <a:gd name="connsiteY202" fmla="*/ 279083 h 493395"/>
                <a:gd name="connsiteX203" fmla="*/ 385763 w 693419"/>
                <a:gd name="connsiteY203" fmla="*/ 294322 h 493395"/>
                <a:gd name="connsiteX204" fmla="*/ 405765 w 693419"/>
                <a:gd name="connsiteY204" fmla="*/ 239078 h 493395"/>
                <a:gd name="connsiteX205" fmla="*/ 425768 w 693419"/>
                <a:gd name="connsiteY205" fmla="*/ 239078 h 493395"/>
                <a:gd name="connsiteX206" fmla="*/ 428625 w 693419"/>
                <a:gd name="connsiteY206" fmla="*/ 230505 h 493395"/>
                <a:gd name="connsiteX207" fmla="*/ 408622 w 693419"/>
                <a:gd name="connsiteY207" fmla="*/ 230505 h 493395"/>
                <a:gd name="connsiteX208" fmla="*/ 416243 w 693419"/>
                <a:gd name="connsiteY208" fmla="*/ 209550 h 493395"/>
                <a:gd name="connsiteX209" fmla="*/ 408622 w 693419"/>
                <a:gd name="connsiteY209" fmla="*/ 209550 h 493395"/>
                <a:gd name="connsiteX210" fmla="*/ 394335 w 693419"/>
                <a:gd name="connsiteY210" fmla="*/ 230505 h 493395"/>
                <a:gd name="connsiteX211" fmla="*/ 377190 w 693419"/>
                <a:gd name="connsiteY211" fmla="*/ 232410 h 493395"/>
                <a:gd name="connsiteX212" fmla="*/ 377190 w 693419"/>
                <a:gd name="connsiteY212" fmla="*/ 238125 h 493395"/>
                <a:gd name="connsiteX213" fmla="*/ 359093 w 693419"/>
                <a:gd name="connsiteY213" fmla="*/ 235267 h 493395"/>
                <a:gd name="connsiteX214" fmla="*/ 354330 w 693419"/>
                <a:gd name="connsiteY214" fmla="*/ 226695 h 493395"/>
                <a:gd name="connsiteX215" fmla="*/ 322898 w 693419"/>
                <a:gd name="connsiteY215" fmla="*/ 252413 h 493395"/>
                <a:gd name="connsiteX216" fmla="*/ 326708 w 693419"/>
                <a:gd name="connsiteY216" fmla="*/ 252413 h 493395"/>
                <a:gd name="connsiteX217" fmla="*/ 342900 w 693419"/>
                <a:gd name="connsiteY217" fmla="*/ 240030 h 493395"/>
                <a:gd name="connsiteX218" fmla="*/ 320040 w 693419"/>
                <a:gd name="connsiteY218" fmla="*/ 299085 h 493395"/>
                <a:gd name="connsiteX219" fmla="*/ 324803 w 693419"/>
                <a:gd name="connsiteY219" fmla="*/ 307658 h 493395"/>
                <a:gd name="connsiteX220" fmla="*/ 355283 w 693419"/>
                <a:gd name="connsiteY220" fmla="*/ 281940 h 493395"/>
                <a:gd name="connsiteX221" fmla="*/ 351472 w 693419"/>
                <a:gd name="connsiteY221" fmla="*/ 281940 h 493395"/>
                <a:gd name="connsiteX222" fmla="*/ 335280 w 693419"/>
                <a:gd name="connsiteY222" fmla="*/ 294322 h 493395"/>
                <a:gd name="connsiteX223" fmla="*/ 359093 w 693419"/>
                <a:gd name="connsiteY223" fmla="*/ 235267 h 493395"/>
                <a:gd name="connsiteX224" fmla="*/ 363855 w 693419"/>
                <a:gd name="connsiteY224" fmla="*/ 205740 h 493395"/>
                <a:gd name="connsiteX225" fmla="*/ 373380 w 693419"/>
                <a:gd name="connsiteY225" fmla="*/ 196215 h 493395"/>
                <a:gd name="connsiteX226" fmla="*/ 363855 w 693419"/>
                <a:gd name="connsiteY226" fmla="*/ 186690 h 493395"/>
                <a:gd name="connsiteX227" fmla="*/ 354330 w 693419"/>
                <a:gd name="connsiteY227" fmla="*/ 196215 h 493395"/>
                <a:gd name="connsiteX228" fmla="*/ 363855 w 693419"/>
                <a:gd name="connsiteY228" fmla="*/ 205740 h 493395"/>
                <a:gd name="connsiteX229" fmla="*/ 284798 w 693419"/>
                <a:gd name="connsiteY229" fmla="*/ 294322 h 493395"/>
                <a:gd name="connsiteX230" fmla="*/ 325755 w 693419"/>
                <a:gd name="connsiteY230" fmla="*/ 185738 h 493395"/>
                <a:gd name="connsiteX231" fmla="*/ 324803 w 693419"/>
                <a:gd name="connsiteY231" fmla="*/ 183833 h 493395"/>
                <a:gd name="connsiteX232" fmla="*/ 299085 w 693419"/>
                <a:gd name="connsiteY232" fmla="*/ 186690 h 493395"/>
                <a:gd name="connsiteX233" fmla="*/ 299085 w 693419"/>
                <a:gd name="connsiteY233" fmla="*/ 189547 h 493395"/>
                <a:gd name="connsiteX234" fmla="*/ 303848 w 693419"/>
                <a:gd name="connsiteY234" fmla="*/ 193358 h 493395"/>
                <a:gd name="connsiteX235" fmla="*/ 302895 w 693419"/>
                <a:gd name="connsiteY235" fmla="*/ 211455 h 493395"/>
                <a:gd name="connsiteX236" fmla="*/ 270510 w 693419"/>
                <a:gd name="connsiteY236" fmla="*/ 296228 h 493395"/>
                <a:gd name="connsiteX237" fmla="*/ 276225 w 693419"/>
                <a:gd name="connsiteY237" fmla="*/ 306705 h 493395"/>
                <a:gd name="connsiteX238" fmla="*/ 306705 w 693419"/>
                <a:gd name="connsiteY238" fmla="*/ 280988 h 493395"/>
                <a:gd name="connsiteX239" fmla="*/ 302895 w 693419"/>
                <a:gd name="connsiteY239" fmla="*/ 280988 h 493395"/>
                <a:gd name="connsiteX240" fmla="*/ 284798 w 693419"/>
                <a:gd name="connsiteY240" fmla="*/ 294322 h 493395"/>
                <a:gd name="connsiteX241" fmla="*/ 205740 w 693419"/>
                <a:gd name="connsiteY241" fmla="*/ 284797 h 493395"/>
                <a:gd name="connsiteX242" fmla="*/ 237173 w 693419"/>
                <a:gd name="connsiteY242" fmla="*/ 241935 h 493395"/>
                <a:gd name="connsiteX243" fmla="*/ 243840 w 693419"/>
                <a:gd name="connsiteY243" fmla="*/ 242888 h 493395"/>
                <a:gd name="connsiteX244" fmla="*/ 232410 w 693419"/>
                <a:gd name="connsiteY244" fmla="*/ 274320 h 493395"/>
                <a:gd name="connsiteX245" fmla="*/ 210503 w 693419"/>
                <a:gd name="connsiteY245" fmla="*/ 292417 h 493395"/>
                <a:gd name="connsiteX246" fmla="*/ 205740 w 693419"/>
                <a:gd name="connsiteY246" fmla="*/ 284797 h 493395"/>
                <a:gd name="connsiteX247" fmla="*/ 268605 w 693419"/>
                <a:gd name="connsiteY247" fmla="*/ 223838 h 493395"/>
                <a:gd name="connsiteX248" fmla="*/ 261938 w 693419"/>
                <a:gd name="connsiteY248" fmla="*/ 223838 h 493395"/>
                <a:gd name="connsiteX249" fmla="*/ 255270 w 693419"/>
                <a:gd name="connsiteY249" fmla="*/ 230505 h 493395"/>
                <a:gd name="connsiteX250" fmla="*/ 253365 w 693419"/>
                <a:gd name="connsiteY250" fmla="*/ 230505 h 493395"/>
                <a:gd name="connsiteX251" fmla="*/ 190500 w 693419"/>
                <a:gd name="connsiteY251" fmla="*/ 296228 h 493395"/>
                <a:gd name="connsiteX252" fmla="*/ 202883 w 693419"/>
                <a:gd name="connsiteY252" fmla="*/ 308610 h 493395"/>
                <a:gd name="connsiteX253" fmla="*/ 229553 w 693419"/>
                <a:gd name="connsiteY253" fmla="*/ 282892 h 493395"/>
                <a:gd name="connsiteX254" fmla="*/ 229553 w 693419"/>
                <a:gd name="connsiteY254" fmla="*/ 287655 h 493395"/>
                <a:gd name="connsiteX255" fmla="*/ 240030 w 693419"/>
                <a:gd name="connsiteY255" fmla="*/ 308610 h 493395"/>
                <a:gd name="connsiteX256" fmla="*/ 261938 w 693419"/>
                <a:gd name="connsiteY256" fmla="*/ 282892 h 493395"/>
                <a:gd name="connsiteX257" fmla="*/ 258128 w 693419"/>
                <a:gd name="connsiteY257" fmla="*/ 282892 h 493395"/>
                <a:gd name="connsiteX258" fmla="*/ 247650 w 693419"/>
                <a:gd name="connsiteY258" fmla="*/ 292417 h 493395"/>
                <a:gd name="connsiteX259" fmla="*/ 247650 w 693419"/>
                <a:gd name="connsiteY259" fmla="*/ 274320 h 493395"/>
                <a:gd name="connsiteX260" fmla="*/ 268605 w 693419"/>
                <a:gd name="connsiteY260" fmla="*/ 223838 h 493395"/>
                <a:gd name="connsiteX261" fmla="*/ 117157 w 693419"/>
                <a:gd name="connsiteY261" fmla="*/ 321945 h 493395"/>
                <a:gd name="connsiteX262" fmla="*/ 135255 w 693419"/>
                <a:gd name="connsiteY262" fmla="*/ 304800 h 493395"/>
                <a:gd name="connsiteX263" fmla="*/ 151448 w 693419"/>
                <a:gd name="connsiteY263" fmla="*/ 310515 h 493395"/>
                <a:gd name="connsiteX264" fmla="*/ 166688 w 693419"/>
                <a:gd name="connsiteY264" fmla="*/ 319088 h 493395"/>
                <a:gd name="connsiteX265" fmla="*/ 137160 w 693419"/>
                <a:gd name="connsiteY265" fmla="*/ 331470 h 493395"/>
                <a:gd name="connsiteX266" fmla="*/ 117157 w 693419"/>
                <a:gd name="connsiteY266" fmla="*/ 321945 h 493395"/>
                <a:gd name="connsiteX267" fmla="*/ 147638 w 693419"/>
                <a:gd name="connsiteY267" fmla="*/ 274320 h 493395"/>
                <a:gd name="connsiteX268" fmla="*/ 140970 w 693419"/>
                <a:gd name="connsiteY268" fmla="*/ 265747 h 493395"/>
                <a:gd name="connsiteX269" fmla="*/ 159068 w 693419"/>
                <a:gd name="connsiteY269" fmla="*/ 233363 h 493395"/>
                <a:gd name="connsiteX270" fmla="*/ 165735 w 693419"/>
                <a:gd name="connsiteY270" fmla="*/ 241935 h 493395"/>
                <a:gd name="connsiteX271" fmla="*/ 147638 w 693419"/>
                <a:gd name="connsiteY271" fmla="*/ 274320 h 493395"/>
                <a:gd name="connsiteX272" fmla="*/ 180023 w 693419"/>
                <a:gd name="connsiteY272" fmla="*/ 314325 h 493395"/>
                <a:gd name="connsiteX273" fmla="*/ 158115 w 693419"/>
                <a:gd name="connsiteY273" fmla="*/ 297180 h 493395"/>
                <a:gd name="connsiteX274" fmla="*/ 140970 w 693419"/>
                <a:gd name="connsiteY274" fmla="*/ 288608 h 493395"/>
                <a:gd name="connsiteX275" fmla="*/ 148590 w 693419"/>
                <a:gd name="connsiteY275" fmla="*/ 279083 h 493395"/>
                <a:gd name="connsiteX276" fmla="*/ 180975 w 693419"/>
                <a:gd name="connsiteY276" fmla="*/ 245745 h 493395"/>
                <a:gd name="connsiteX277" fmla="*/ 179070 w 693419"/>
                <a:gd name="connsiteY277" fmla="*/ 237172 h 493395"/>
                <a:gd name="connsiteX278" fmla="*/ 195263 w 693419"/>
                <a:gd name="connsiteY278" fmla="*/ 237172 h 493395"/>
                <a:gd name="connsiteX279" fmla="*/ 198120 w 693419"/>
                <a:gd name="connsiteY279" fmla="*/ 228600 h 493395"/>
                <a:gd name="connsiteX280" fmla="*/ 172403 w 693419"/>
                <a:gd name="connsiteY280" fmla="*/ 228600 h 493395"/>
                <a:gd name="connsiteX281" fmla="*/ 161925 w 693419"/>
                <a:gd name="connsiteY281" fmla="*/ 225742 h 493395"/>
                <a:gd name="connsiteX282" fmla="*/ 127635 w 693419"/>
                <a:gd name="connsiteY282" fmla="*/ 258128 h 493395"/>
                <a:gd name="connsiteX283" fmla="*/ 143828 w 693419"/>
                <a:gd name="connsiteY283" fmla="*/ 278130 h 493395"/>
                <a:gd name="connsiteX284" fmla="*/ 128588 w 693419"/>
                <a:gd name="connsiteY284" fmla="*/ 293370 h 493395"/>
                <a:gd name="connsiteX285" fmla="*/ 132398 w 693419"/>
                <a:gd name="connsiteY285" fmla="*/ 300990 h 493395"/>
                <a:gd name="connsiteX286" fmla="*/ 100965 w 693419"/>
                <a:gd name="connsiteY286" fmla="*/ 325755 h 493395"/>
                <a:gd name="connsiteX287" fmla="*/ 130493 w 693419"/>
                <a:gd name="connsiteY287" fmla="*/ 340042 h 493395"/>
                <a:gd name="connsiteX288" fmla="*/ 180023 w 693419"/>
                <a:gd name="connsiteY288" fmla="*/ 314325 h 493395"/>
                <a:gd name="connsiteX289" fmla="*/ 76200 w 693419"/>
                <a:gd name="connsiteY289" fmla="*/ 251460 h 493395"/>
                <a:gd name="connsiteX290" fmla="*/ 84773 w 693419"/>
                <a:gd name="connsiteY290" fmla="*/ 265747 h 493395"/>
                <a:gd name="connsiteX291" fmla="*/ 90488 w 693419"/>
                <a:gd name="connsiteY291" fmla="*/ 265747 h 493395"/>
                <a:gd name="connsiteX292" fmla="*/ 103823 w 693419"/>
                <a:gd name="connsiteY292" fmla="*/ 229553 h 493395"/>
                <a:gd name="connsiteX293" fmla="*/ 98107 w 693419"/>
                <a:gd name="connsiteY293" fmla="*/ 229553 h 493395"/>
                <a:gd name="connsiteX294" fmla="*/ 79057 w 693419"/>
                <a:gd name="connsiteY294" fmla="*/ 243840 h 493395"/>
                <a:gd name="connsiteX295" fmla="*/ 57150 w 693419"/>
                <a:gd name="connsiteY295" fmla="*/ 243840 h 493395"/>
                <a:gd name="connsiteX296" fmla="*/ 67628 w 693419"/>
                <a:gd name="connsiteY296" fmla="*/ 214313 h 493395"/>
                <a:gd name="connsiteX297" fmla="*/ 86678 w 693419"/>
                <a:gd name="connsiteY297" fmla="*/ 202883 h 493395"/>
                <a:gd name="connsiteX298" fmla="*/ 96203 w 693419"/>
                <a:gd name="connsiteY298" fmla="*/ 202883 h 493395"/>
                <a:gd name="connsiteX299" fmla="*/ 111443 w 693419"/>
                <a:gd name="connsiteY299" fmla="*/ 220028 h 493395"/>
                <a:gd name="connsiteX300" fmla="*/ 117157 w 693419"/>
                <a:gd name="connsiteY300" fmla="*/ 220028 h 493395"/>
                <a:gd name="connsiteX301" fmla="*/ 121920 w 693419"/>
                <a:gd name="connsiteY301" fmla="*/ 195263 h 493395"/>
                <a:gd name="connsiteX302" fmla="*/ 40005 w 693419"/>
                <a:gd name="connsiteY302" fmla="*/ 195263 h 493395"/>
                <a:gd name="connsiteX303" fmla="*/ 38100 w 693419"/>
                <a:gd name="connsiteY303" fmla="*/ 200025 h 493395"/>
                <a:gd name="connsiteX304" fmla="*/ 47625 w 693419"/>
                <a:gd name="connsiteY304" fmla="*/ 224790 h 493395"/>
                <a:gd name="connsiteX305" fmla="*/ 29528 w 693419"/>
                <a:gd name="connsiteY305" fmla="*/ 273367 h 493395"/>
                <a:gd name="connsiteX306" fmla="*/ 953 w 693419"/>
                <a:gd name="connsiteY306" fmla="*/ 298133 h 493395"/>
                <a:gd name="connsiteX307" fmla="*/ 0 w 693419"/>
                <a:gd name="connsiteY307" fmla="*/ 302895 h 493395"/>
                <a:gd name="connsiteX308" fmla="*/ 91440 w 693419"/>
                <a:gd name="connsiteY308" fmla="*/ 302895 h 493395"/>
                <a:gd name="connsiteX309" fmla="*/ 107632 w 693419"/>
                <a:gd name="connsiteY309" fmla="*/ 277178 h 493395"/>
                <a:gd name="connsiteX310" fmla="*/ 101918 w 693419"/>
                <a:gd name="connsiteY310" fmla="*/ 277178 h 493395"/>
                <a:gd name="connsiteX311" fmla="*/ 60007 w 693419"/>
                <a:gd name="connsiteY311" fmla="*/ 296228 h 493395"/>
                <a:gd name="connsiteX312" fmla="*/ 45720 w 693419"/>
                <a:gd name="connsiteY312" fmla="*/ 273367 h 493395"/>
                <a:gd name="connsiteX313" fmla="*/ 54293 w 693419"/>
                <a:gd name="connsiteY313" fmla="*/ 249555 h 493395"/>
                <a:gd name="connsiteX314" fmla="*/ 76200 w 693419"/>
                <a:gd name="connsiteY314" fmla="*/ 249555 h 493395"/>
                <a:gd name="connsiteX315" fmla="*/ 88582 w 693419"/>
                <a:gd name="connsiteY315" fmla="*/ 188595 h 493395"/>
                <a:gd name="connsiteX316" fmla="*/ 117157 w 693419"/>
                <a:gd name="connsiteY316" fmla="*/ 168592 h 493395"/>
                <a:gd name="connsiteX317" fmla="*/ 117157 w 693419"/>
                <a:gd name="connsiteY317" fmla="*/ 165735 h 493395"/>
                <a:gd name="connsiteX318" fmla="*/ 100013 w 693419"/>
                <a:gd name="connsiteY318" fmla="*/ 165735 h 493395"/>
                <a:gd name="connsiteX319" fmla="*/ 83820 w 693419"/>
                <a:gd name="connsiteY319" fmla="*/ 188595 h 493395"/>
                <a:gd name="connsiteX320" fmla="*/ 88582 w 693419"/>
                <a:gd name="connsiteY320" fmla="*/ 188595 h 493395"/>
                <a:gd name="connsiteX321" fmla="*/ 450533 w 693419"/>
                <a:gd name="connsiteY321" fmla="*/ 52388 h 493395"/>
                <a:gd name="connsiteX322" fmla="*/ 458153 w 693419"/>
                <a:gd name="connsiteY322" fmla="*/ 66675 h 493395"/>
                <a:gd name="connsiteX323" fmla="*/ 432435 w 693419"/>
                <a:gd name="connsiteY323" fmla="*/ 72390 h 493395"/>
                <a:gd name="connsiteX324" fmla="*/ 450533 w 693419"/>
                <a:gd name="connsiteY324" fmla="*/ 52388 h 493395"/>
                <a:gd name="connsiteX325" fmla="*/ 464820 w 693419"/>
                <a:gd name="connsiteY325" fmla="*/ 93345 h 493395"/>
                <a:gd name="connsiteX326" fmla="*/ 460058 w 693419"/>
                <a:gd name="connsiteY326" fmla="*/ 93345 h 493395"/>
                <a:gd name="connsiteX327" fmla="*/ 440055 w 693419"/>
                <a:gd name="connsiteY327" fmla="*/ 106680 h 493395"/>
                <a:gd name="connsiteX328" fmla="*/ 429578 w 693419"/>
                <a:gd name="connsiteY328" fmla="*/ 93345 h 493395"/>
                <a:gd name="connsiteX329" fmla="*/ 430530 w 693419"/>
                <a:gd name="connsiteY329" fmla="*/ 81915 h 493395"/>
                <a:gd name="connsiteX330" fmla="*/ 471488 w 693419"/>
                <a:gd name="connsiteY330" fmla="*/ 68580 h 493395"/>
                <a:gd name="connsiteX331" fmla="*/ 458153 w 693419"/>
                <a:gd name="connsiteY331" fmla="*/ 40958 h 493395"/>
                <a:gd name="connsiteX332" fmla="*/ 416243 w 693419"/>
                <a:gd name="connsiteY332" fmla="*/ 101917 h 493395"/>
                <a:gd name="connsiteX333" fmla="*/ 431483 w 693419"/>
                <a:gd name="connsiteY333" fmla="*/ 121920 h 493395"/>
                <a:gd name="connsiteX334" fmla="*/ 464820 w 693419"/>
                <a:gd name="connsiteY334" fmla="*/ 93345 h 493395"/>
                <a:gd name="connsiteX335" fmla="*/ 457200 w 693419"/>
                <a:gd name="connsiteY335" fmla="*/ 33338 h 493395"/>
                <a:gd name="connsiteX336" fmla="*/ 485775 w 693419"/>
                <a:gd name="connsiteY336" fmla="*/ 6667 h 493395"/>
                <a:gd name="connsiteX337" fmla="*/ 485775 w 693419"/>
                <a:gd name="connsiteY337" fmla="*/ 3810 h 493395"/>
                <a:gd name="connsiteX338" fmla="*/ 470535 w 693419"/>
                <a:gd name="connsiteY338" fmla="*/ 3810 h 493395"/>
                <a:gd name="connsiteX339" fmla="*/ 452438 w 693419"/>
                <a:gd name="connsiteY339" fmla="*/ 34290 h 493395"/>
                <a:gd name="connsiteX340" fmla="*/ 457200 w 693419"/>
                <a:gd name="connsiteY340" fmla="*/ 34290 h 493395"/>
                <a:gd name="connsiteX341" fmla="*/ 371475 w 693419"/>
                <a:gd name="connsiteY341" fmla="*/ 52388 h 493395"/>
                <a:gd name="connsiteX342" fmla="*/ 381953 w 693419"/>
                <a:gd name="connsiteY342" fmla="*/ 52388 h 493395"/>
                <a:gd name="connsiteX343" fmla="*/ 360045 w 693419"/>
                <a:gd name="connsiteY343" fmla="*/ 111442 h 493395"/>
                <a:gd name="connsiteX344" fmla="*/ 365760 w 693419"/>
                <a:gd name="connsiteY344" fmla="*/ 121920 h 493395"/>
                <a:gd name="connsiteX345" fmla="*/ 404813 w 693419"/>
                <a:gd name="connsiteY345" fmla="*/ 93345 h 493395"/>
                <a:gd name="connsiteX346" fmla="*/ 401003 w 693419"/>
                <a:gd name="connsiteY346" fmla="*/ 93345 h 493395"/>
                <a:gd name="connsiteX347" fmla="*/ 376238 w 693419"/>
                <a:gd name="connsiteY347" fmla="*/ 108585 h 493395"/>
                <a:gd name="connsiteX348" fmla="*/ 396240 w 693419"/>
                <a:gd name="connsiteY348" fmla="*/ 53340 h 493395"/>
                <a:gd name="connsiteX349" fmla="*/ 416243 w 693419"/>
                <a:gd name="connsiteY349" fmla="*/ 53340 h 493395"/>
                <a:gd name="connsiteX350" fmla="*/ 419100 w 693419"/>
                <a:gd name="connsiteY350" fmla="*/ 44767 h 493395"/>
                <a:gd name="connsiteX351" fmla="*/ 399097 w 693419"/>
                <a:gd name="connsiteY351" fmla="*/ 44767 h 493395"/>
                <a:gd name="connsiteX352" fmla="*/ 406718 w 693419"/>
                <a:gd name="connsiteY352" fmla="*/ 23813 h 493395"/>
                <a:gd name="connsiteX353" fmla="*/ 399097 w 693419"/>
                <a:gd name="connsiteY353" fmla="*/ 23813 h 493395"/>
                <a:gd name="connsiteX354" fmla="*/ 384810 w 693419"/>
                <a:gd name="connsiteY354" fmla="*/ 44767 h 493395"/>
                <a:gd name="connsiteX355" fmla="*/ 370522 w 693419"/>
                <a:gd name="connsiteY355" fmla="*/ 46672 h 493395"/>
                <a:gd name="connsiteX356" fmla="*/ 370522 w 693419"/>
                <a:gd name="connsiteY356" fmla="*/ 52388 h 493395"/>
                <a:gd name="connsiteX357" fmla="*/ 360997 w 693419"/>
                <a:gd name="connsiteY357" fmla="*/ 59055 h 493395"/>
                <a:gd name="connsiteX358" fmla="*/ 355283 w 693419"/>
                <a:gd name="connsiteY358" fmla="*/ 40958 h 493395"/>
                <a:gd name="connsiteX359" fmla="*/ 335280 w 693419"/>
                <a:gd name="connsiteY359" fmla="*/ 66675 h 493395"/>
                <a:gd name="connsiteX360" fmla="*/ 335280 w 693419"/>
                <a:gd name="connsiteY360" fmla="*/ 55245 h 493395"/>
                <a:gd name="connsiteX361" fmla="*/ 325755 w 693419"/>
                <a:gd name="connsiteY361" fmla="*/ 40005 h 493395"/>
                <a:gd name="connsiteX362" fmla="*/ 303848 w 693419"/>
                <a:gd name="connsiteY362" fmla="*/ 65722 h 493395"/>
                <a:gd name="connsiteX363" fmla="*/ 307658 w 693419"/>
                <a:gd name="connsiteY363" fmla="*/ 65722 h 493395"/>
                <a:gd name="connsiteX364" fmla="*/ 318135 w 693419"/>
                <a:gd name="connsiteY364" fmla="*/ 56197 h 493395"/>
                <a:gd name="connsiteX365" fmla="*/ 318135 w 693419"/>
                <a:gd name="connsiteY365" fmla="*/ 74295 h 493395"/>
                <a:gd name="connsiteX366" fmla="*/ 301943 w 693419"/>
                <a:gd name="connsiteY366" fmla="*/ 109538 h 493395"/>
                <a:gd name="connsiteX367" fmla="*/ 308610 w 693419"/>
                <a:gd name="connsiteY367" fmla="*/ 120967 h 493395"/>
                <a:gd name="connsiteX368" fmla="*/ 316230 w 693419"/>
                <a:gd name="connsiteY368" fmla="*/ 115253 h 493395"/>
                <a:gd name="connsiteX369" fmla="*/ 332423 w 693419"/>
                <a:gd name="connsiteY369" fmla="*/ 73342 h 493395"/>
                <a:gd name="connsiteX370" fmla="*/ 345758 w 693419"/>
                <a:gd name="connsiteY370" fmla="*/ 58103 h 493395"/>
                <a:gd name="connsiteX371" fmla="*/ 360997 w 693419"/>
                <a:gd name="connsiteY371" fmla="*/ 58103 h 493395"/>
                <a:gd name="connsiteX372" fmla="*/ 269558 w 693419"/>
                <a:gd name="connsiteY372" fmla="*/ 52388 h 493395"/>
                <a:gd name="connsiteX373" fmla="*/ 277178 w 693419"/>
                <a:gd name="connsiteY373" fmla="*/ 66675 h 493395"/>
                <a:gd name="connsiteX374" fmla="*/ 251460 w 693419"/>
                <a:gd name="connsiteY374" fmla="*/ 72390 h 493395"/>
                <a:gd name="connsiteX375" fmla="*/ 269558 w 693419"/>
                <a:gd name="connsiteY375" fmla="*/ 52388 h 493395"/>
                <a:gd name="connsiteX376" fmla="*/ 283845 w 693419"/>
                <a:gd name="connsiteY376" fmla="*/ 93345 h 493395"/>
                <a:gd name="connsiteX377" fmla="*/ 279083 w 693419"/>
                <a:gd name="connsiteY377" fmla="*/ 93345 h 493395"/>
                <a:gd name="connsiteX378" fmla="*/ 259080 w 693419"/>
                <a:gd name="connsiteY378" fmla="*/ 106680 h 493395"/>
                <a:gd name="connsiteX379" fmla="*/ 248603 w 693419"/>
                <a:gd name="connsiteY379" fmla="*/ 93345 h 493395"/>
                <a:gd name="connsiteX380" fmla="*/ 249555 w 693419"/>
                <a:gd name="connsiteY380" fmla="*/ 81915 h 493395"/>
                <a:gd name="connsiteX381" fmla="*/ 290513 w 693419"/>
                <a:gd name="connsiteY381" fmla="*/ 68580 h 493395"/>
                <a:gd name="connsiteX382" fmla="*/ 277178 w 693419"/>
                <a:gd name="connsiteY382" fmla="*/ 40958 h 493395"/>
                <a:gd name="connsiteX383" fmla="*/ 235268 w 693419"/>
                <a:gd name="connsiteY383" fmla="*/ 101917 h 493395"/>
                <a:gd name="connsiteX384" fmla="*/ 250508 w 693419"/>
                <a:gd name="connsiteY384" fmla="*/ 121920 h 493395"/>
                <a:gd name="connsiteX385" fmla="*/ 283845 w 693419"/>
                <a:gd name="connsiteY385" fmla="*/ 93345 h 493395"/>
                <a:gd name="connsiteX386" fmla="*/ 182880 w 693419"/>
                <a:gd name="connsiteY386" fmla="*/ 110490 h 493395"/>
                <a:gd name="connsiteX387" fmla="*/ 173355 w 693419"/>
                <a:gd name="connsiteY387" fmla="*/ 103822 h 493395"/>
                <a:gd name="connsiteX388" fmla="*/ 177165 w 693419"/>
                <a:gd name="connsiteY388" fmla="*/ 92392 h 493395"/>
                <a:gd name="connsiteX389" fmla="*/ 183833 w 693419"/>
                <a:gd name="connsiteY389" fmla="*/ 74295 h 493395"/>
                <a:gd name="connsiteX390" fmla="*/ 207645 w 693419"/>
                <a:gd name="connsiteY390" fmla="*/ 57150 h 493395"/>
                <a:gd name="connsiteX391" fmla="*/ 214313 w 693419"/>
                <a:gd name="connsiteY391" fmla="*/ 64770 h 493395"/>
                <a:gd name="connsiteX392" fmla="*/ 182880 w 693419"/>
                <a:gd name="connsiteY392" fmla="*/ 110490 h 493395"/>
                <a:gd name="connsiteX393" fmla="*/ 230505 w 693419"/>
                <a:gd name="connsiteY393" fmla="*/ 58103 h 493395"/>
                <a:gd name="connsiteX394" fmla="*/ 218123 w 693419"/>
                <a:gd name="connsiteY394" fmla="*/ 41910 h 493395"/>
                <a:gd name="connsiteX395" fmla="*/ 188595 w 693419"/>
                <a:gd name="connsiteY395" fmla="*/ 66675 h 493395"/>
                <a:gd name="connsiteX396" fmla="*/ 213360 w 693419"/>
                <a:gd name="connsiteY396" fmla="*/ 1905 h 493395"/>
                <a:gd name="connsiteX397" fmla="*/ 212408 w 693419"/>
                <a:gd name="connsiteY397" fmla="*/ 0 h 493395"/>
                <a:gd name="connsiteX398" fmla="*/ 186690 w 693419"/>
                <a:gd name="connsiteY398" fmla="*/ 2858 h 493395"/>
                <a:gd name="connsiteX399" fmla="*/ 186690 w 693419"/>
                <a:gd name="connsiteY399" fmla="*/ 5715 h 493395"/>
                <a:gd name="connsiteX400" fmla="*/ 191453 w 693419"/>
                <a:gd name="connsiteY400" fmla="*/ 9525 h 493395"/>
                <a:gd name="connsiteX401" fmla="*/ 190500 w 693419"/>
                <a:gd name="connsiteY401" fmla="*/ 27622 h 493395"/>
                <a:gd name="connsiteX402" fmla="*/ 163830 w 693419"/>
                <a:gd name="connsiteY402" fmla="*/ 96203 h 493395"/>
                <a:gd name="connsiteX403" fmla="*/ 159068 w 693419"/>
                <a:gd name="connsiteY403" fmla="*/ 108585 h 493395"/>
                <a:gd name="connsiteX404" fmla="*/ 177165 w 693419"/>
                <a:gd name="connsiteY404" fmla="*/ 121920 h 493395"/>
                <a:gd name="connsiteX405" fmla="*/ 230505 w 693419"/>
                <a:gd name="connsiteY405" fmla="*/ 58103 h 493395"/>
                <a:gd name="connsiteX406" fmla="*/ 149543 w 693419"/>
                <a:gd name="connsiteY406" fmla="*/ 49530 h 493395"/>
                <a:gd name="connsiteX407" fmla="*/ 144780 w 693419"/>
                <a:gd name="connsiteY407" fmla="*/ 40958 h 493395"/>
                <a:gd name="connsiteX408" fmla="*/ 113348 w 693419"/>
                <a:gd name="connsiteY408" fmla="*/ 66675 h 493395"/>
                <a:gd name="connsiteX409" fmla="*/ 117157 w 693419"/>
                <a:gd name="connsiteY409" fmla="*/ 66675 h 493395"/>
                <a:gd name="connsiteX410" fmla="*/ 133350 w 693419"/>
                <a:gd name="connsiteY410" fmla="*/ 54292 h 493395"/>
                <a:gd name="connsiteX411" fmla="*/ 110490 w 693419"/>
                <a:gd name="connsiteY411" fmla="*/ 113347 h 493395"/>
                <a:gd name="connsiteX412" fmla="*/ 115253 w 693419"/>
                <a:gd name="connsiteY412" fmla="*/ 121920 h 493395"/>
                <a:gd name="connsiteX413" fmla="*/ 145733 w 693419"/>
                <a:gd name="connsiteY413" fmla="*/ 96203 h 493395"/>
                <a:gd name="connsiteX414" fmla="*/ 141923 w 693419"/>
                <a:gd name="connsiteY414" fmla="*/ 96203 h 493395"/>
                <a:gd name="connsiteX415" fmla="*/ 125730 w 693419"/>
                <a:gd name="connsiteY415" fmla="*/ 108585 h 493395"/>
                <a:gd name="connsiteX416" fmla="*/ 149543 w 693419"/>
                <a:gd name="connsiteY416" fmla="*/ 49530 h 493395"/>
                <a:gd name="connsiteX417" fmla="*/ 153353 w 693419"/>
                <a:gd name="connsiteY417" fmla="*/ 20003 h 493395"/>
                <a:gd name="connsiteX418" fmla="*/ 162878 w 693419"/>
                <a:gd name="connsiteY418" fmla="*/ 10478 h 493395"/>
                <a:gd name="connsiteX419" fmla="*/ 153353 w 693419"/>
                <a:gd name="connsiteY419" fmla="*/ 953 h 493395"/>
                <a:gd name="connsiteX420" fmla="*/ 143828 w 693419"/>
                <a:gd name="connsiteY420" fmla="*/ 10478 h 493395"/>
                <a:gd name="connsiteX421" fmla="*/ 153353 w 693419"/>
                <a:gd name="connsiteY421" fmla="*/ 20003 h 493395"/>
                <a:gd name="connsiteX422" fmla="*/ 93345 w 693419"/>
                <a:gd name="connsiteY422" fmla="*/ 10478 h 493395"/>
                <a:gd name="connsiteX423" fmla="*/ 39053 w 693419"/>
                <a:gd name="connsiteY423" fmla="*/ 10478 h 493395"/>
                <a:gd name="connsiteX424" fmla="*/ 37148 w 693419"/>
                <a:gd name="connsiteY424" fmla="*/ 15240 h 493395"/>
                <a:gd name="connsiteX425" fmla="*/ 46673 w 693419"/>
                <a:gd name="connsiteY425" fmla="*/ 40005 h 493395"/>
                <a:gd name="connsiteX426" fmla="*/ 29528 w 693419"/>
                <a:gd name="connsiteY426" fmla="*/ 88583 h 493395"/>
                <a:gd name="connsiteX427" fmla="*/ 953 w 693419"/>
                <a:gd name="connsiteY427" fmla="*/ 113347 h 493395"/>
                <a:gd name="connsiteX428" fmla="*/ 0 w 693419"/>
                <a:gd name="connsiteY428" fmla="*/ 118110 h 493395"/>
                <a:gd name="connsiteX429" fmla="*/ 82868 w 693419"/>
                <a:gd name="connsiteY429" fmla="*/ 118110 h 493395"/>
                <a:gd name="connsiteX430" fmla="*/ 100965 w 693419"/>
                <a:gd name="connsiteY430" fmla="*/ 86678 h 493395"/>
                <a:gd name="connsiteX431" fmla="*/ 94298 w 693419"/>
                <a:gd name="connsiteY431" fmla="*/ 86678 h 493395"/>
                <a:gd name="connsiteX432" fmla="*/ 54293 w 693419"/>
                <a:gd name="connsiteY432" fmla="*/ 111442 h 493395"/>
                <a:gd name="connsiteX433" fmla="*/ 46673 w 693419"/>
                <a:gd name="connsiteY433" fmla="*/ 88583 h 493395"/>
                <a:gd name="connsiteX434" fmla="*/ 63818 w 693419"/>
                <a:gd name="connsiteY434" fmla="*/ 40005 h 493395"/>
                <a:gd name="connsiteX435" fmla="*/ 92393 w 693419"/>
                <a:gd name="connsiteY435" fmla="*/ 15240 h 493395"/>
                <a:gd name="connsiteX436" fmla="*/ 93345 w 693419"/>
                <a:gd name="connsiteY436" fmla="*/ 10478 h 49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</a:cxnLst>
              <a:rect l="l" t="t" r="r" b="b"/>
              <a:pathLst>
                <a:path w="693419" h="493395">
                  <a:moveTo>
                    <a:pt x="659130" y="422910"/>
                  </a:moveTo>
                  <a:cubicBezTo>
                    <a:pt x="664845" y="422910"/>
                    <a:pt x="669608" y="426720"/>
                    <a:pt x="666750" y="437197"/>
                  </a:cubicBezTo>
                  <a:lnTo>
                    <a:pt x="641033" y="442913"/>
                  </a:lnTo>
                  <a:cubicBezTo>
                    <a:pt x="645795" y="432435"/>
                    <a:pt x="653415" y="422910"/>
                    <a:pt x="659130" y="422910"/>
                  </a:cubicBezTo>
                  <a:moveTo>
                    <a:pt x="673418" y="464820"/>
                  </a:moveTo>
                  <a:lnTo>
                    <a:pt x="668655" y="464820"/>
                  </a:lnTo>
                  <a:cubicBezTo>
                    <a:pt x="661988" y="472440"/>
                    <a:pt x="655320" y="478155"/>
                    <a:pt x="648653" y="478155"/>
                  </a:cubicBezTo>
                  <a:cubicBezTo>
                    <a:pt x="641985" y="478155"/>
                    <a:pt x="638175" y="474345"/>
                    <a:pt x="638175" y="464820"/>
                  </a:cubicBezTo>
                  <a:cubicBezTo>
                    <a:pt x="638175" y="461010"/>
                    <a:pt x="638175" y="457200"/>
                    <a:pt x="639128" y="453390"/>
                  </a:cubicBezTo>
                  <a:lnTo>
                    <a:pt x="680085" y="440055"/>
                  </a:lnTo>
                  <a:cubicBezTo>
                    <a:pt x="687705" y="421005"/>
                    <a:pt x="678180" y="412433"/>
                    <a:pt x="666750" y="412433"/>
                  </a:cubicBezTo>
                  <a:cubicBezTo>
                    <a:pt x="647700" y="412433"/>
                    <a:pt x="624840" y="444817"/>
                    <a:pt x="624840" y="473392"/>
                  </a:cubicBezTo>
                  <a:cubicBezTo>
                    <a:pt x="624840" y="485775"/>
                    <a:pt x="630555" y="493395"/>
                    <a:pt x="640080" y="493395"/>
                  </a:cubicBezTo>
                  <a:cubicBezTo>
                    <a:pt x="652463" y="493395"/>
                    <a:pt x="663893" y="481965"/>
                    <a:pt x="673418" y="464820"/>
                  </a:cubicBezTo>
                  <a:moveTo>
                    <a:pt x="664845" y="404813"/>
                  </a:moveTo>
                  <a:lnTo>
                    <a:pt x="693420" y="378142"/>
                  </a:lnTo>
                  <a:lnTo>
                    <a:pt x="693420" y="375285"/>
                  </a:lnTo>
                  <a:lnTo>
                    <a:pt x="678180" y="375285"/>
                  </a:lnTo>
                  <a:lnTo>
                    <a:pt x="660083" y="405765"/>
                  </a:lnTo>
                  <a:lnTo>
                    <a:pt x="664845" y="405765"/>
                  </a:lnTo>
                  <a:close/>
                  <a:moveTo>
                    <a:pt x="576263" y="423863"/>
                  </a:moveTo>
                  <a:lnTo>
                    <a:pt x="589598" y="423863"/>
                  </a:lnTo>
                  <a:lnTo>
                    <a:pt x="567690" y="482917"/>
                  </a:lnTo>
                  <a:cubicBezTo>
                    <a:pt x="565785" y="487680"/>
                    <a:pt x="568643" y="493395"/>
                    <a:pt x="573405" y="493395"/>
                  </a:cubicBezTo>
                  <a:cubicBezTo>
                    <a:pt x="585788" y="493395"/>
                    <a:pt x="605790" y="481013"/>
                    <a:pt x="612458" y="464820"/>
                  </a:cubicBezTo>
                  <a:lnTo>
                    <a:pt x="608648" y="464820"/>
                  </a:lnTo>
                  <a:cubicBezTo>
                    <a:pt x="602933" y="470535"/>
                    <a:pt x="592455" y="478155"/>
                    <a:pt x="583883" y="480060"/>
                  </a:cubicBezTo>
                  <a:lnTo>
                    <a:pt x="603885" y="424815"/>
                  </a:lnTo>
                  <a:lnTo>
                    <a:pt x="623888" y="424815"/>
                  </a:lnTo>
                  <a:lnTo>
                    <a:pt x="626745" y="416242"/>
                  </a:lnTo>
                  <a:lnTo>
                    <a:pt x="606743" y="416242"/>
                  </a:lnTo>
                  <a:lnTo>
                    <a:pt x="614363" y="395288"/>
                  </a:lnTo>
                  <a:lnTo>
                    <a:pt x="606743" y="395288"/>
                  </a:lnTo>
                  <a:lnTo>
                    <a:pt x="592455" y="416242"/>
                  </a:lnTo>
                  <a:lnTo>
                    <a:pt x="575310" y="418147"/>
                  </a:lnTo>
                  <a:lnTo>
                    <a:pt x="575310" y="423863"/>
                  </a:lnTo>
                  <a:close/>
                  <a:moveTo>
                    <a:pt x="558165" y="421005"/>
                  </a:moveTo>
                  <a:cubicBezTo>
                    <a:pt x="560070" y="415290"/>
                    <a:pt x="556260" y="412433"/>
                    <a:pt x="553403" y="412433"/>
                  </a:cubicBezTo>
                  <a:cubicBezTo>
                    <a:pt x="541973" y="412433"/>
                    <a:pt x="527685" y="422910"/>
                    <a:pt x="521970" y="438150"/>
                  </a:cubicBezTo>
                  <a:lnTo>
                    <a:pt x="525780" y="438150"/>
                  </a:lnTo>
                  <a:cubicBezTo>
                    <a:pt x="529590" y="432435"/>
                    <a:pt x="536258" y="426720"/>
                    <a:pt x="541973" y="425767"/>
                  </a:cubicBezTo>
                  <a:lnTo>
                    <a:pt x="519113" y="484822"/>
                  </a:lnTo>
                  <a:cubicBezTo>
                    <a:pt x="517208" y="490538"/>
                    <a:pt x="521018" y="493395"/>
                    <a:pt x="523875" y="493395"/>
                  </a:cubicBezTo>
                  <a:cubicBezTo>
                    <a:pt x="535305" y="493395"/>
                    <a:pt x="548640" y="482917"/>
                    <a:pt x="554355" y="467678"/>
                  </a:cubicBezTo>
                  <a:lnTo>
                    <a:pt x="550545" y="467678"/>
                  </a:lnTo>
                  <a:cubicBezTo>
                    <a:pt x="546735" y="473392"/>
                    <a:pt x="540068" y="479108"/>
                    <a:pt x="534353" y="480060"/>
                  </a:cubicBezTo>
                  <a:lnTo>
                    <a:pt x="558165" y="421005"/>
                  </a:lnTo>
                  <a:close/>
                  <a:moveTo>
                    <a:pt x="561975" y="391478"/>
                  </a:moveTo>
                  <a:cubicBezTo>
                    <a:pt x="567690" y="391478"/>
                    <a:pt x="571500" y="386715"/>
                    <a:pt x="571500" y="381953"/>
                  </a:cubicBezTo>
                  <a:cubicBezTo>
                    <a:pt x="571500" y="376238"/>
                    <a:pt x="566738" y="372428"/>
                    <a:pt x="561975" y="372428"/>
                  </a:cubicBezTo>
                  <a:cubicBezTo>
                    <a:pt x="556260" y="372428"/>
                    <a:pt x="552450" y="377190"/>
                    <a:pt x="552450" y="381953"/>
                  </a:cubicBezTo>
                  <a:cubicBezTo>
                    <a:pt x="552450" y="386715"/>
                    <a:pt x="556260" y="391478"/>
                    <a:pt x="561975" y="391478"/>
                  </a:cubicBezTo>
                  <a:moveTo>
                    <a:pt x="431483" y="481965"/>
                  </a:moveTo>
                  <a:cubicBezTo>
                    <a:pt x="428625" y="488633"/>
                    <a:pt x="431483" y="493395"/>
                    <a:pt x="438150" y="493395"/>
                  </a:cubicBezTo>
                  <a:cubicBezTo>
                    <a:pt x="441960" y="493395"/>
                    <a:pt x="443865" y="492442"/>
                    <a:pt x="445770" y="487680"/>
                  </a:cubicBezTo>
                  <a:lnTo>
                    <a:pt x="461963" y="445770"/>
                  </a:lnTo>
                  <a:cubicBezTo>
                    <a:pt x="469583" y="437197"/>
                    <a:pt x="483870" y="427672"/>
                    <a:pt x="490538" y="427672"/>
                  </a:cubicBezTo>
                  <a:cubicBezTo>
                    <a:pt x="495300" y="427672"/>
                    <a:pt x="494347" y="431483"/>
                    <a:pt x="491490" y="436245"/>
                  </a:cubicBezTo>
                  <a:lnTo>
                    <a:pt x="467678" y="482917"/>
                  </a:lnTo>
                  <a:cubicBezTo>
                    <a:pt x="465772" y="487680"/>
                    <a:pt x="468630" y="493395"/>
                    <a:pt x="473393" y="493395"/>
                  </a:cubicBezTo>
                  <a:cubicBezTo>
                    <a:pt x="484822" y="493395"/>
                    <a:pt x="499110" y="482917"/>
                    <a:pt x="504825" y="467678"/>
                  </a:cubicBezTo>
                  <a:lnTo>
                    <a:pt x="501015" y="467678"/>
                  </a:lnTo>
                  <a:cubicBezTo>
                    <a:pt x="497205" y="473392"/>
                    <a:pt x="490538" y="479108"/>
                    <a:pt x="484822" y="480060"/>
                  </a:cubicBezTo>
                  <a:lnTo>
                    <a:pt x="505778" y="438150"/>
                  </a:lnTo>
                  <a:cubicBezTo>
                    <a:pt x="508635" y="432435"/>
                    <a:pt x="509588" y="427672"/>
                    <a:pt x="509588" y="423863"/>
                  </a:cubicBezTo>
                  <a:cubicBezTo>
                    <a:pt x="509588" y="417195"/>
                    <a:pt x="505778" y="412433"/>
                    <a:pt x="498158" y="412433"/>
                  </a:cubicBezTo>
                  <a:cubicBezTo>
                    <a:pt x="487680" y="412433"/>
                    <a:pt x="477203" y="423863"/>
                    <a:pt x="464820" y="438150"/>
                  </a:cubicBezTo>
                  <a:lnTo>
                    <a:pt x="464820" y="426720"/>
                  </a:lnTo>
                  <a:cubicBezTo>
                    <a:pt x="464820" y="419100"/>
                    <a:pt x="461963" y="411480"/>
                    <a:pt x="455295" y="411480"/>
                  </a:cubicBezTo>
                  <a:cubicBezTo>
                    <a:pt x="450533" y="411480"/>
                    <a:pt x="446722" y="415290"/>
                    <a:pt x="442913" y="421005"/>
                  </a:cubicBezTo>
                  <a:lnTo>
                    <a:pt x="442913" y="422910"/>
                  </a:lnTo>
                  <a:cubicBezTo>
                    <a:pt x="450533" y="422910"/>
                    <a:pt x="454343" y="434340"/>
                    <a:pt x="448628" y="445770"/>
                  </a:cubicBezTo>
                  <a:lnTo>
                    <a:pt x="431483" y="481965"/>
                  </a:lnTo>
                  <a:close/>
                  <a:moveTo>
                    <a:pt x="431483" y="430530"/>
                  </a:moveTo>
                  <a:cubicBezTo>
                    <a:pt x="434340" y="421005"/>
                    <a:pt x="432435" y="412433"/>
                    <a:pt x="425768" y="412433"/>
                  </a:cubicBezTo>
                  <a:cubicBezTo>
                    <a:pt x="417195" y="412433"/>
                    <a:pt x="414338" y="419100"/>
                    <a:pt x="405765" y="438150"/>
                  </a:cubicBezTo>
                  <a:lnTo>
                    <a:pt x="405765" y="426720"/>
                  </a:lnTo>
                  <a:cubicBezTo>
                    <a:pt x="405765" y="419100"/>
                    <a:pt x="402908" y="411480"/>
                    <a:pt x="396240" y="411480"/>
                  </a:cubicBezTo>
                  <a:cubicBezTo>
                    <a:pt x="387668" y="411480"/>
                    <a:pt x="380047" y="424815"/>
                    <a:pt x="374333" y="437197"/>
                  </a:cubicBezTo>
                  <a:lnTo>
                    <a:pt x="378143" y="437197"/>
                  </a:lnTo>
                  <a:cubicBezTo>
                    <a:pt x="381953" y="431483"/>
                    <a:pt x="385763" y="427672"/>
                    <a:pt x="388620" y="427672"/>
                  </a:cubicBezTo>
                  <a:cubicBezTo>
                    <a:pt x="392430" y="427672"/>
                    <a:pt x="394335" y="433388"/>
                    <a:pt x="388620" y="445770"/>
                  </a:cubicBezTo>
                  <a:lnTo>
                    <a:pt x="372428" y="481013"/>
                  </a:lnTo>
                  <a:cubicBezTo>
                    <a:pt x="369570" y="487680"/>
                    <a:pt x="372428" y="492442"/>
                    <a:pt x="379095" y="492442"/>
                  </a:cubicBezTo>
                  <a:cubicBezTo>
                    <a:pt x="382905" y="492442"/>
                    <a:pt x="384810" y="491490"/>
                    <a:pt x="386715" y="486728"/>
                  </a:cubicBezTo>
                  <a:lnTo>
                    <a:pt x="402908" y="444817"/>
                  </a:lnTo>
                  <a:cubicBezTo>
                    <a:pt x="407670" y="439103"/>
                    <a:pt x="411480" y="434340"/>
                    <a:pt x="416243" y="429578"/>
                  </a:cubicBezTo>
                  <a:lnTo>
                    <a:pt x="431483" y="429578"/>
                  </a:lnTo>
                  <a:close/>
                  <a:moveTo>
                    <a:pt x="340043" y="422910"/>
                  </a:moveTo>
                  <a:cubicBezTo>
                    <a:pt x="345758" y="422910"/>
                    <a:pt x="350520" y="426720"/>
                    <a:pt x="347663" y="437197"/>
                  </a:cubicBezTo>
                  <a:lnTo>
                    <a:pt x="321945" y="442913"/>
                  </a:lnTo>
                  <a:cubicBezTo>
                    <a:pt x="326708" y="432435"/>
                    <a:pt x="334328" y="422910"/>
                    <a:pt x="340043" y="422910"/>
                  </a:cubicBezTo>
                  <a:moveTo>
                    <a:pt x="354330" y="464820"/>
                  </a:moveTo>
                  <a:lnTo>
                    <a:pt x="349568" y="464820"/>
                  </a:lnTo>
                  <a:cubicBezTo>
                    <a:pt x="342900" y="472440"/>
                    <a:pt x="336233" y="478155"/>
                    <a:pt x="329565" y="478155"/>
                  </a:cubicBezTo>
                  <a:cubicBezTo>
                    <a:pt x="322898" y="478155"/>
                    <a:pt x="319088" y="474345"/>
                    <a:pt x="319088" y="464820"/>
                  </a:cubicBezTo>
                  <a:cubicBezTo>
                    <a:pt x="319088" y="461010"/>
                    <a:pt x="319088" y="457200"/>
                    <a:pt x="320040" y="453390"/>
                  </a:cubicBezTo>
                  <a:lnTo>
                    <a:pt x="360997" y="440055"/>
                  </a:lnTo>
                  <a:cubicBezTo>
                    <a:pt x="368618" y="421005"/>
                    <a:pt x="359093" y="412433"/>
                    <a:pt x="347663" y="412433"/>
                  </a:cubicBezTo>
                  <a:cubicBezTo>
                    <a:pt x="328613" y="412433"/>
                    <a:pt x="305753" y="444817"/>
                    <a:pt x="305753" y="473392"/>
                  </a:cubicBezTo>
                  <a:cubicBezTo>
                    <a:pt x="305753" y="485775"/>
                    <a:pt x="311468" y="493395"/>
                    <a:pt x="320993" y="493395"/>
                  </a:cubicBezTo>
                  <a:cubicBezTo>
                    <a:pt x="333375" y="493395"/>
                    <a:pt x="344805" y="481965"/>
                    <a:pt x="354330" y="464820"/>
                  </a:cubicBezTo>
                  <a:moveTo>
                    <a:pt x="257175" y="423863"/>
                  </a:moveTo>
                  <a:lnTo>
                    <a:pt x="270510" y="423863"/>
                  </a:lnTo>
                  <a:lnTo>
                    <a:pt x="248603" y="482917"/>
                  </a:lnTo>
                  <a:cubicBezTo>
                    <a:pt x="246698" y="487680"/>
                    <a:pt x="249555" y="493395"/>
                    <a:pt x="254318" y="493395"/>
                  </a:cubicBezTo>
                  <a:cubicBezTo>
                    <a:pt x="266700" y="493395"/>
                    <a:pt x="286703" y="481013"/>
                    <a:pt x="293370" y="464820"/>
                  </a:cubicBezTo>
                  <a:lnTo>
                    <a:pt x="289560" y="464820"/>
                  </a:lnTo>
                  <a:cubicBezTo>
                    <a:pt x="283845" y="470535"/>
                    <a:pt x="273368" y="478155"/>
                    <a:pt x="264795" y="480060"/>
                  </a:cubicBezTo>
                  <a:lnTo>
                    <a:pt x="284798" y="424815"/>
                  </a:lnTo>
                  <a:lnTo>
                    <a:pt x="304800" y="424815"/>
                  </a:lnTo>
                  <a:lnTo>
                    <a:pt x="307658" y="416242"/>
                  </a:lnTo>
                  <a:lnTo>
                    <a:pt x="287655" y="416242"/>
                  </a:lnTo>
                  <a:lnTo>
                    <a:pt x="295275" y="395288"/>
                  </a:lnTo>
                  <a:lnTo>
                    <a:pt x="287655" y="395288"/>
                  </a:lnTo>
                  <a:lnTo>
                    <a:pt x="273368" y="416242"/>
                  </a:lnTo>
                  <a:lnTo>
                    <a:pt x="256223" y="418147"/>
                  </a:lnTo>
                  <a:lnTo>
                    <a:pt x="256223" y="423863"/>
                  </a:lnTo>
                  <a:close/>
                  <a:moveTo>
                    <a:pt x="181928" y="469583"/>
                  </a:moveTo>
                  <a:cubicBezTo>
                    <a:pt x="181928" y="451485"/>
                    <a:pt x="201930" y="426720"/>
                    <a:pt x="213360" y="426720"/>
                  </a:cubicBezTo>
                  <a:cubicBezTo>
                    <a:pt x="216218" y="426720"/>
                    <a:pt x="218123" y="426720"/>
                    <a:pt x="220028" y="427672"/>
                  </a:cubicBezTo>
                  <a:lnTo>
                    <a:pt x="208598" y="459105"/>
                  </a:lnTo>
                  <a:cubicBezTo>
                    <a:pt x="201930" y="467678"/>
                    <a:pt x="191453" y="477203"/>
                    <a:pt x="186690" y="477203"/>
                  </a:cubicBezTo>
                  <a:cubicBezTo>
                    <a:pt x="183833" y="478155"/>
                    <a:pt x="181928" y="475297"/>
                    <a:pt x="181928" y="469583"/>
                  </a:cubicBezTo>
                  <a:moveTo>
                    <a:pt x="244793" y="408622"/>
                  </a:moveTo>
                  <a:lnTo>
                    <a:pt x="238125" y="408622"/>
                  </a:lnTo>
                  <a:lnTo>
                    <a:pt x="231458" y="415290"/>
                  </a:lnTo>
                  <a:lnTo>
                    <a:pt x="229553" y="415290"/>
                  </a:lnTo>
                  <a:cubicBezTo>
                    <a:pt x="195263" y="415290"/>
                    <a:pt x="166688" y="453390"/>
                    <a:pt x="166688" y="481013"/>
                  </a:cubicBezTo>
                  <a:cubicBezTo>
                    <a:pt x="166688" y="488633"/>
                    <a:pt x="171450" y="493395"/>
                    <a:pt x="179070" y="493395"/>
                  </a:cubicBezTo>
                  <a:cubicBezTo>
                    <a:pt x="187643" y="493395"/>
                    <a:pt x="196215" y="481013"/>
                    <a:pt x="205740" y="467678"/>
                  </a:cubicBezTo>
                  <a:lnTo>
                    <a:pt x="205740" y="472440"/>
                  </a:lnTo>
                  <a:cubicBezTo>
                    <a:pt x="204788" y="485775"/>
                    <a:pt x="208598" y="493395"/>
                    <a:pt x="216218" y="493395"/>
                  </a:cubicBezTo>
                  <a:cubicBezTo>
                    <a:pt x="224790" y="493395"/>
                    <a:pt x="232410" y="480060"/>
                    <a:pt x="238125" y="467678"/>
                  </a:cubicBezTo>
                  <a:lnTo>
                    <a:pt x="234315" y="467678"/>
                  </a:lnTo>
                  <a:cubicBezTo>
                    <a:pt x="230505" y="473392"/>
                    <a:pt x="226695" y="477203"/>
                    <a:pt x="223838" y="477203"/>
                  </a:cubicBezTo>
                  <a:cubicBezTo>
                    <a:pt x="220980" y="477203"/>
                    <a:pt x="218123" y="471488"/>
                    <a:pt x="223838" y="459105"/>
                  </a:cubicBezTo>
                  <a:lnTo>
                    <a:pt x="244793" y="408622"/>
                  </a:lnTo>
                  <a:close/>
                  <a:moveTo>
                    <a:pt x="172403" y="430530"/>
                  </a:moveTo>
                  <a:cubicBezTo>
                    <a:pt x="175260" y="421005"/>
                    <a:pt x="173355" y="412433"/>
                    <a:pt x="166688" y="412433"/>
                  </a:cubicBezTo>
                  <a:cubicBezTo>
                    <a:pt x="158115" y="412433"/>
                    <a:pt x="155258" y="419100"/>
                    <a:pt x="146685" y="438150"/>
                  </a:cubicBezTo>
                  <a:lnTo>
                    <a:pt x="146685" y="426720"/>
                  </a:lnTo>
                  <a:cubicBezTo>
                    <a:pt x="146685" y="419100"/>
                    <a:pt x="143828" y="411480"/>
                    <a:pt x="137160" y="411480"/>
                  </a:cubicBezTo>
                  <a:cubicBezTo>
                    <a:pt x="128588" y="411480"/>
                    <a:pt x="120968" y="424815"/>
                    <a:pt x="115253" y="437197"/>
                  </a:cubicBezTo>
                  <a:lnTo>
                    <a:pt x="119063" y="437197"/>
                  </a:lnTo>
                  <a:cubicBezTo>
                    <a:pt x="122873" y="431483"/>
                    <a:pt x="126682" y="427672"/>
                    <a:pt x="129540" y="427672"/>
                  </a:cubicBezTo>
                  <a:cubicBezTo>
                    <a:pt x="133350" y="427672"/>
                    <a:pt x="135255" y="433388"/>
                    <a:pt x="129540" y="445770"/>
                  </a:cubicBezTo>
                  <a:lnTo>
                    <a:pt x="113348" y="481013"/>
                  </a:lnTo>
                  <a:cubicBezTo>
                    <a:pt x="110490" y="487680"/>
                    <a:pt x="113348" y="492442"/>
                    <a:pt x="120015" y="492442"/>
                  </a:cubicBezTo>
                  <a:cubicBezTo>
                    <a:pt x="123825" y="492442"/>
                    <a:pt x="125730" y="491490"/>
                    <a:pt x="127635" y="486728"/>
                  </a:cubicBezTo>
                  <a:lnTo>
                    <a:pt x="143828" y="444817"/>
                  </a:lnTo>
                  <a:cubicBezTo>
                    <a:pt x="148590" y="439103"/>
                    <a:pt x="152400" y="434340"/>
                    <a:pt x="157163" y="429578"/>
                  </a:cubicBezTo>
                  <a:lnTo>
                    <a:pt x="172403" y="429578"/>
                  </a:lnTo>
                  <a:close/>
                  <a:moveTo>
                    <a:pt x="59055" y="489585"/>
                  </a:moveTo>
                  <a:lnTo>
                    <a:pt x="60960" y="484822"/>
                  </a:lnTo>
                  <a:cubicBezTo>
                    <a:pt x="40957" y="481013"/>
                    <a:pt x="39053" y="481013"/>
                    <a:pt x="46673" y="460058"/>
                  </a:cubicBezTo>
                  <a:lnTo>
                    <a:pt x="54293" y="438150"/>
                  </a:lnTo>
                  <a:lnTo>
                    <a:pt x="76200" y="438150"/>
                  </a:lnTo>
                  <a:cubicBezTo>
                    <a:pt x="85725" y="438150"/>
                    <a:pt x="85725" y="441960"/>
                    <a:pt x="84773" y="452438"/>
                  </a:cubicBezTo>
                  <a:lnTo>
                    <a:pt x="90488" y="452438"/>
                  </a:lnTo>
                  <a:lnTo>
                    <a:pt x="103823" y="416242"/>
                  </a:lnTo>
                  <a:lnTo>
                    <a:pt x="98107" y="416242"/>
                  </a:lnTo>
                  <a:cubicBezTo>
                    <a:pt x="93345" y="424815"/>
                    <a:pt x="89535" y="430530"/>
                    <a:pt x="79057" y="430530"/>
                  </a:cubicBezTo>
                  <a:lnTo>
                    <a:pt x="57150" y="430530"/>
                  </a:lnTo>
                  <a:lnTo>
                    <a:pt x="68580" y="399097"/>
                  </a:lnTo>
                  <a:cubicBezTo>
                    <a:pt x="72390" y="389572"/>
                    <a:pt x="74295" y="386715"/>
                    <a:pt x="87630" y="386715"/>
                  </a:cubicBezTo>
                  <a:lnTo>
                    <a:pt x="97155" y="386715"/>
                  </a:lnTo>
                  <a:cubicBezTo>
                    <a:pt x="110490" y="386715"/>
                    <a:pt x="112395" y="390525"/>
                    <a:pt x="112395" y="404813"/>
                  </a:cubicBezTo>
                  <a:lnTo>
                    <a:pt x="118110" y="404813"/>
                  </a:lnTo>
                  <a:lnTo>
                    <a:pt x="122873" y="380047"/>
                  </a:lnTo>
                  <a:lnTo>
                    <a:pt x="40957" y="380047"/>
                  </a:lnTo>
                  <a:lnTo>
                    <a:pt x="39053" y="384810"/>
                  </a:lnTo>
                  <a:cubicBezTo>
                    <a:pt x="55245" y="387667"/>
                    <a:pt x="56198" y="389572"/>
                    <a:pt x="48578" y="409575"/>
                  </a:cubicBezTo>
                  <a:lnTo>
                    <a:pt x="30480" y="458153"/>
                  </a:lnTo>
                  <a:cubicBezTo>
                    <a:pt x="22860" y="478155"/>
                    <a:pt x="20003" y="480060"/>
                    <a:pt x="1905" y="482917"/>
                  </a:cubicBezTo>
                  <a:lnTo>
                    <a:pt x="953" y="487680"/>
                  </a:lnTo>
                  <a:lnTo>
                    <a:pt x="59055" y="487680"/>
                  </a:lnTo>
                  <a:close/>
                  <a:moveTo>
                    <a:pt x="460058" y="238125"/>
                  </a:moveTo>
                  <a:cubicBezTo>
                    <a:pt x="465772" y="238125"/>
                    <a:pt x="470535" y="241935"/>
                    <a:pt x="467678" y="252413"/>
                  </a:cubicBezTo>
                  <a:lnTo>
                    <a:pt x="441960" y="258128"/>
                  </a:lnTo>
                  <a:cubicBezTo>
                    <a:pt x="446722" y="246697"/>
                    <a:pt x="454343" y="238125"/>
                    <a:pt x="460058" y="238125"/>
                  </a:cubicBezTo>
                  <a:moveTo>
                    <a:pt x="474345" y="279083"/>
                  </a:moveTo>
                  <a:lnTo>
                    <a:pt x="469583" y="279083"/>
                  </a:lnTo>
                  <a:cubicBezTo>
                    <a:pt x="462915" y="286703"/>
                    <a:pt x="456247" y="292417"/>
                    <a:pt x="449580" y="292417"/>
                  </a:cubicBezTo>
                  <a:cubicBezTo>
                    <a:pt x="442913" y="292417"/>
                    <a:pt x="439103" y="288608"/>
                    <a:pt x="439103" y="279083"/>
                  </a:cubicBezTo>
                  <a:cubicBezTo>
                    <a:pt x="439103" y="275272"/>
                    <a:pt x="439103" y="271463"/>
                    <a:pt x="440055" y="267653"/>
                  </a:cubicBezTo>
                  <a:lnTo>
                    <a:pt x="481013" y="254317"/>
                  </a:lnTo>
                  <a:cubicBezTo>
                    <a:pt x="488633" y="235267"/>
                    <a:pt x="479108" y="226695"/>
                    <a:pt x="467678" y="226695"/>
                  </a:cubicBezTo>
                  <a:cubicBezTo>
                    <a:pt x="448628" y="226695"/>
                    <a:pt x="425768" y="259080"/>
                    <a:pt x="425768" y="287655"/>
                  </a:cubicBezTo>
                  <a:cubicBezTo>
                    <a:pt x="425768" y="300038"/>
                    <a:pt x="431483" y="307658"/>
                    <a:pt x="441008" y="307658"/>
                  </a:cubicBezTo>
                  <a:cubicBezTo>
                    <a:pt x="453390" y="307658"/>
                    <a:pt x="464820" y="297180"/>
                    <a:pt x="474345" y="279083"/>
                  </a:cubicBezTo>
                  <a:moveTo>
                    <a:pt x="466725" y="219075"/>
                  </a:moveTo>
                  <a:lnTo>
                    <a:pt x="495300" y="192405"/>
                  </a:lnTo>
                  <a:lnTo>
                    <a:pt x="495300" y="189547"/>
                  </a:lnTo>
                  <a:lnTo>
                    <a:pt x="480060" y="189547"/>
                  </a:lnTo>
                  <a:lnTo>
                    <a:pt x="461963" y="220028"/>
                  </a:lnTo>
                  <a:lnTo>
                    <a:pt x="466725" y="220028"/>
                  </a:lnTo>
                  <a:close/>
                  <a:moveTo>
                    <a:pt x="378143" y="238125"/>
                  </a:moveTo>
                  <a:lnTo>
                    <a:pt x="391478" y="238125"/>
                  </a:lnTo>
                  <a:lnTo>
                    <a:pt x="369570" y="297180"/>
                  </a:lnTo>
                  <a:cubicBezTo>
                    <a:pt x="367665" y="301942"/>
                    <a:pt x="370522" y="307658"/>
                    <a:pt x="375285" y="307658"/>
                  </a:cubicBezTo>
                  <a:cubicBezTo>
                    <a:pt x="387668" y="307658"/>
                    <a:pt x="407670" y="295275"/>
                    <a:pt x="414338" y="279083"/>
                  </a:cubicBezTo>
                  <a:lnTo>
                    <a:pt x="410528" y="279083"/>
                  </a:lnTo>
                  <a:cubicBezTo>
                    <a:pt x="404813" y="284797"/>
                    <a:pt x="394335" y="292417"/>
                    <a:pt x="385763" y="294322"/>
                  </a:cubicBezTo>
                  <a:lnTo>
                    <a:pt x="405765" y="239078"/>
                  </a:lnTo>
                  <a:lnTo>
                    <a:pt x="425768" y="239078"/>
                  </a:lnTo>
                  <a:lnTo>
                    <a:pt x="428625" y="230505"/>
                  </a:lnTo>
                  <a:lnTo>
                    <a:pt x="408622" y="230505"/>
                  </a:lnTo>
                  <a:lnTo>
                    <a:pt x="416243" y="209550"/>
                  </a:lnTo>
                  <a:lnTo>
                    <a:pt x="408622" y="209550"/>
                  </a:lnTo>
                  <a:lnTo>
                    <a:pt x="394335" y="230505"/>
                  </a:lnTo>
                  <a:lnTo>
                    <a:pt x="377190" y="232410"/>
                  </a:lnTo>
                  <a:lnTo>
                    <a:pt x="377190" y="238125"/>
                  </a:lnTo>
                  <a:close/>
                  <a:moveTo>
                    <a:pt x="359093" y="235267"/>
                  </a:moveTo>
                  <a:cubicBezTo>
                    <a:pt x="360997" y="229553"/>
                    <a:pt x="357188" y="226695"/>
                    <a:pt x="354330" y="226695"/>
                  </a:cubicBezTo>
                  <a:cubicBezTo>
                    <a:pt x="342900" y="226695"/>
                    <a:pt x="328613" y="237172"/>
                    <a:pt x="322898" y="252413"/>
                  </a:cubicBezTo>
                  <a:lnTo>
                    <a:pt x="326708" y="252413"/>
                  </a:lnTo>
                  <a:cubicBezTo>
                    <a:pt x="330518" y="246697"/>
                    <a:pt x="337185" y="240983"/>
                    <a:pt x="342900" y="240030"/>
                  </a:cubicBezTo>
                  <a:lnTo>
                    <a:pt x="320040" y="299085"/>
                  </a:lnTo>
                  <a:cubicBezTo>
                    <a:pt x="318135" y="304800"/>
                    <a:pt x="321945" y="307658"/>
                    <a:pt x="324803" y="307658"/>
                  </a:cubicBezTo>
                  <a:cubicBezTo>
                    <a:pt x="336233" y="307658"/>
                    <a:pt x="349568" y="297180"/>
                    <a:pt x="355283" y="281940"/>
                  </a:cubicBezTo>
                  <a:lnTo>
                    <a:pt x="351472" y="281940"/>
                  </a:lnTo>
                  <a:cubicBezTo>
                    <a:pt x="347663" y="287655"/>
                    <a:pt x="340995" y="293370"/>
                    <a:pt x="335280" y="294322"/>
                  </a:cubicBezTo>
                  <a:lnTo>
                    <a:pt x="359093" y="235267"/>
                  </a:lnTo>
                  <a:close/>
                  <a:moveTo>
                    <a:pt x="363855" y="205740"/>
                  </a:moveTo>
                  <a:cubicBezTo>
                    <a:pt x="369570" y="205740"/>
                    <a:pt x="373380" y="200978"/>
                    <a:pt x="373380" y="196215"/>
                  </a:cubicBezTo>
                  <a:cubicBezTo>
                    <a:pt x="373380" y="190500"/>
                    <a:pt x="368618" y="186690"/>
                    <a:pt x="363855" y="186690"/>
                  </a:cubicBezTo>
                  <a:cubicBezTo>
                    <a:pt x="358140" y="186690"/>
                    <a:pt x="354330" y="191453"/>
                    <a:pt x="354330" y="196215"/>
                  </a:cubicBezTo>
                  <a:cubicBezTo>
                    <a:pt x="353378" y="201930"/>
                    <a:pt x="358140" y="205740"/>
                    <a:pt x="363855" y="205740"/>
                  </a:cubicBezTo>
                  <a:moveTo>
                    <a:pt x="284798" y="294322"/>
                  </a:moveTo>
                  <a:lnTo>
                    <a:pt x="325755" y="185738"/>
                  </a:lnTo>
                  <a:lnTo>
                    <a:pt x="324803" y="183833"/>
                  </a:lnTo>
                  <a:lnTo>
                    <a:pt x="299085" y="186690"/>
                  </a:lnTo>
                  <a:lnTo>
                    <a:pt x="299085" y="189547"/>
                  </a:lnTo>
                  <a:lnTo>
                    <a:pt x="303848" y="193358"/>
                  </a:lnTo>
                  <a:cubicBezTo>
                    <a:pt x="308610" y="197167"/>
                    <a:pt x="306705" y="200025"/>
                    <a:pt x="302895" y="211455"/>
                  </a:cubicBezTo>
                  <a:lnTo>
                    <a:pt x="270510" y="296228"/>
                  </a:lnTo>
                  <a:cubicBezTo>
                    <a:pt x="268605" y="300990"/>
                    <a:pt x="271463" y="306705"/>
                    <a:pt x="276225" y="306705"/>
                  </a:cubicBezTo>
                  <a:cubicBezTo>
                    <a:pt x="287655" y="306705"/>
                    <a:pt x="300990" y="296228"/>
                    <a:pt x="306705" y="280988"/>
                  </a:cubicBezTo>
                  <a:lnTo>
                    <a:pt x="302895" y="280988"/>
                  </a:lnTo>
                  <a:cubicBezTo>
                    <a:pt x="299085" y="287655"/>
                    <a:pt x="290513" y="293370"/>
                    <a:pt x="284798" y="294322"/>
                  </a:cubicBezTo>
                  <a:moveTo>
                    <a:pt x="205740" y="284797"/>
                  </a:moveTo>
                  <a:cubicBezTo>
                    <a:pt x="205740" y="266700"/>
                    <a:pt x="225743" y="241935"/>
                    <a:pt x="237173" y="241935"/>
                  </a:cubicBezTo>
                  <a:cubicBezTo>
                    <a:pt x="240030" y="241935"/>
                    <a:pt x="241935" y="241935"/>
                    <a:pt x="243840" y="242888"/>
                  </a:cubicBezTo>
                  <a:lnTo>
                    <a:pt x="232410" y="274320"/>
                  </a:lnTo>
                  <a:cubicBezTo>
                    <a:pt x="225743" y="282892"/>
                    <a:pt x="215265" y="292417"/>
                    <a:pt x="210503" y="292417"/>
                  </a:cubicBezTo>
                  <a:cubicBezTo>
                    <a:pt x="207645" y="292417"/>
                    <a:pt x="205740" y="289560"/>
                    <a:pt x="205740" y="284797"/>
                  </a:cubicBezTo>
                  <a:moveTo>
                    <a:pt x="268605" y="223838"/>
                  </a:moveTo>
                  <a:lnTo>
                    <a:pt x="261938" y="223838"/>
                  </a:lnTo>
                  <a:lnTo>
                    <a:pt x="255270" y="230505"/>
                  </a:lnTo>
                  <a:lnTo>
                    <a:pt x="253365" y="230505"/>
                  </a:lnTo>
                  <a:cubicBezTo>
                    <a:pt x="219075" y="230505"/>
                    <a:pt x="190500" y="268605"/>
                    <a:pt x="190500" y="296228"/>
                  </a:cubicBezTo>
                  <a:cubicBezTo>
                    <a:pt x="190500" y="303847"/>
                    <a:pt x="195263" y="308610"/>
                    <a:pt x="202883" y="308610"/>
                  </a:cubicBezTo>
                  <a:cubicBezTo>
                    <a:pt x="211455" y="308610"/>
                    <a:pt x="220028" y="296228"/>
                    <a:pt x="229553" y="282892"/>
                  </a:cubicBezTo>
                  <a:lnTo>
                    <a:pt x="229553" y="287655"/>
                  </a:lnTo>
                  <a:cubicBezTo>
                    <a:pt x="228600" y="300990"/>
                    <a:pt x="232410" y="308610"/>
                    <a:pt x="240030" y="308610"/>
                  </a:cubicBezTo>
                  <a:cubicBezTo>
                    <a:pt x="248603" y="308610"/>
                    <a:pt x="256223" y="295275"/>
                    <a:pt x="261938" y="282892"/>
                  </a:cubicBezTo>
                  <a:lnTo>
                    <a:pt x="258128" y="282892"/>
                  </a:lnTo>
                  <a:cubicBezTo>
                    <a:pt x="254318" y="288608"/>
                    <a:pt x="250508" y="292417"/>
                    <a:pt x="247650" y="292417"/>
                  </a:cubicBezTo>
                  <a:cubicBezTo>
                    <a:pt x="244793" y="292417"/>
                    <a:pt x="241935" y="286703"/>
                    <a:pt x="247650" y="274320"/>
                  </a:cubicBezTo>
                  <a:lnTo>
                    <a:pt x="268605" y="223838"/>
                  </a:lnTo>
                  <a:close/>
                  <a:moveTo>
                    <a:pt x="117157" y="321945"/>
                  </a:moveTo>
                  <a:cubicBezTo>
                    <a:pt x="117157" y="314325"/>
                    <a:pt x="124778" y="309563"/>
                    <a:pt x="135255" y="304800"/>
                  </a:cubicBezTo>
                  <a:cubicBezTo>
                    <a:pt x="139065" y="306705"/>
                    <a:pt x="143828" y="308610"/>
                    <a:pt x="151448" y="310515"/>
                  </a:cubicBezTo>
                  <a:cubicBezTo>
                    <a:pt x="162878" y="314325"/>
                    <a:pt x="166688" y="315278"/>
                    <a:pt x="166688" y="319088"/>
                  </a:cubicBezTo>
                  <a:cubicBezTo>
                    <a:pt x="166688" y="326708"/>
                    <a:pt x="154305" y="331470"/>
                    <a:pt x="137160" y="331470"/>
                  </a:cubicBezTo>
                  <a:cubicBezTo>
                    <a:pt x="123825" y="332422"/>
                    <a:pt x="117157" y="329565"/>
                    <a:pt x="117157" y="321945"/>
                  </a:cubicBezTo>
                  <a:moveTo>
                    <a:pt x="147638" y="274320"/>
                  </a:moveTo>
                  <a:cubicBezTo>
                    <a:pt x="142875" y="274320"/>
                    <a:pt x="140970" y="270510"/>
                    <a:pt x="140970" y="265747"/>
                  </a:cubicBezTo>
                  <a:cubicBezTo>
                    <a:pt x="140970" y="252413"/>
                    <a:pt x="147638" y="233363"/>
                    <a:pt x="159068" y="233363"/>
                  </a:cubicBezTo>
                  <a:cubicBezTo>
                    <a:pt x="163830" y="233363"/>
                    <a:pt x="165735" y="237172"/>
                    <a:pt x="165735" y="241935"/>
                  </a:cubicBezTo>
                  <a:cubicBezTo>
                    <a:pt x="166688" y="254317"/>
                    <a:pt x="159068" y="274320"/>
                    <a:pt x="147638" y="274320"/>
                  </a:cubicBezTo>
                  <a:moveTo>
                    <a:pt x="180023" y="314325"/>
                  </a:moveTo>
                  <a:cubicBezTo>
                    <a:pt x="180023" y="304800"/>
                    <a:pt x="171450" y="300990"/>
                    <a:pt x="158115" y="297180"/>
                  </a:cubicBezTo>
                  <a:cubicBezTo>
                    <a:pt x="146685" y="293370"/>
                    <a:pt x="140970" y="292417"/>
                    <a:pt x="140970" y="288608"/>
                  </a:cubicBezTo>
                  <a:cubicBezTo>
                    <a:pt x="140970" y="285750"/>
                    <a:pt x="143828" y="281940"/>
                    <a:pt x="148590" y="279083"/>
                  </a:cubicBezTo>
                  <a:cubicBezTo>
                    <a:pt x="167640" y="278130"/>
                    <a:pt x="180975" y="260985"/>
                    <a:pt x="180975" y="245745"/>
                  </a:cubicBezTo>
                  <a:cubicBezTo>
                    <a:pt x="180975" y="242888"/>
                    <a:pt x="180023" y="240030"/>
                    <a:pt x="179070" y="237172"/>
                  </a:cubicBezTo>
                  <a:lnTo>
                    <a:pt x="195263" y="237172"/>
                  </a:lnTo>
                  <a:lnTo>
                    <a:pt x="198120" y="228600"/>
                  </a:lnTo>
                  <a:lnTo>
                    <a:pt x="172403" y="228600"/>
                  </a:lnTo>
                  <a:cubicBezTo>
                    <a:pt x="169545" y="226695"/>
                    <a:pt x="165735" y="225742"/>
                    <a:pt x="161925" y="225742"/>
                  </a:cubicBezTo>
                  <a:cubicBezTo>
                    <a:pt x="140970" y="225742"/>
                    <a:pt x="127635" y="243840"/>
                    <a:pt x="127635" y="258128"/>
                  </a:cubicBezTo>
                  <a:cubicBezTo>
                    <a:pt x="127635" y="269558"/>
                    <a:pt x="134303" y="276225"/>
                    <a:pt x="143828" y="278130"/>
                  </a:cubicBezTo>
                  <a:cubicBezTo>
                    <a:pt x="134303" y="282892"/>
                    <a:pt x="128588" y="287655"/>
                    <a:pt x="128588" y="293370"/>
                  </a:cubicBezTo>
                  <a:cubicBezTo>
                    <a:pt x="128588" y="297180"/>
                    <a:pt x="129540" y="299085"/>
                    <a:pt x="132398" y="300990"/>
                  </a:cubicBezTo>
                  <a:cubicBezTo>
                    <a:pt x="110490" y="307658"/>
                    <a:pt x="100965" y="315278"/>
                    <a:pt x="100965" y="325755"/>
                  </a:cubicBezTo>
                  <a:cubicBezTo>
                    <a:pt x="100965" y="336233"/>
                    <a:pt x="114300" y="340042"/>
                    <a:pt x="130493" y="340042"/>
                  </a:cubicBezTo>
                  <a:cubicBezTo>
                    <a:pt x="157163" y="341947"/>
                    <a:pt x="180023" y="326708"/>
                    <a:pt x="180023" y="314325"/>
                  </a:cubicBezTo>
                  <a:moveTo>
                    <a:pt x="76200" y="251460"/>
                  </a:moveTo>
                  <a:cubicBezTo>
                    <a:pt x="85725" y="251460"/>
                    <a:pt x="85725" y="255270"/>
                    <a:pt x="84773" y="265747"/>
                  </a:cubicBezTo>
                  <a:lnTo>
                    <a:pt x="90488" y="265747"/>
                  </a:lnTo>
                  <a:lnTo>
                    <a:pt x="103823" y="229553"/>
                  </a:lnTo>
                  <a:lnTo>
                    <a:pt x="98107" y="229553"/>
                  </a:lnTo>
                  <a:cubicBezTo>
                    <a:pt x="93345" y="238125"/>
                    <a:pt x="89535" y="243840"/>
                    <a:pt x="79057" y="243840"/>
                  </a:cubicBezTo>
                  <a:lnTo>
                    <a:pt x="57150" y="243840"/>
                  </a:lnTo>
                  <a:lnTo>
                    <a:pt x="67628" y="214313"/>
                  </a:lnTo>
                  <a:cubicBezTo>
                    <a:pt x="71438" y="204788"/>
                    <a:pt x="73343" y="202883"/>
                    <a:pt x="86678" y="202883"/>
                  </a:cubicBezTo>
                  <a:lnTo>
                    <a:pt x="96203" y="202883"/>
                  </a:lnTo>
                  <a:cubicBezTo>
                    <a:pt x="109538" y="202883"/>
                    <a:pt x="111443" y="206692"/>
                    <a:pt x="111443" y="220028"/>
                  </a:cubicBezTo>
                  <a:lnTo>
                    <a:pt x="117157" y="220028"/>
                  </a:lnTo>
                  <a:lnTo>
                    <a:pt x="121920" y="195263"/>
                  </a:lnTo>
                  <a:lnTo>
                    <a:pt x="40005" y="195263"/>
                  </a:lnTo>
                  <a:lnTo>
                    <a:pt x="38100" y="200025"/>
                  </a:lnTo>
                  <a:cubicBezTo>
                    <a:pt x="54293" y="202883"/>
                    <a:pt x="55245" y="204788"/>
                    <a:pt x="47625" y="224790"/>
                  </a:cubicBezTo>
                  <a:lnTo>
                    <a:pt x="29528" y="273367"/>
                  </a:lnTo>
                  <a:cubicBezTo>
                    <a:pt x="21908" y="293370"/>
                    <a:pt x="19050" y="295275"/>
                    <a:pt x="953" y="298133"/>
                  </a:cubicBezTo>
                  <a:lnTo>
                    <a:pt x="0" y="302895"/>
                  </a:lnTo>
                  <a:lnTo>
                    <a:pt x="91440" y="302895"/>
                  </a:lnTo>
                  <a:lnTo>
                    <a:pt x="107632" y="277178"/>
                  </a:lnTo>
                  <a:lnTo>
                    <a:pt x="101918" y="277178"/>
                  </a:lnTo>
                  <a:cubicBezTo>
                    <a:pt x="91440" y="286703"/>
                    <a:pt x="78105" y="296228"/>
                    <a:pt x="60007" y="296228"/>
                  </a:cubicBezTo>
                  <a:cubicBezTo>
                    <a:pt x="36195" y="296228"/>
                    <a:pt x="38100" y="295275"/>
                    <a:pt x="45720" y="273367"/>
                  </a:cubicBezTo>
                  <a:lnTo>
                    <a:pt x="54293" y="249555"/>
                  </a:lnTo>
                  <a:lnTo>
                    <a:pt x="76200" y="249555"/>
                  </a:lnTo>
                  <a:close/>
                  <a:moveTo>
                    <a:pt x="88582" y="188595"/>
                  </a:moveTo>
                  <a:lnTo>
                    <a:pt x="117157" y="168592"/>
                  </a:lnTo>
                  <a:lnTo>
                    <a:pt x="117157" y="165735"/>
                  </a:lnTo>
                  <a:lnTo>
                    <a:pt x="100013" y="165735"/>
                  </a:lnTo>
                  <a:lnTo>
                    <a:pt x="83820" y="188595"/>
                  </a:lnTo>
                  <a:lnTo>
                    <a:pt x="88582" y="188595"/>
                  </a:lnTo>
                  <a:close/>
                  <a:moveTo>
                    <a:pt x="450533" y="52388"/>
                  </a:moveTo>
                  <a:cubicBezTo>
                    <a:pt x="456247" y="52388"/>
                    <a:pt x="461010" y="56197"/>
                    <a:pt x="458153" y="66675"/>
                  </a:cubicBezTo>
                  <a:lnTo>
                    <a:pt x="432435" y="72390"/>
                  </a:lnTo>
                  <a:cubicBezTo>
                    <a:pt x="437197" y="60960"/>
                    <a:pt x="444818" y="52388"/>
                    <a:pt x="450533" y="52388"/>
                  </a:cubicBezTo>
                  <a:moveTo>
                    <a:pt x="464820" y="93345"/>
                  </a:moveTo>
                  <a:lnTo>
                    <a:pt x="460058" y="93345"/>
                  </a:lnTo>
                  <a:cubicBezTo>
                    <a:pt x="453390" y="100965"/>
                    <a:pt x="446722" y="106680"/>
                    <a:pt x="440055" y="106680"/>
                  </a:cubicBezTo>
                  <a:cubicBezTo>
                    <a:pt x="433388" y="106680"/>
                    <a:pt x="429578" y="102870"/>
                    <a:pt x="429578" y="93345"/>
                  </a:cubicBezTo>
                  <a:cubicBezTo>
                    <a:pt x="429578" y="89535"/>
                    <a:pt x="429578" y="85725"/>
                    <a:pt x="430530" y="81915"/>
                  </a:cubicBezTo>
                  <a:lnTo>
                    <a:pt x="471488" y="68580"/>
                  </a:lnTo>
                  <a:cubicBezTo>
                    <a:pt x="479108" y="49530"/>
                    <a:pt x="469583" y="40958"/>
                    <a:pt x="458153" y="40958"/>
                  </a:cubicBezTo>
                  <a:cubicBezTo>
                    <a:pt x="439103" y="40958"/>
                    <a:pt x="416243" y="73342"/>
                    <a:pt x="416243" y="101917"/>
                  </a:cubicBezTo>
                  <a:cubicBezTo>
                    <a:pt x="416243" y="114300"/>
                    <a:pt x="421958" y="121920"/>
                    <a:pt x="431483" y="121920"/>
                  </a:cubicBezTo>
                  <a:cubicBezTo>
                    <a:pt x="443865" y="121920"/>
                    <a:pt x="455295" y="111442"/>
                    <a:pt x="464820" y="93345"/>
                  </a:cubicBezTo>
                  <a:moveTo>
                    <a:pt x="457200" y="33338"/>
                  </a:moveTo>
                  <a:lnTo>
                    <a:pt x="485775" y="6667"/>
                  </a:lnTo>
                  <a:lnTo>
                    <a:pt x="485775" y="3810"/>
                  </a:lnTo>
                  <a:lnTo>
                    <a:pt x="470535" y="3810"/>
                  </a:lnTo>
                  <a:lnTo>
                    <a:pt x="452438" y="34290"/>
                  </a:lnTo>
                  <a:lnTo>
                    <a:pt x="457200" y="34290"/>
                  </a:lnTo>
                  <a:close/>
                  <a:moveTo>
                    <a:pt x="371475" y="52388"/>
                  </a:moveTo>
                  <a:lnTo>
                    <a:pt x="381953" y="52388"/>
                  </a:lnTo>
                  <a:lnTo>
                    <a:pt x="360045" y="111442"/>
                  </a:lnTo>
                  <a:cubicBezTo>
                    <a:pt x="358140" y="116205"/>
                    <a:pt x="360997" y="121920"/>
                    <a:pt x="365760" y="121920"/>
                  </a:cubicBezTo>
                  <a:cubicBezTo>
                    <a:pt x="378143" y="121920"/>
                    <a:pt x="398145" y="109538"/>
                    <a:pt x="404813" y="93345"/>
                  </a:cubicBezTo>
                  <a:lnTo>
                    <a:pt x="401003" y="93345"/>
                  </a:lnTo>
                  <a:cubicBezTo>
                    <a:pt x="395288" y="99060"/>
                    <a:pt x="384810" y="106680"/>
                    <a:pt x="376238" y="108585"/>
                  </a:cubicBezTo>
                  <a:lnTo>
                    <a:pt x="396240" y="53340"/>
                  </a:lnTo>
                  <a:lnTo>
                    <a:pt x="416243" y="53340"/>
                  </a:lnTo>
                  <a:lnTo>
                    <a:pt x="419100" y="44767"/>
                  </a:lnTo>
                  <a:lnTo>
                    <a:pt x="399097" y="44767"/>
                  </a:lnTo>
                  <a:lnTo>
                    <a:pt x="406718" y="23813"/>
                  </a:lnTo>
                  <a:lnTo>
                    <a:pt x="399097" y="23813"/>
                  </a:lnTo>
                  <a:lnTo>
                    <a:pt x="384810" y="44767"/>
                  </a:lnTo>
                  <a:lnTo>
                    <a:pt x="370522" y="46672"/>
                  </a:lnTo>
                  <a:lnTo>
                    <a:pt x="370522" y="52388"/>
                  </a:lnTo>
                  <a:close/>
                  <a:moveTo>
                    <a:pt x="360997" y="59055"/>
                  </a:moveTo>
                  <a:cubicBezTo>
                    <a:pt x="363855" y="49530"/>
                    <a:pt x="361950" y="40958"/>
                    <a:pt x="355283" y="40958"/>
                  </a:cubicBezTo>
                  <a:cubicBezTo>
                    <a:pt x="346710" y="40958"/>
                    <a:pt x="343853" y="47625"/>
                    <a:pt x="335280" y="66675"/>
                  </a:cubicBezTo>
                  <a:lnTo>
                    <a:pt x="335280" y="55245"/>
                  </a:lnTo>
                  <a:cubicBezTo>
                    <a:pt x="335280" y="47625"/>
                    <a:pt x="332423" y="40005"/>
                    <a:pt x="325755" y="40005"/>
                  </a:cubicBezTo>
                  <a:cubicBezTo>
                    <a:pt x="317183" y="40005"/>
                    <a:pt x="309563" y="53340"/>
                    <a:pt x="303848" y="65722"/>
                  </a:cubicBezTo>
                  <a:lnTo>
                    <a:pt x="307658" y="65722"/>
                  </a:lnTo>
                  <a:cubicBezTo>
                    <a:pt x="311468" y="60008"/>
                    <a:pt x="315278" y="56197"/>
                    <a:pt x="318135" y="56197"/>
                  </a:cubicBezTo>
                  <a:cubicBezTo>
                    <a:pt x="321945" y="56197"/>
                    <a:pt x="323850" y="61913"/>
                    <a:pt x="318135" y="74295"/>
                  </a:cubicBezTo>
                  <a:lnTo>
                    <a:pt x="301943" y="109538"/>
                  </a:lnTo>
                  <a:cubicBezTo>
                    <a:pt x="299085" y="116205"/>
                    <a:pt x="301943" y="120967"/>
                    <a:pt x="308610" y="120967"/>
                  </a:cubicBezTo>
                  <a:cubicBezTo>
                    <a:pt x="312420" y="120967"/>
                    <a:pt x="314325" y="120015"/>
                    <a:pt x="316230" y="115253"/>
                  </a:cubicBezTo>
                  <a:lnTo>
                    <a:pt x="332423" y="73342"/>
                  </a:lnTo>
                  <a:cubicBezTo>
                    <a:pt x="337185" y="67628"/>
                    <a:pt x="340995" y="62865"/>
                    <a:pt x="345758" y="58103"/>
                  </a:cubicBezTo>
                  <a:lnTo>
                    <a:pt x="360997" y="58103"/>
                  </a:lnTo>
                  <a:close/>
                  <a:moveTo>
                    <a:pt x="269558" y="52388"/>
                  </a:moveTo>
                  <a:cubicBezTo>
                    <a:pt x="275273" y="52388"/>
                    <a:pt x="280035" y="56197"/>
                    <a:pt x="277178" y="66675"/>
                  </a:cubicBezTo>
                  <a:lnTo>
                    <a:pt x="251460" y="72390"/>
                  </a:lnTo>
                  <a:cubicBezTo>
                    <a:pt x="256223" y="60960"/>
                    <a:pt x="263843" y="52388"/>
                    <a:pt x="269558" y="52388"/>
                  </a:cubicBezTo>
                  <a:moveTo>
                    <a:pt x="283845" y="93345"/>
                  </a:moveTo>
                  <a:lnTo>
                    <a:pt x="279083" y="93345"/>
                  </a:lnTo>
                  <a:cubicBezTo>
                    <a:pt x="272415" y="100965"/>
                    <a:pt x="265748" y="106680"/>
                    <a:pt x="259080" y="106680"/>
                  </a:cubicBezTo>
                  <a:cubicBezTo>
                    <a:pt x="252413" y="106680"/>
                    <a:pt x="248603" y="102870"/>
                    <a:pt x="248603" y="93345"/>
                  </a:cubicBezTo>
                  <a:cubicBezTo>
                    <a:pt x="248603" y="89535"/>
                    <a:pt x="248603" y="85725"/>
                    <a:pt x="249555" y="81915"/>
                  </a:cubicBezTo>
                  <a:lnTo>
                    <a:pt x="290513" y="68580"/>
                  </a:lnTo>
                  <a:cubicBezTo>
                    <a:pt x="298133" y="49530"/>
                    <a:pt x="288608" y="40958"/>
                    <a:pt x="277178" y="40958"/>
                  </a:cubicBezTo>
                  <a:cubicBezTo>
                    <a:pt x="258128" y="40958"/>
                    <a:pt x="235268" y="73342"/>
                    <a:pt x="235268" y="101917"/>
                  </a:cubicBezTo>
                  <a:cubicBezTo>
                    <a:pt x="235268" y="114300"/>
                    <a:pt x="240983" y="121920"/>
                    <a:pt x="250508" y="121920"/>
                  </a:cubicBezTo>
                  <a:cubicBezTo>
                    <a:pt x="262890" y="121920"/>
                    <a:pt x="274320" y="111442"/>
                    <a:pt x="283845" y="93345"/>
                  </a:cubicBezTo>
                  <a:moveTo>
                    <a:pt x="182880" y="110490"/>
                  </a:moveTo>
                  <a:cubicBezTo>
                    <a:pt x="179070" y="110490"/>
                    <a:pt x="173355" y="106680"/>
                    <a:pt x="173355" y="103822"/>
                  </a:cubicBezTo>
                  <a:cubicBezTo>
                    <a:pt x="173355" y="102870"/>
                    <a:pt x="175260" y="98108"/>
                    <a:pt x="177165" y="92392"/>
                  </a:cubicBezTo>
                  <a:lnTo>
                    <a:pt x="183833" y="74295"/>
                  </a:lnTo>
                  <a:cubicBezTo>
                    <a:pt x="190500" y="65722"/>
                    <a:pt x="201930" y="57150"/>
                    <a:pt x="207645" y="57150"/>
                  </a:cubicBezTo>
                  <a:cubicBezTo>
                    <a:pt x="211455" y="57150"/>
                    <a:pt x="214313" y="59055"/>
                    <a:pt x="214313" y="64770"/>
                  </a:cubicBezTo>
                  <a:cubicBezTo>
                    <a:pt x="215265" y="80963"/>
                    <a:pt x="200025" y="110490"/>
                    <a:pt x="182880" y="110490"/>
                  </a:cubicBezTo>
                  <a:moveTo>
                    <a:pt x="230505" y="58103"/>
                  </a:moveTo>
                  <a:cubicBezTo>
                    <a:pt x="230505" y="45720"/>
                    <a:pt x="225743" y="41910"/>
                    <a:pt x="218123" y="41910"/>
                  </a:cubicBezTo>
                  <a:cubicBezTo>
                    <a:pt x="207645" y="41910"/>
                    <a:pt x="198120" y="53340"/>
                    <a:pt x="188595" y="66675"/>
                  </a:cubicBezTo>
                  <a:lnTo>
                    <a:pt x="213360" y="1905"/>
                  </a:lnTo>
                  <a:lnTo>
                    <a:pt x="212408" y="0"/>
                  </a:lnTo>
                  <a:lnTo>
                    <a:pt x="186690" y="2858"/>
                  </a:lnTo>
                  <a:lnTo>
                    <a:pt x="186690" y="5715"/>
                  </a:lnTo>
                  <a:lnTo>
                    <a:pt x="191453" y="9525"/>
                  </a:lnTo>
                  <a:cubicBezTo>
                    <a:pt x="196215" y="13335"/>
                    <a:pt x="194310" y="17145"/>
                    <a:pt x="190500" y="27622"/>
                  </a:cubicBezTo>
                  <a:lnTo>
                    <a:pt x="163830" y="96203"/>
                  </a:lnTo>
                  <a:cubicBezTo>
                    <a:pt x="161925" y="100965"/>
                    <a:pt x="159068" y="107633"/>
                    <a:pt x="159068" y="108585"/>
                  </a:cubicBezTo>
                  <a:cubicBezTo>
                    <a:pt x="159068" y="115253"/>
                    <a:pt x="168593" y="121920"/>
                    <a:pt x="177165" y="121920"/>
                  </a:cubicBezTo>
                  <a:cubicBezTo>
                    <a:pt x="196215" y="121920"/>
                    <a:pt x="230505" y="85725"/>
                    <a:pt x="230505" y="58103"/>
                  </a:cubicBezTo>
                  <a:moveTo>
                    <a:pt x="149543" y="49530"/>
                  </a:moveTo>
                  <a:cubicBezTo>
                    <a:pt x="151448" y="43815"/>
                    <a:pt x="147638" y="40958"/>
                    <a:pt x="144780" y="40958"/>
                  </a:cubicBezTo>
                  <a:cubicBezTo>
                    <a:pt x="133350" y="40958"/>
                    <a:pt x="119063" y="51435"/>
                    <a:pt x="113348" y="66675"/>
                  </a:cubicBezTo>
                  <a:lnTo>
                    <a:pt x="117157" y="66675"/>
                  </a:lnTo>
                  <a:cubicBezTo>
                    <a:pt x="120968" y="60960"/>
                    <a:pt x="127635" y="55245"/>
                    <a:pt x="133350" y="54292"/>
                  </a:cubicBezTo>
                  <a:lnTo>
                    <a:pt x="110490" y="113347"/>
                  </a:lnTo>
                  <a:cubicBezTo>
                    <a:pt x="108585" y="119063"/>
                    <a:pt x="112395" y="121920"/>
                    <a:pt x="115253" y="121920"/>
                  </a:cubicBezTo>
                  <a:cubicBezTo>
                    <a:pt x="126682" y="121920"/>
                    <a:pt x="140018" y="111442"/>
                    <a:pt x="145733" y="96203"/>
                  </a:cubicBezTo>
                  <a:lnTo>
                    <a:pt x="141923" y="96203"/>
                  </a:lnTo>
                  <a:cubicBezTo>
                    <a:pt x="138113" y="101917"/>
                    <a:pt x="131445" y="107633"/>
                    <a:pt x="125730" y="108585"/>
                  </a:cubicBezTo>
                  <a:lnTo>
                    <a:pt x="149543" y="49530"/>
                  </a:lnTo>
                  <a:close/>
                  <a:moveTo>
                    <a:pt x="153353" y="20003"/>
                  </a:moveTo>
                  <a:cubicBezTo>
                    <a:pt x="159068" y="20003"/>
                    <a:pt x="162878" y="15240"/>
                    <a:pt x="162878" y="10478"/>
                  </a:cubicBezTo>
                  <a:cubicBezTo>
                    <a:pt x="162878" y="4763"/>
                    <a:pt x="158115" y="953"/>
                    <a:pt x="153353" y="953"/>
                  </a:cubicBezTo>
                  <a:cubicBezTo>
                    <a:pt x="147638" y="953"/>
                    <a:pt x="143828" y="5715"/>
                    <a:pt x="143828" y="10478"/>
                  </a:cubicBezTo>
                  <a:cubicBezTo>
                    <a:pt x="143828" y="16192"/>
                    <a:pt x="147638" y="20003"/>
                    <a:pt x="153353" y="20003"/>
                  </a:cubicBezTo>
                  <a:moveTo>
                    <a:pt x="93345" y="10478"/>
                  </a:moveTo>
                  <a:lnTo>
                    <a:pt x="39053" y="10478"/>
                  </a:lnTo>
                  <a:lnTo>
                    <a:pt x="37148" y="15240"/>
                  </a:lnTo>
                  <a:cubicBezTo>
                    <a:pt x="53340" y="18097"/>
                    <a:pt x="54293" y="20003"/>
                    <a:pt x="46673" y="40005"/>
                  </a:cubicBezTo>
                  <a:lnTo>
                    <a:pt x="29528" y="88583"/>
                  </a:lnTo>
                  <a:cubicBezTo>
                    <a:pt x="21908" y="108585"/>
                    <a:pt x="19050" y="110490"/>
                    <a:pt x="953" y="113347"/>
                  </a:cubicBezTo>
                  <a:lnTo>
                    <a:pt x="0" y="118110"/>
                  </a:lnTo>
                  <a:lnTo>
                    <a:pt x="82868" y="118110"/>
                  </a:lnTo>
                  <a:lnTo>
                    <a:pt x="100965" y="86678"/>
                  </a:lnTo>
                  <a:lnTo>
                    <a:pt x="94298" y="86678"/>
                  </a:lnTo>
                  <a:cubicBezTo>
                    <a:pt x="83820" y="98108"/>
                    <a:pt x="72390" y="111442"/>
                    <a:pt x="54293" y="111442"/>
                  </a:cubicBezTo>
                  <a:cubicBezTo>
                    <a:pt x="40957" y="111442"/>
                    <a:pt x="39053" y="109538"/>
                    <a:pt x="46673" y="88583"/>
                  </a:cubicBezTo>
                  <a:lnTo>
                    <a:pt x="63818" y="40005"/>
                  </a:lnTo>
                  <a:cubicBezTo>
                    <a:pt x="71438" y="20003"/>
                    <a:pt x="74295" y="18097"/>
                    <a:pt x="92393" y="15240"/>
                  </a:cubicBezTo>
                  <a:lnTo>
                    <a:pt x="93345" y="1047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EF54B3B4-D50D-4165-967F-4732A1467D7A}"/>
                </a:ext>
              </a:extLst>
            </p:cNvPr>
            <p:cNvSpPr/>
            <p:nvPr/>
          </p:nvSpPr>
          <p:spPr>
            <a:xfrm>
              <a:off x="270509" y="675322"/>
              <a:ext cx="1310640" cy="498157"/>
            </a:xfrm>
            <a:custGeom>
              <a:avLst/>
              <a:gdLst>
                <a:gd name="connsiteX0" fmla="*/ 0 w 1310640"/>
                <a:gd name="connsiteY0" fmla="*/ 196215 h 498157"/>
                <a:gd name="connsiteX1" fmla="*/ 0 w 1310640"/>
                <a:gd name="connsiteY1" fmla="*/ 0 h 498157"/>
                <a:gd name="connsiteX2" fmla="*/ 64770 w 1310640"/>
                <a:gd name="connsiteY2" fmla="*/ 0 h 498157"/>
                <a:gd name="connsiteX3" fmla="*/ 116205 w 1310640"/>
                <a:gd name="connsiteY3" fmla="*/ 16192 h 498157"/>
                <a:gd name="connsiteX4" fmla="*/ 135255 w 1310640"/>
                <a:gd name="connsiteY4" fmla="*/ 59055 h 498157"/>
                <a:gd name="connsiteX5" fmla="*/ 116205 w 1310640"/>
                <a:gd name="connsiteY5" fmla="*/ 101917 h 498157"/>
                <a:gd name="connsiteX6" fmla="*/ 64770 w 1310640"/>
                <a:gd name="connsiteY6" fmla="*/ 118110 h 498157"/>
                <a:gd name="connsiteX7" fmla="*/ 40005 w 1310640"/>
                <a:gd name="connsiteY7" fmla="*/ 118110 h 498157"/>
                <a:gd name="connsiteX8" fmla="*/ 40005 w 1310640"/>
                <a:gd name="connsiteY8" fmla="*/ 197167 h 498157"/>
                <a:gd name="connsiteX9" fmla="*/ 0 w 1310640"/>
                <a:gd name="connsiteY9" fmla="*/ 197167 h 498157"/>
                <a:gd name="connsiteX10" fmla="*/ 65723 w 1310640"/>
                <a:gd name="connsiteY10" fmla="*/ 33338 h 498157"/>
                <a:gd name="connsiteX11" fmla="*/ 39053 w 1310640"/>
                <a:gd name="connsiteY11" fmla="*/ 33338 h 498157"/>
                <a:gd name="connsiteX12" fmla="*/ 39053 w 1310640"/>
                <a:gd name="connsiteY12" fmla="*/ 82867 h 498157"/>
                <a:gd name="connsiteX13" fmla="*/ 65723 w 1310640"/>
                <a:gd name="connsiteY13" fmla="*/ 82867 h 498157"/>
                <a:gd name="connsiteX14" fmla="*/ 85725 w 1310640"/>
                <a:gd name="connsiteY14" fmla="*/ 76200 h 498157"/>
                <a:gd name="connsiteX15" fmla="*/ 93345 w 1310640"/>
                <a:gd name="connsiteY15" fmla="*/ 58102 h 498157"/>
                <a:gd name="connsiteX16" fmla="*/ 85725 w 1310640"/>
                <a:gd name="connsiteY16" fmla="*/ 40005 h 498157"/>
                <a:gd name="connsiteX17" fmla="*/ 65723 w 1310640"/>
                <a:gd name="connsiteY17" fmla="*/ 33338 h 498157"/>
                <a:gd name="connsiteX18" fmla="*/ 166688 w 1310640"/>
                <a:gd name="connsiteY18" fmla="*/ 196215 h 498157"/>
                <a:gd name="connsiteX19" fmla="*/ 166688 w 1310640"/>
                <a:gd name="connsiteY19" fmla="*/ 0 h 498157"/>
                <a:gd name="connsiteX20" fmla="*/ 226695 w 1310640"/>
                <a:gd name="connsiteY20" fmla="*/ 0 h 498157"/>
                <a:gd name="connsiteX21" fmla="*/ 278130 w 1310640"/>
                <a:gd name="connsiteY21" fmla="*/ 16192 h 498157"/>
                <a:gd name="connsiteX22" fmla="*/ 297180 w 1310640"/>
                <a:gd name="connsiteY22" fmla="*/ 59055 h 498157"/>
                <a:gd name="connsiteX23" fmla="*/ 288608 w 1310640"/>
                <a:gd name="connsiteY23" fmla="*/ 89535 h 498157"/>
                <a:gd name="connsiteX24" fmla="*/ 265748 w 1310640"/>
                <a:gd name="connsiteY24" fmla="*/ 109538 h 498157"/>
                <a:gd name="connsiteX25" fmla="*/ 327660 w 1310640"/>
                <a:gd name="connsiteY25" fmla="*/ 196215 h 498157"/>
                <a:gd name="connsiteX26" fmla="*/ 280035 w 1310640"/>
                <a:gd name="connsiteY26" fmla="*/ 196215 h 498157"/>
                <a:gd name="connsiteX27" fmla="*/ 227648 w 1310640"/>
                <a:gd name="connsiteY27" fmla="*/ 117157 h 498157"/>
                <a:gd name="connsiteX28" fmla="*/ 206692 w 1310640"/>
                <a:gd name="connsiteY28" fmla="*/ 117157 h 498157"/>
                <a:gd name="connsiteX29" fmla="*/ 206692 w 1310640"/>
                <a:gd name="connsiteY29" fmla="*/ 196215 h 498157"/>
                <a:gd name="connsiteX30" fmla="*/ 166688 w 1310640"/>
                <a:gd name="connsiteY30" fmla="*/ 196215 h 498157"/>
                <a:gd name="connsiteX31" fmla="*/ 229553 w 1310640"/>
                <a:gd name="connsiteY31" fmla="*/ 33338 h 498157"/>
                <a:gd name="connsiteX32" fmla="*/ 206692 w 1310640"/>
                <a:gd name="connsiteY32" fmla="*/ 33338 h 498157"/>
                <a:gd name="connsiteX33" fmla="*/ 206692 w 1310640"/>
                <a:gd name="connsiteY33" fmla="*/ 82867 h 498157"/>
                <a:gd name="connsiteX34" fmla="*/ 229553 w 1310640"/>
                <a:gd name="connsiteY34" fmla="*/ 82867 h 498157"/>
                <a:gd name="connsiteX35" fmla="*/ 249555 w 1310640"/>
                <a:gd name="connsiteY35" fmla="*/ 76200 h 498157"/>
                <a:gd name="connsiteX36" fmla="*/ 256223 w 1310640"/>
                <a:gd name="connsiteY36" fmla="*/ 58102 h 498157"/>
                <a:gd name="connsiteX37" fmla="*/ 249555 w 1310640"/>
                <a:gd name="connsiteY37" fmla="*/ 40005 h 498157"/>
                <a:gd name="connsiteX38" fmla="*/ 229553 w 1310640"/>
                <a:gd name="connsiteY38" fmla="*/ 33338 h 498157"/>
                <a:gd name="connsiteX39" fmla="*/ 352425 w 1310640"/>
                <a:gd name="connsiteY39" fmla="*/ 196215 h 498157"/>
                <a:gd name="connsiteX40" fmla="*/ 352425 w 1310640"/>
                <a:gd name="connsiteY40" fmla="*/ 0 h 498157"/>
                <a:gd name="connsiteX41" fmla="*/ 466725 w 1310640"/>
                <a:gd name="connsiteY41" fmla="*/ 0 h 498157"/>
                <a:gd name="connsiteX42" fmla="*/ 466725 w 1310640"/>
                <a:gd name="connsiteY42" fmla="*/ 34290 h 498157"/>
                <a:gd name="connsiteX43" fmla="*/ 392430 w 1310640"/>
                <a:gd name="connsiteY43" fmla="*/ 34290 h 498157"/>
                <a:gd name="connsiteX44" fmla="*/ 392430 w 1310640"/>
                <a:gd name="connsiteY44" fmla="*/ 80010 h 498157"/>
                <a:gd name="connsiteX45" fmla="*/ 456248 w 1310640"/>
                <a:gd name="connsiteY45" fmla="*/ 80010 h 498157"/>
                <a:gd name="connsiteX46" fmla="*/ 456248 w 1310640"/>
                <a:gd name="connsiteY46" fmla="*/ 114300 h 498157"/>
                <a:gd name="connsiteX47" fmla="*/ 392430 w 1310640"/>
                <a:gd name="connsiteY47" fmla="*/ 114300 h 498157"/>
                <a:gd name="connsiteX48" fmla="*/ 392430 w 1310640"/>
                <a:gd name="connsiteY48" fmla="*/ 163830 h 498157"/>
                <a:gd name="connsiteX49" fmla="*/ 466725 w 1310640"/>
                <a:gd name="connsiteY49" fmla="*/ 163830 h 498157"/>
                <a:gd name="connsiteX50" fmla="*/ 466725 w 1310640"/>
                <a:gd name="connsiteY50" fmla="*/ 198120 h 498157"/>
                <a:gd name="connsiteX51" fmla="*/ 352425 w 1310640"/>
                <a:gd name="connsiteY51" fmla="*/ 198120 h 498157"/>
                <a:gd name="connsiteX52" fmla="*/ 513398 w 1310640"/>
                <a:gd name="connsiteY52" fmla="*/ 196215 h 498157"/>
                <a:gd name="connsiteX53" fmla="*/ 513398 w 1310640"/>
                <a:gd name="connsiteY53" fmla="*/ 0 h 498157"/>
                <a:gd name="connsiteX54" fmla="*/ 563880 w 1310640"/>
                <a:gd name="connsiteY54" fmla="*/ 0 h 498157"/>
                <a:gd name="connsiteX55" fmla="*/ 611505 w 1310640"/>
                <a:gd name="connsiteY55" fmla="*/ 80963 h 498157"/>
                <a:gd name="connsiteX56" fmla="*/ 659130 w 1310640"/>
                <a:gd name="connsiteY56" fmla="*/ 0 h 498157"/>
                <a:gd name="connsiteX57" fmla="*/ 709613 w 1310640"/>
                <a:gd name="connsiteY57" fmla="*/ 0 h 498157"/>
                <a:gd name="connsiteX58" fmla="*/ 709613 w 1310640"/>
                <a:gd name="connsiteY58" fmla="*/ 197167 h 498157"/>
                <a:gd name="connsiteX59" fmla="*/ 669608 w 1310640"/>
                <a:gd name="connsiteY59" fmla="*/ 197167 h 498157"/>
                <a:gd name="connsiteX60" fmla="*/ 669608 w 1310640"/>
                <a:gd name="connsiteY60" fmla="*/ 56198 h 498157"/>
                <a:gd name="connsiteX61" fmla="*/ 624840 w 1310640"/>
                <a:gd name="connsiteY61" fmla="*/ 128588 h 498157"/>
                <a:gd name="connsiteX62" fmla="*/ 596265 w 1310640"/>
                <a:gd name="connsiteY62" fmla="*/ 128588 h 498157"/>
                <a:gd name="connsiteX63" fmla="*/ 552450 w 1310640"/>
                <a:gd name="connsiteY63" fmla="*/ 56198 h 498157"/>
                <a:gd name="connsiteX64" fmla="*/ 552450 w 1310640"/>
                <a:gd name="connsiteY64" fmla="*/ 196215 h 498157"/>
                <a:gd name="connsiteX65" fmla="*/ 513398 w 1310640"/>
                <a:gd name="connsiteY65" fmla="*/ 196215 h 498157"/>
                <a:gd name="connsiteX66" fmla="*/ 763905 w 1310640"/>
                <a:gd name="connsiteY66" fmla="*/ 196215 h 498157"/>
                <a:gd name="connsiteX67" fmla="*/ 763905 w 1310640"/>
                <a:gd name="connsiteY67" fmla="*/ 0 h 498157"/>
                <a:gd name="connsiteX68" fmla="*/ 803910 w 1310640"/>
                <a:gd name="connsiteY68" fmla="*/ 0 h 498157"/>
                <a:gd name="connsiteX69" fmla="*/ 803910 w 1310640"/>
                <a:gd name="connsiteY69" fmla="*/ 197167 h 498157"/>
                <a:gd name="connsiteX70" fmla="*/ 763905 w 1310640"/>
                <a:gd name="connsiteY70" fmla="*/ 197167 h 498157"/>
                <a:gd name="connsiteX71" fmla="*/ 858203 w 1310640"/>
                <a:gd name="connsiteY71" fmla="*/ 196215 h 498157"/>
                <a:gd name="connsiteX72" fmla="*/ 858203 w 1310640"/>
                <a:gd name="connsiteY72" fmla="*/ 0 h 498157"/>
                <a:gd name="connsiteX73" fmla="*/ 972503 w 1310640"/>
                <a:gd name="connsiteY73" fmla="*/ 0 h 498157"/>
                <a:gd name="connsiteX74" fmla="*/ 972503 w 1310640"/>
                <a:gd name="connsiteY74" fmla="*/ 34290 h 498157"/>
                <a:gd name="connsiteX75" fmla="*/ 898208 w 1310640"/>
                <a:gd name="connsiteY75" fmla="*/ 34290 h 498157"/>
                <a:gd name="connsiteX76" fmla="*/ 898208 w 1310640"/>
                <a:gd name="connsiteY76" fmla="*/ 80010 h 498157"/>
                <a:gd name="connsiteX77" fmla="*/ 962025 w 1310640"/>
                <a:gd name="connsiteY77" fmla="*/ 80010 h 498157"/>
                <a:gd name="connsiteX78" fmla="*/ 962025 w 1310640"/>
                <a:gd name="connsiteY78" fmla="*/ 114300 h 498157"/>
                <a:gd name="connsiteX79" fmla="*/ 898208 w 1310640"/>
                <a:gd name="connsiteY79" fmla="*/ 114300 h 498157"/>
                <a:gd name="connsiteX80" fmla="*/ 898208 w 1310640"/>
                <a:gd name="connsiteY80" fmla="*/ 163830 h 498157"/>
                <a:gd name="connsiteX81" fmla="*/ 972503 w 1310640"/>
                <a:gd name="connsiteY81" fmla="*/ 163830 h 498157"/>
                <a:gd name="connsiteX82" fmla="*/ 972503 w 1310640"/>
                <a:gd name="connsiteY82" fmla="*/ 198120 h 498157"/>
                <a:gd name="connsiteX83" fmla="*/ 858203 w 1310640"/>
                <a:gd name="connsiteY83" fmla="*/ 198120 h 498157"/>
                <a:gd name="connsiteX84" fmla="*/ 1019175 w 1310640"/>
                <a:gd name="connsiteY84" fmla="*/ 196215 h 498157"/>
                <a:gd name="connsiteX85" fmla="*/ 1019175 w 1310640"/>
                <a:gd name="connsiteY85" fmla="*/ 0 h 498157"/>
                <a:gd name="connsiteX86" fmla="*/ 1079183 w 1310640"/>
                <a:gd name="connsiteY86" fmla="*/ 0 h 498157"/>
                <a:gd name="connsiteX87" fmla="*/ 1130618 w 1310640"/>
                <a:gd name="connsiteY87" fmla="*/ 16192 h 498157"/>
                <a:gd name="connsiteX88" fmla="*/ 1149668 w 1310640"/>
                <a:gd name="connsiteY88" fmla="*/ 59055 h 498157"/>
                <a:gd name="connsiteX89" fmla="*/ 1141095 w 1310640"/>
                <a:gd name="connsiteY89" fmla="*/ 89535 h 498157"/>
                <a:gd name="connsiteX90" fmla="*/ 1118235 w 1310640"/>
                <a:gd name="connsiteY90" fmla="*/ 109538 h 498157"/>
                <a:gd name="connsiteX91" fmla="*/ 1180148 w 1310640"/>
                <a:gd name="connsiteY91" fmla="*/ 196215 h 498157"/>
                <a:gd name="connsiteX92" fmla="*/ 1132523 w 1310640"/>
                <a:gd name="connsiteY92" fmla="*/ 196215 h 498157"/>
                <a:gd name="connsiteX93" fmla="*/ 1080135 w 1310640"/>
                <a:gd name="connsiteY93" fmla="*/ 117157 h 498157"/>
                <a:gd name="connsiteX94" fmla="*/ 1059180 w 1310640"/>
                <a:gd name="connsiteY94" fmla="*/ 117157 h 498157"/>
                <a:gd name="connsiteX95" fmla="*/ 1059180 w 1310640"/>
                <a:gd name="connsiteY95" fmla="*/ 196215 h 498157"/>
                <a:gd name="connsiteX96" fmla="*/ 1019175 w 1310640"/>
                <a:gd name="connsiteY96" fmla="*/ 196215 h 498157"/>
                <a:gd name="connsiteX97" fmla="*/ 1082040 w 1310640"/>
                <a:gd name="connsiteY97" fmla="*/ 33338 h 498157"/>
                <a:gd name="connsiteX98" fmla="*/ 1059180 w 1310640"/>
                <a:gd name="connsiteY98" fmla="*/ 33338 h 498157"/>
                <a:gd name="connsiteX99" fmla="*/ 1059180 w 1310640"/>
                <a:gd name="connsiteY99" fmla="*/ 82867 h 498157"/>
                <a:gd name="connsiteX100" fmla="*/ 1082040 w 1310640"/>
                <a:gd name="connsiteY100" fmla="*/ 82867 h 498157"/>
                <a:gd name="connsiteX101" fmla="*/ 1102043 w 1310640"/>
                <a:gd name="connsiteY101" fmla="*/ 76200 h 498157"/>
                <a:gd name="connsiteX102" fmla="*/ 1108710 w 1310640"/>
                <a:gd name="connsiteY102" fmla="*/ 58102 h 498157"/>
                <a:gd name="connsiteX103" fmla="*/ 1102043 w 1310640"/>
                <a:gd name="connsiteY103" fmla="*/ 40005 h 498157"/>
                <a:gd name="connsiteX104" fmla="*/ 1082040 w 1310640"/>
                <a:gd name="connsiteY104" fmla="*/ 33338 h 498157"/>
                <a:gd name="connsiteX105" fmla="*/ 0 w 1310640"/>
                <a:gd name="connsiteY105" fmla="*/ 493395 h 498157"/>
                <a:gd name="connsiteX106" fmla="*/ 0 w 1310640"/>
                <a:gd name="connsiteY106" fmla="*/ 296228 h 498157"/>
                <a:gd name="connsiteX107" fmla="*/ 50483 w 1310640"/>
                <a:gd name="connsiteY107" fmla="*/ 296228 h 498157"/>
                <a:gd name="connsiteX108" fmla="*/ 98108 w 1310640"/>
                <a:gd name="connsiteY108" fmla="*/ 377190 h 498157"/>
                <a:gd name="connsiteX109" fmla="*/ 145733 w 1310640"/>
                <a:gd name="connsiteY109" fmla="*/ 296228 h 498157"/>
                <a:gd name="connsiteX110" fmla="*/ 196215 w 1310640"/>
                <a:gd name="connsiteY110" fmla="*/ 296228 h 498157"/>
                <a:gd name="connsiteX111" fmla="*/ 196215 w 1310640"/>
                <a:gd name="connsiteY111" fmla="*/ 493395 h 498157"/>
                <a:gd name="connsiteX112" fmla="*/ 156210 w 1310640"/>
                <a:gd name="connsiteY112" fmla="*/ 493395 h 498157"/>
                <a:gd name="connsiteX113" fmla="*/ 156210 w 1310640"/>
                <a:gd name="connsiteY113" fmla="*/ 353378 h 498157"/>
                <a:gd name="connsiteX114" fmla="*/ 112395 w 1310640"/>
                <a:gd name="connsiteY114" fmla="*/ 425767 h 498157"/>
                <a:gd name="connsiteX115" fmla="*/ 84773 w 1310640"/>
                <a:gd name="connsiteY115" fmla="*/ 425767 h 498157"/>
                <a:gd name="connsiteX116" fmla="*/ 40958 w 1310640"/>
                <a:gd name="connsiteY116" fmla="*/ 353378 h 498157"/>
                <a:gd name="connsiteX117" fmla="*/ 40958 w 1310640"/>
                <a:gd name="connsiteY117" fmla="*/ 493395 h 498157"/>
                <a:gd name="connsiteX118" fmla="*/ 0 w 1310640"/>
                <a:gd name="connsiteY118" fmla="*/ 493395 h 498157"/>
                <a:gd name="connsiteX119" fmla="*/ 249555 w 1310640"/>
                <a:gd name="connsiteY119" fmla="*/ 493395 h 498157"/>
                <a:gd name="connsiteX120" fmla="*/ 249555 w 1310640"/>
                <a:gd name="connsiteY120" fmla="*/ 296228 h 498157"/>
                <a:gd name="connsiteX121" fmla="*/ 289560 w 1310640"/>
                <a:gd name="connsiteY121" fmla="*/ 296228 h 498157"/>
                <a:gd name="connsiteX122" fmla="*/ 289560 w 1310640"/>
                <a:gd name="connsiteY122" fmla="*/ 493395 h 498157"/>
                <a:gd name="connsiteX123" fmla="*/ 249555 w 1310640"/>
                <a:gd name="connsiteY123" fmla="*/ 493395 h 498157"/>
                <a:gd name="connsiteX124" fmla="*/ 344805 w 1310640"/>
                <a:gd name="connsiteY124" fmla="*/ 493395 h 498157"/>
                <a:gd name="connsiteX125" fmla="*/ 344805 w 1310640"/>
                <a:gd name="connsiteY125" fmla="*/ 296228 h 498157"/>
                <a:gd name="connsiteX126" fmla="*/ 396240 w 1310640"/>
                <a:gd name="connsiteY126" fmla="*/ 296228 h 498157"/>
                <a:gd name="connsiteX127" fmla="*/ 483870 w 1310640"/>
                <a:gd name="connsiteY127" fmla="*/ 437198 h 498157"/>
                <a:gd name="connsiteX128" fmla="*/ 483870 w 1310640"/>
                <a:gd name="connsiteY128" fmla="*/ 296228 h 498157"/>
                <a:gd name="connsiteX129" fmla="*/ 523875 w 1310640"/>
                <a:gd name="connsiteY129" fmla="*/ 296228 h 498157"/>
                <a:gd name="connsiteX130" fmla="*/ 523875 w 1310640"/>
                <a:gd name="connsiteY130" fmla="*/ 493395 h 498157"/>
                <a:gd name="connsiteX131" fmla="*/ 472440 w 1310640"/>
                <a:gd name="connsiteY131" fmla="*/ 493395 h 498157"/>
                <a:gd name="connsiteX132" fmla="*/ 384810 w 1310640"/>
                <a:gd name="connsiteY132" fmla="*/ 352425 h 498157"/>
                <a:gd name="connsiteX133" fmla="*/ 384810 w 1310640"/>
                <a:gd name="connsiteY133" fmla="*/ 493395 h 498157"/>
                <a:gd name="connsiteX134" fmla="*/ 344805 w 1310640"/>
                <a:gd name="connsiteY134" fmla="*/ 493395 h 498157"/>
                <a:gd name="connsiteX135" fmla="*/ 579120 w 1310640"/>
                <a:gd name="connsiteY135" fmla="*/ 493395 h 498157"/>
                <a:gd name="connsiteX136" fmla="*/ 579120 w 1310640"/>
                <a:gd name="connsiteY136" fmla="*/ 296228 h 498157"/>
                <a:gd name="connsiteX137" fmla="*/ 619125 w 1310640"/>
                <a:gd name="connsiteY137" fmla="*/ 296228 h 498157"/>
                <a:gd name="connsiteX138" fmla="*/ 619125 w 1310640"/>
                <a:gd name="connsiteY138" fmla="*/ 493395 h 498157"/>
                <a:gd name="connsiteX139" fmla="*/ 579120 w 1310640"/>
                <a:gd name="connsiteY139" fmla="*/ 493395 h 498157"/>
                <a:gd name="connsiteX140" fmla="*/ 656273 w 1310640"/>
                <a:gd name="connsiteY140" fmla="*/ 466725 h 498157"/>
                <a:gd name="connsiteX141" fmla="*/ 684848 w 1310640"/>
                <a:gd name="connsiteY141" fmla="*/ 440055 h 498157"/>
                <a:gd name="connsiteX142" fmla="*/ 704850 w 1310640"/>
                <a:gd name="connsiteY142" fmla="*/ 458153 h 498157"/>
                <a:gd name="connsiteX143" fmla="*/ 728663 w 1310640"/>
                <a:gd name="connsiteY143" fmla="*/ 464820 h 498157"/>
                <a:gd name="connsiteX144" fmla="*/ 746760 w 1310640"/>
                <a:gd name="connsiteY144" fmla="*/ 459105 h 498157"/>
                <a:gd name="connsiteX145" fmla="*/ 753428 w 1310640"/>
                <a:gd name="connsiteY145" fmla="*/ 441960 h 498157"/>
                <a:gd name="connsiteX146" fmla="*/ 739140 w 1310640"/>
                <a:gd name="connsiteY146" fmla="*/ 421957 h 498157"/>
                <a:gd name="connsiteX147" fmla="*/ 708660 w 1310640"/>
                <a:gd name="connsiteY147" fmla="*/ 406717 h 498157"/>
                <a:gd name="connsiteX148" fmla="*/ 678180 w 1310640"/>
                <a:gd name="connsiteY148" fmla="*/ 385763 h 498157"/>
                <a:gd name="connsiteX149" fmla="*/ 663893 w 1310640"/>
                <a:gd name="connsiteY149" fmla="*/ 348615 h 498157"/>
                <a:gd name="connsiteX150" fmla="*/ 668655 w 1310640"/>
                <a:gd name="connsiteY150" fmla="*/ 326707 h 498157"/>
                <a:gd name="connsiteX151" fmla="*/ 681990 w 1310640"/>
                <a:gd name="connsiteY151" fmla="*/ 308610 h 498157"/>
                <a:gd name="connsiteX152" fmla="*/ 701993 w 1310640"/>
                <a:gd name="connsiteY152" fmla="*/ 296228 h 498157"/>
                <a:gd name="connsiteX153" fmla="*/ 727710 w 1310640"/>
                <a:gd name="connsiteY153" fmla="*/ 291465 h 498157"/>
                <a:gd name="connsiteX154" fmla="*/ 766763 w 1310640"/>
                <a:gd name="connsiteY154" fmla="*/ 300990 h 498157"/>
                <a:gd name="connsiteX155" fmla="*/ 796290 w 1310640"/>
                <a:gd name="connsiteY155" fmla="*/ 324803 h 498157"/>
                <a:gd name="connsiteX156" fmla="*/ 766763 w 1310640"/>
                <a:gd name="connsiteY156" fmla="*/ 350520 h 498157"/>
                <a:gd name="connsiteX157" fmla="*/ 748665 w 1310640"/>
                <a:gd name="connsiteY157" fmla="*/ 332423 h 498157"/>
                <a:gd name="connsiteX158" fmla="*/ 727710 w 1310640"/>
                <a:gd name="connsiteY158" fmla="*/ 325755 h 498157"/>
                <a:gd name="connsiteX159" fmla="*/ 711518 w 1310640"/>
                <a:gd name="connsiteY159" fmla="*/ 331470 h 498157"/>
                <a:gd name="connsiteX160" fmla="*/ 705803 w 1310640"/>
                <a:gd name="connsiteY160" fmla="*/ 345757 h 498157"/>
                <a:gd name="connsiteX161" fmla="*/ 720090 w 1310640"/>
                <a:gd name="connsiteY161" fmla="*/ 365760 h 498157"/>
                <a:gd name="connsiteX162" fmla="*/ 750570 w 1310640"/>
                <a:gd name="connsiteY162" fmla="*/ 381000 h 498157"/>
                <a:gd name="connsiteX163" fmla="*/ 781050 w 1310640"/>
                <a:gd name="connsiteY163" fmla="*/ 401955 h 498157"/>
                <a:gd name="connsiteX164" fmla="*/ 795338 w 1310640"/>
                <a:gd name="connsiteY164" fmla="*/ 440055 h 498157"/>
                <a:gd name="connsiteX165" fmla="*/ 789623 w 1310640"/>
                <a:gd name="connsiteY165" fmla="*/ 464820 h 498157"/>
                <a:gd name="connsiteX166" fmla="*/ 775335 w 1310640"/>
                <a:gd name="connsiteY166" fmla="*/ 482917 h 498157"/>
                <a:gd name="connsiteX167" fmla="*/ 754380 w 1310640"/>
                <a:gd name="connsiteY167" fmla="*/ 494348 h 498157"/>
                <a:gd name="connsiteX168" fmla="*/ 728663 w 1310640"/>
                <a:gd name="connsiteY168" fmla="*/ 498157 h 498157"/>
                <a:gd name="connsiteX169" fmla="*/ 685800 w 1310640"/>
                <a:gd name="connsiteY169" fmla="*/ 489585 h 498157"/>
                <a:gd name="connsiteX170" fmla="*/ 656273 w 1310640"/>
                <a:gd name="connsiteY170" fmla="*/ 466725 h 498157"/>
                <a:gd name="connsiteX171" fmla="*/ 814388 w 1310640"/>
                <a:gd name="connsiteY171" fmla="*/ 333375 h 498157"/>
                <a:gd name="connsiteX172" fmla="*/ 814388 w 1310640"/>
                <a:gd name="connsiteY172" fmla="*/ 297180 h 498157"/>
                <a:gd name="connsiteX173" fmla="*/ 975360 w 1310640"/>
                <a:gd name="connsiteY173" fmla="*/ 297180 h 498157"/>
                <a:gd name="connsiteX174" fmla="*/ 975360 w 1310640"/>
                <a:gd name="connsiteY174" fmla="*/ 333375 h 498157"/>
                <a:gd name="connsiteX175" fmla="*/ 914400 w 1310640"/>
                <a:gd name="connsiteY175" fmla="*/ 333375 h 498157"/>
                <a:gd name="connsiteX176" fmla="*/ 914400 w 1310640"/>
                <a:gd name="connsiteY176" fmla="*/ 493395 h 498157"/>
                <a:gd name="connsiteX177" fmla="*/ 874395 w 1310640"/>
                <a:gd name="connsiteY177" fmla="*/ 493395 h 498157"/>
                <a:gd name="connsiteX178" fmla="*/ 874395 w 1310640"/>
                <a:gd name="connsiteY178" fmla="*/ 333375 h 498157"/>
                <a:gd name="connsiteX179" fmla="*/ 814388 w 1310640"/>
                <a:gd name="connsiteY179" fmla="*/ 333375 h 498157"/>
                <a:gd name="connsiteX180" fmla="*/ 1011555 w 1310640"/>
                <a:gd name="connsiteY180" fmla="*/ 493395 h 498157"/>
                <a:gd name="connsiteX181" fmla="*/ 1011555 w 1310640"/>
                <a:gd name="connsiteY181" fmla="*/ 296228 h 498157"/>
                <a:gd name="connsiteX182" fmla="*/ 1071563 w 1310640"/>
                <a:gd name="connsiteY182" fmla="*/ 296228 h 498157"/>
                <a:gd name="connsiteX183" fmla="*/ 1122998 w 1310640"/>
                <a:gd name="connsiteY183" fmla="*/ 312420 h 498157"/>
                <a:gd name="connsiteX184" fmla="*/ 1142048 w 1310640"/>
                <a:gd name="connsiteY184" fmla="*/ 355282 h 498157"/>
                <a:gd name="connsiteX185" fmla="*/ 1133475 w 1310640"/>
                <a:gd name="connsiteY185" fmla="*/ 385763 h 498157"/>
                <a:gd name="connsiteX186" fmla="*/ 1110615 w 1310640"/>
                <a:gd name="connsiteY186" fmla="*/ 405765 h 498157"/>
                <a:gd name="connsiteX187" fmla="*/ 1172528 w 1310640"/>
                <a:gd name="connsiteY187" fmla="*/ 492442 h 498157"/>
                <a:gd name="connsiteX188" fmla="*/ 1124903 w 1310640"/>
                <a:gd name="connsiteY188" fmla="*/ 492442 h 498157"/>
                <a:gd name="connsiteX189" fmla="*/ 1072515 w 1310640"/>
                <a:gd name="connsiteY189" fmla="*/ 413385 h 498157"/>
                <a:gd name="connsiteX190" fmla="*/ 1051560 w 1310640"/>
                <a:gd name="connsiteY190" fmla="*/ 413385 h 498157"/>
                <a:gd name="connsiteX191" fmla="*/ 1051560 w 1310640"/>
                <a:gd name="connsiteY191" fmla="*/ 492442 h 498157"/>
                <a:gd name="connsiteX192" fmla="*/ 1011555 w 1310640"/>
                <a:gd name="connsiteY192" fmla="*/ 492442 h 498157"/>
                <a:gd name="connsiteX193" fmla="*/ 1073468 w 1310640"/>
                <a:gd name="connsiteY193" fmla="*/ 330517 h 498157"/>
                <a:gd name="connsiteX194" fmla="*/ 1050608 w 1310640"/>
                <a:gd name="connsiteY194" fmla="*/ 330517 h 498157"/>
                <a:gd name="connsiteX195" fmla="*/ 1050608 w 1310640"/>
                <a:gd name="connsiteY195" fmla="*/ 380048 h 498157"/>
                <a:gd name="connsiteX196" fmla="*/ 1073468 w 1310640"/>
                <a:gd name="connsiteY196" fmla="*/ 380048 h 498157"/>
                <a:gd name="connsiteX197" fmla="*/ 1093470 w 1310640"/>
                <a:gd name="connsiteY197" fmla="*/ 373380 h 498157"/>
                <a:gd name="connsiteX198" fmla="*/ 1100138 w 1310640"/>
                <a:gd name="connsiteY198" fmla="*/ 355282 h 498157"/>
                <a:gd name="connsiteX199" fmla="*/ 1093470 w 1310640"/>
                <a:gd name="connsiteY199" fmla="*/ 337185 h 498157"/>
                <a:gd name="connsiteX200" fmla="*/ 1073468 w 1310640"/>
                <a:gd name="connsiteY200" fmla="*/ 330517 h 498157"/>
                <a:gd name="connsiteX201" fmla="*/ 1196340 w 1310640"/>
                <a:gd name="connsiteY201" fmla="*/ 493395 h 498157"/>
                <a:gd name="connsiteX202" fmla="*/ 1196340 w 1310640"/>
                <a:gd name="connsiteY202" fmla="*/ 296228 h 498157"/>
                <a:gd name="connsiteX203" fmla="*/ 1310640 w 1310640"/>
                <a:gd name="connsiteY203" fmla="*/ 296228 h 498157"/>
                <a:gd name="connsiteX204" fmla="*/ 1310640 w 1310640"/>
                <a:gd name="connsiteY204" fmla="*/ 330517 h 498157"/>
                <a:gd name="connsiteX205" fmla="*/ 1236345 w 1310640"/>
                <a:gd name="connsiteY205" fmla="*/ 330517 h 498157"/>
                <a:gd name="connsiteX206" fmla="*/ 1236345 w 1310640"/>
                <a:gd name="connsiteY206" fmla="*/ 376238 h 498157"/>
                <a:gd name="connsiteX207" fmla="*/ 1300163 w 1310640"/>
                <a:gd name="connsiteY207" fmla="*/ 376238 h 498157"/>
                <a:gd name="connsiteX208" fmla="*/ 1300163 w 1310640"/>
                <a:gd name="connsiteY208" fmla="*/ 410528 h 498157"/>
                <a:gd name="connsiteX209" fmla="*/ 1236345 w 1310640"/>
                <a:gd name="connsiteY209" fmla="*/ 410528 h 498157"/>
                <a:gd name="connsiteX210" fmla="*/ 1236345 w 1310640"/>
                <a:gd name="connsiteY210" fmla="*/ 460057 h 498157"/>
                <a:gd name="connsiteX211" fmla="*/ 1310640 w 1310640"/>
                <a:gd name="connsiteY211" fmla="*/ 460057 h 498157"/>
                <a:gd name="connsiteX212" fmla="*/ 1310640 w 1310640"/>
                <a:gd name="connsiteY212" fmla="*/ 494348 h 498157"/>
                <a:gd name="connsiteX213" fmla="*/ 1196340 w 1310640"/>
                <a:gd name="connsiteY213" fmla="*/ 494348 h 49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</a:cxnLst>
              <a:rect l="l" t="t" r="r" b="b"/>
              <a:pathLst>
                <a:path w="1310640" h="498157">
                  <a:moveTo>
                    <a:pt x="0" y="196215"/>
                  </a:moveTo>
                  <a:lnTo>
                    <a:pt x="0" y="0"/>
                  </a:lnTo>
                  <a:lnTo>
                    <a:pt x="64770" y="0"/>
                  </a:lnTo>
                  <a:cubicBezTo>
                    <a:pt x="86678" y="0"/>
                    <a:pt x="102870" y="5715"/>
                    <a:pt x="116205" y="16192"/>
                  </a:cubicBezTo>
                  <a:cubicBezTo>
                    <a:pt x="128588" y="26670"/>
                    <a:pt x="135255" y="40957"/>
                    <a:pt x="135255" y="59055"/>
                  </a:cubicBezTo>
                  <a:cubicBezTo>
                    <a:pt x="135255" y="77152"/>
                    <a:pt x="128588" y="91440"/>
                    <a:pt x="116205" y="101917"/>
                  </a:cubicBezTo>
                  <a:cubicBezTo>
                    <a:pt x="103823" y="112395"/>
                    <a:pt x="86678" y="118110"/>
                    <a:pt x="64770" y="118110"/>
                  </a:cubicBezTo>
                  <a:lnTo>
                    <a:pt x="40005" y="118110"/>
                  </a:lnTo>
                  <a:lnTo>
                    <a:pt x="40005" y="197167"/>
                  </a:lnTo>
                  <a:lnTo>
                    <a:pt x="0" y="197167"/>
                  </a:lnTo>
                  <a:close/>
                  <a:moveTo>
                    <a:pt x="65723" y="33338"/>
                  </a:moveTo>
                  <a:lnTo>
                    <a:pt x="39053" y="33338"/>
                  </a:lnTo>
                  <a:lnTo>
                    <a:pt x="39053" y="82867"/>
                  </a:lnTo>
                  <a:lnTo>
                    <a:pt x="65723" y="82867"/>
                  </a:lnTo>
                  <a:cubicBezTo>
                    <a:pt x="74295" y="82867"/>
                    <a:pt x="80963" y="80963"/>
                    <a:pt x="85725" y="76200"/>
                  </a:cubicBezTo>
                  <a:cubicBezTo>
                    <a:pt x="90488" y="71438"/>
                    <a:pt x="93345" y="65723"/>
                    <a:pt x="93345" y="58102"/>
                  </a:cubicBezTo>
                  <a:cubicBezTo>
                    <a:pt x="93345" y="50482"/>
                    <a:pt x="90488" y="44767"/>
                    <a:pt x="85725" y="40005"/>
                  </a:cubicBezTo>
                  <a:cubicBezTo>
                    <a:pt x="80963" y="36195"/>
                    <a:pt x="74295" y="33338"/>
                    <a:pt x="65723" y="33338"/>
                  </a:cubicBezTo>
                  <a:close/>
                  <a:moveTo>
                    <a:pt x="166688" y="196215"/>
                  </a:moveTo>
                  <a:lnTo>
                    <a:pt x="166688" y="0"/>
                  </a:lnTo>
                  <a:lnTo>
                    <a:pt x="226695" y="0"/>
                  </a:lnTo>
                  <a:cubicBezTo>
                    <a:pt x="248603" y="0"/>
                    <a:pt x="265748" y="5715"/>
                    <a:pt x="278130" y="16192"/>
                  </a:cubicBezTo>
                  <a:cubicBezTo>
                    <a:pt x="290513" y="26670"/>
                    <a:pt x="297180" y="40957"/>
                    <a:pt x="297180" y="59055"/>
                  </a:cubicBezTo>
                  <a:cubicBezTo>
                    <a:pt x="297180" y="70485"/>
                    <a:pt x="294323" y="80963"/>
                    <a:pt x="288608" y="89535"/>
                  </a:cubicBezTo>
                  <a:cubicBezTo>
                    <a:pt x="282893" y="98107"/>
                    <a:pt x="275273" y="104775"/>
                    <a:pt x="265748" y="109538"/>
                  </a:cubicBezTo>
                  <a:lnTo>
                    <a:pt x="327660" y="196215"/>
                  </a:lnTo>
                  <a:lnTo>
                    <a:pt x="280035" y="196215"/>
                  </a:lnTo>
                  <a:lnTo>
                    <a:pt x="227648" y="117157"/>
                  </a:lnTo>
                  <a:lnTo>
                    <a:pt x="206692" y="117157"/>
                  </a:lnTo>
                  <a:lnTo>
                    <a:pt x="206692" y="196215"/>
                  </a:lnTo>
                  <a:lnTo>
                    <a:pt x="166688" y="196215"/>
                  </a:lnTo>
                  <a:close/>
                  <a:moveTo>
                    <a:pt x="229553" y="33338"/>
                  </a:moveTo>
                  <a:lnTo>
                    <a:pt x="206692" y="33338"/>
                  </a:lnTo>
                  <a:lnTo>
                    <a:pt x="206692" y="82867"/>
                  </a:lnTo>
                  <a:lnTo>
                    <a:pt x="229553" y="82867"/>
                  </a:lnTo>
                  <a:cubicBezTo>
                    <a:pt x="238125" y="82867"/>
                    <a:pt x="244792" y="80963"/>
                    <a:pt x="249555" y="76200"/>
                  </a:cubicBezTo>
                  <a:cubicBezTo>
                    <a:pt x="254317" y="71438"/>
                    <a:pt x="256223" y="65723"/>
                    <a:pt x="256223" y="58102"/>
                  </a:cubicBezTo>
                  <a:cubicBezTo>
                    <a:pt x="256223" y="50482"/>
                    <a:pt x="254317" y="44767"/>
                    <a:pt x="249555" y="40005"/>
                  </a:cubicBezTo>
                  <a:cubicBezTo>
                    <a:pt x="244792" y="36195"/>
                    <a:pt x="238125" y="33338"/>
                    <a:pt x="229553" y="33338"/>
                  </a:cubicBezTo>
                  <a:close/>
                  <a:moveTo>
                    <a:pt x="352425" y="196215"/>
                  </a:moveTo>
                  <a:lnTo>
                    <a:pt x="352425" y="0"/>
                  </a:lnTo>
                  <a:lnTo>
                    <a:pt x="466725" y="0"/>
                  </a:lnTo>
                  <a:lnTo>
                    <a:pt x="466725" y="34290"/>
                  </a:lnTo>
                  <a:lnTo>
                    <a:pt x="392430" y="34290"/>
                  </a:lnTo>
                  <a:lnTo>
                    <a:pt x="392430" y="80010"/>
                  </a:lnTo>
                  <a:lnTo>
                    <a:pt x="456248" y="80010"/>
                  </a:lnTo>
                  <a:lnTo>
                    <a:pt x="456248" y="114300"/>
                  </a:lnTo>
                  <a:lnTo>
                    <a:pt x="392430" y="114300"/>
                  </a:lnTo>
                  <a:lnTo>
                    <a:pt x="392430" y="163830"/>
                  </a:lnTo>
                  <a:lnTo>
                    <a:pt x="466725" y="163830"/>
                  </a:lnTo>
                  <a:lnTo>
                    <a:pt x="466725" y="198120"/>
                  </a:lnTo>
                  <a:lnTo>
                    <a:pt x="352425" y="198120"/>
                  </a:lnTo>
                  <a:close/>
                  <a:moveTo>
                    <a:pt x="513398" y="196215"/>
                  </a:moveTo>
                  <a:lnTo>
                    <a:pt x="513398" y="0"/>
                  </a:lnTo>
                  <a:lnTo>
                    <a:pt x="563880" y="0"/>
                  </a:lnTo>
                  <a:lnTo>
                    <a:pt x="611505" y="80963"/>
                  </a:lnTo>
                  <a:lnTo>
                    <a:pt x="659130" y="0"/>
                  </a:lnTo>
                  <a:lnTo>
                    <a:pt x="709613" y="0"/>
                  </a:lnTo>
                  <a:lnTo>
                    <a:pt x="709613" y="197167"/>
                  </a:lnTo>
                  <a:lnTo>
                    <a:pt x="669608" y="197167"/>
                  </a:lnTo>
                  <a:lnTo>
                    <a:pt x="669608" y="56198"/>
                  </a:lnTo>
                  <a:lnTo>
                    <a:pt x="624840" y="128588"/>
                  </a:lnTo>
                  <a:lnTo>
                    <a:pt x="596265" y="128588"/>
                  </a:lnTo>
                  <a:lnTo>
                    <a:pt x="552450" y="56198"/>
                  </a:lnTo>
                  <a:lnTo>
                    <a:pt x="552450" y="196215"/>
                  </a:lnTo>
                  <a:lnTo>
                    <a:pt x="513398" y="196215"/>
                  </a:lnTo>
                  <a:close/>
                  <a:moveTo>
                    <a:pt x="763905" y="196215"/>
                  </a:moveTo>
                  <a:lnTo>
                    <a:pt x="763905" y="0"/>
                  </a:lnTo>
                  <a:lnTo>
                    <a:pt x="803910" y="0"/>
                  </a:lnTo>
                  <a:lnTo>
                    <a:pt x="803910" y="197167"/>
                  </a:lnTo>
                  <a:lnTo>
                    <a:pt x="763905" y="197167"/>
                  </a:lnTo>
                  <a:close/>
                  <a:moveTo>
                    <a:pt x="858203" y="196215"/>
                  </a:moveTo>
                  <a:lnTo>
                    <a:pt x="858203" y="0"/>
                  </a:lnTo>
                  <a:lnTo>
                    <a:pt x="972503" y="0"/>
                  </a:lnTo>
                  <a:lnTo>
                    <a:pt x="972503" y="34290"/>
                  </a:lnTo>
                  <a:lnTo>
                    <a:pt x="898208" y="34290"/>
                  </a:lnTo>
                  <a:lnTo>
                    <a:pt x="898208" y="80010"/>
                  </a:lnTo>
                  <a:lnTo>
                    <a:pt x="962025" y="80010"/>
                  </a:lnTo>
                  <a:lnTo>
                    <a:pt x="962025" y="114300"/>
                  </a:lnTo>
                  <a:lnTo>
                    <a:pt x="898208" y="114300"/>
                  </a:lnTo>
                  <a:lnTo>
                    <a:pt x="898208" y="163830"/>
                  </a:lnTo>
                  <a:lnTo>
                    <a:pt x="972503" y="163830"/>
                  </a:lnTo>
                  <a:lnTo>
                    <a:pt x="972503" y="198120"/>
                  </a:lnTo>
                  <a:lnTo>
                    <a:pt x="858203" y="198120"/>
                  </a:lnTo>
                  <a:close/>
                  <a:moveTo>
                    <a:pt x="1019175" y="196215"/>
                  </a:moveTo>
                  <a:lnTo>
                    <a:pt x="1019175" y="0"/>
                  </a:lnTo>
                  <a:lnTo>
                    <a:pt x="1079183" y="0"/>
                  </a:lnTo>
                  <a:cubicBezTo>
                    <a:pt x="1101090" y="0"/>
                    <a:pt x="1118235" y="5715"/>
                    <a:pt x="1130618" y="16192"/>
                  </a:cubicBezTo>
                  <a:cubicBezTo>
                    <a:pt x="1143000" y="26670"/>
                    <a:pt x="1149668" y="40957"/>
                    <a:pt x="1149668" y="59055"/>
                  </a:cubicBezTo>
                  <a:cubicBezTo>
                    <a:pt x="1149668" y="70485"/>
                    <a:pt x="1146810" y="80963"/>
                    <a:pt x="1141095" y="89535"/>
                  </a:cubicBezTo>
                  <a:cubicBezTo>
                    <a:pt x="1135380" y="98107"/>
                    <a:pt x="1127760" y="104775"/>
                    <a:pt x="1118235" y="109538"/>
                  </a:cubicBezTo>
                  <a:lnTo>
                    <a:pt x="1180148" y="196215"/>
                  </a:lnTo>
                  <a:lnTo>
                    <a:pt x="1132523" y="196215"/>
                  </a:lnTo>
                  <a:lnTo>
                    <a:pt x="1080135" y="117157"/>
                  </a:lnTo>
                  <a:lnTo>
                    <a:pt x="1059180" y="117157"/>
                  </a:lnTo>
                  <a:lnTo>
                    <a:pt x="1059180" y="196215"/>
                  </a:lnTo>
                  <a:lnTo>
                    <a:pt x="1019175" y="196215"/>
                  </a:lnTo>
                  <a:close/>
                  <a:moveTo>
                    <a:pt x="1082040" y="33338"/>
                  </a:moveTo>
                  <a:lnTo>
                    <a:pt x="1059180" y="33338"/>
                  </a:lnTo>
                  <a:lnTo>
                    <a:pt x="1059180" y="82867"/>
                  </a:lnTo>
                  <a:lnTo>
                    <a:pt x="1082040" y="82867"/>
                  </a:lnTo>
                  <a:cubicBezTo>
                    <a:pt x="1090613" y="82867"/>
                    <a:pt x="1097280" y="80963"/>
                    <a:pt x="1102043" y="76200"/>
                  </a:cubicBezTo>
                  <a:cubicBezTo>
                    <a:pt x="1106805" y="71438"/>
                    <a:pt x="1108710" y="65723"/>
                    <a:pt x="1108710" y="58102"/>
                  </a:cubicBezTo>
                  <a:cubicBezTo>
                    <a:pt x="1108710" y="50482"/>
                    <a:pt x="1106805" y="44767"/>
                    <a:pt x="1102043" y="40005"/>
                  </a:cubicBezTo>
                  <a:cubicBezTo>
                    <a:pt x="1097280" y="36195"/>
                    <a:pt x="1090613" y="33338"/>
                    <a:pt x="1082040" y="33338"/>
                  </a:cubicBezTo>
                  <a:close/>
                  <a:moveTo>
                    <a:pt x="0" y="493395"/>
                  </a:moveTo>
                  <a:lnTo>
                    <a:pt x="0" y="296228"/>
                  </a:lnTo>
                  <a:lnTo>
                    <a:pt x="50483" y="296228"/>
                  </a:lnTo>
                  <a:lnTo>
                    <a:pt x="98108" y="377190"/>
                  </a:lnTo>
                  <a:lnTo>
                    <a:pt x="145733" y="296228"/>
                  </a:lnTo>
                  <a:lnTo>
                    <a:pt x="196215" y="296228"/>
                  </a:lnTo>
                  <a:lnTo>
                    <a:pt x="196215" y="493395"/>
                  </a:lnTo>
                  <a:lnTo>
                    <a:pt x="156210" y="493395"/>
                  </a:lnTo>
                  <a:lnTo>
                    <a:pt x="156210" y="353378"/>
                  </a:lnTo>
                  <a:lnTo>
                    <a:pt x="112395" y="425767"/>
                  </a:lnTo>
                  <a:lnTo>
                    <a:pt x="84773" y="425767"/>
                  </a:lnTo>
                  <a:lnTo>
                    <a:pt x="40958" y="353378"/>
                  </a:lnTo>
                  <a:lnTo>
                    <a:pt x="40958" y="493395"/>
                  </a:lnTo>
                  <a:lnTo>
                    <a:pt x="0" y="493395"/>
                  </a:lnTo>
                  <a:close/>
                  <a:moveTo>
                    <a:pt x="249555" y="493395"/>
                  </a:moveTo>
                  <a:lnTo>
                    <a:pt x="249555" y="296228"/>
                  </a:lnTo>
                  <a:lnTo>
                    <a:pt x="289560" y="296228"/>
                  </a:lnTo>
                  <a:lnTo>
                    <a:pt x="289560" y="493395"/>
                  </a:lnTo>
                  <a:lnTo>
                    <a:pt x="249555" y="493395"/>
                  </a:lnTo>
                  <a:close/>
                  <a:moveTo>
                    <a:pt x="344805" y="493395"/>
                  </a:moveTo>
                  <a:lnTo>
                    <a:pt x="344805" y="296228"/>
                  </a:lnTo>
                  <a:lnTo>
                    <a:pt x="396240" y="296228"/>
                  </a:lnTo>
                  <a:lnTo>
                    <a:pt x="483870" y="437198"/>
                  </a:lnTo>
                  <a:lnTo>
                    <a:pt x="483870" y="296228"/>
                  </a:lnTo>
                  <a:lnTo>
                    <a:pt x="523875" y="296228"/>
                  </a:lnTo>
                  <a:lnTo>
                    <a:pt x="523875" y="493395"/>
                  </a:lnTo>
                  <a:lnTo>
                    <a:pt x="472440" y="493395"/>
                  </a:lnTo>
                  <a:lnTo>
                    <a:pt x="384810" y="352425"/>
                  </a:lnTo>
                  <a:lnTo>
                    <a:pt x="384810" y="493395"/>
                  </a:lnTo>
                  <a:lnTo>
                    <a:pt x="344805" y="493395"/>
                  </a:lnTo>
                  <a:close/>
                  <a:moveTo>
                    <a:pt x="579120" y="493395"/>
                  </a:moveTo>
                  <a:lnTo>
                    <a:pt x="579120" y="296228"/>
                  </a:lnTo>
                  <a:lnTo>
                    <a:pt x="619125" y="296228"/>
                  </a:lnTo>
                  <a:lnTo>
                    <a:pt x="619125" y="493395"/>
                  </a:lnTo>
                  <a:lnTo>
                    <a:pt x="579120" y="493395"/>
                  </a:lnTo>
                  <a:close/>
                  <a:moveTo>
                    <a:pt x="656273" y="466725"/>
                  </a:moveTo>
                  <a:lnTo>
                    <a:pt x="684848" y="440055"/>
                  </a:lnTo>
                  <a:cubicBezTo>
                    <a:pt x="690563" y="447675"/>
                    <a:pt x="697230" y="453390"/>
                    <a:pt x="704850" y="458153"/>
                  </a:cubicBezTo>
                  <a:cubicBezTo>
                    <a:pt x="712470" y="462915"/>
                    <a:pt x="720090" y="464820"/>
                    <a:pt x="728663" y="464820"/>
                  </a:cubicBezTo>
                  <a:cubicBezTo>
                    <a:pt x="736283" y="464820"/>
                    <a:pt x="742950" y="462915"/>
                    <a:pt x="746760" y="459105"/>
                  </a:cubicBezTo>
                  <a:cubicBezTo>
                    <a:pt x="751523" y="455295"/>
                    <a:pt x="753428" y="449580"/>
                    <a:pt x="753428" y="441960"/>
                  </a:cubicBezTo>
                  <a:cubicBezTo>
                    <a:pt x="753428" y="433388"/>
                    <a:pt x="748665" y="426720"/>
                    <a:pt x="739140" y="421957"/>
                  </a:cubicBezTo>
                  <a:cubicBezTo>
                    <a:pt x="729615" y="417195"/>
                    <a:pt x="719138" y="412432"/>
                    <a:pt x="708660" y="406717"/>
                  </a:cubicBezTo>
                  <a:cubicBezTo>
                    <a:pt x="697230" y="401003"/>
                    <a:pt x="686753" y="394335"/>
                    <a:pt x="678180" y="385763"/>
                  </a:cubicBezTo>
                  <a:cubicBezTo>
                    <a:pt x="669608" y="377190"/>
                    <a:pt x="663893" y="364807"/>
                    <a:pt x="663893" y="348615"/>
                  </a:cubicBezTo>
                  <a:cubicBezTo>
                    <a:pt x="663893" y="340995"/>
                    <a:pt x="665798" y="333375"/>
                    <a:pt x="668655" y="326707"/>
                  </a:cubicBezTo>
                  <a:cubicBezTo>
                    <a:pt x="671513" y="320040"/>
                    <a:pt x="676275" y="313373"/>
                    <a:pt x="681990" y="308610"/>
                  </a:cubicBezTo>
                  <a:cubicBezTo>
                    <a:pt x="687705" y="303848"/>
                    <a:pt x="694373" y="299085"/>
                    <a:pt x="701993" y="296228"/>
                  </a:cubicBezTo>
                  <a:cubicBezTo>
                    <a:pt x="709613" y="293370"/>
                    <a:pt x="718185" y="291465"/>
                    <a:pt x="727710" y="291465"/>
                  </a:cubicBezTo>
                  <a:cubicBezTo>
                    <a:pt x="741998" y="291465"/>
                    <a:pt x="755333" y="294323"/>
                    <a:pt x="766763" y="300990"/>
                  </a:cubicBezTo>
                  <a:cubicBezTo>
                    <a:pt x="778193" y="306705"/>
                    <a:pt x="787718" y="315278"/>
                    <a:pt x="796290" y="324803"/>
                  </a:cubicBezTo>
                  <a:lnTo>
                    <a:pt x="766763" y="350520"/>
                  </a:lnTo>
                  <a:cubicBezTo>
                    <a:pt x="761048" y="342900"/>
                    <a:pt x="754380" y="337185"/>
                    <a:pt x="748665" y="332423"/>
                  </a:cubicBezTo>
                  <a:cubicBezTo>
                    <a:pt x="741998" y="327660"/>
                    <a:pt x="735330" y="325755"/>
                    <a:pt x="727710" y="325755"/>
                  </a:cubicBezTo>
                  <a:cubicBezTo>
                    <a:pt x="721043" y="325755"/>
                    <a:pt x="715328" y="327660"/>
                    <a:pt x="711518" y="331470"/>
                  </a:cubicBezTo>
                  <a:cubicBezTo>
                    <a:pt x="707708" y="335280"/>
                    <a:pt x="705803" y="340042"/>
                    <a:pt x="705803" y="345757"/>
                  </a:cubicBezTo>
                  <a:cubicBezTo>
                    <a:pt x="705803" y="354330"/>
                    <a:pt x="710565" y="360998"/>
                    <a:pt x="720090" y="365760"/>
                  </a:cubicBezTo>
                  <a:cubicBezTo>
                    <a:pt x="729615" y="370523"/>
                    <a:pt x="740093" y="375285"/>
                    <a:pt x="750570" y="381000"/>
                  </a:cubicBezTo>
                  <a:cubicBezTo>
                    <a:pt x="762000" y="386715"/>
                    <a:pt x="772478" y="393382"/>
                    <a:pt x="781050" y="401955"/>
                  </a:cubicBezTo>
                  <a:cubicBezTo>
                    <a:pt x="790575" y="410528"/>
                    <a:pt x="795338" y="422910"/>
                    <a:pt x="795338" y="440055"/>
                  </a:cubicBezTo>
                  <a:cubicBezTo>
                    <a:pt x="795338" y="449580"/>
                    <a:pt x="793433" y="457200"/>
                    <a:pt x="789623" y="464820"/>
                  </a:cubicBezTo>
                  <a:cubicBezTo>
                    <a:pt x="785813" y="472440"/>
                    <a:pt x="781050" y="478155"/>
                    <a:pt x="775335" y="482917"/>
                  </a:cubicBezTo>
                  <a:cubicBezTo>
                    <a:pt x="769620" y="487680"/>
                    <a:pt x="762953" y="491490"/>
                    <a:pt x="754380" y="494348"/>
                  </a:cubicBezTo>
                  <a:cubicBezTo>
                    <a:pt x="746760" y="497205"/>
                    <a:pt x="738188" y="498157"/>
                    <a:pt x="728663" y="498157"/>
                  </a:cubicBezTo>
                  <a:cubicBezTo>
                    <a:pt x="712470" y="498157"/>
                    <a:pt x="698183" y="495300"/>
                    <a:pt x="685800" y="489585"/>
                  </a:cubicBezTo>
                  <a:cubicBezTo>
                    <a:pt x="675323" y="484823"/>
                    <a:pt x="664845" y="476250"/>
                    <a:pt x="656273" y="466725"/>
                  </a:cubicBezTo>
                  <a:close/>
                  <a:moveTo>
                    <a:pt x="814388" y="333375"/>
                  </a:moveTo>
                  <a:lnTo>
                    <a:pt x="814388" y="297180"/>
                  </a:lnTo>
                  <a:lnTo>
                    <a:pt x="975360" y="297180"/>
                  </a:lnTo>
                  <a:lnTo>
                    <a:pt x="975360" y="333375"/>
                  </a:lnTo>
                  <a:lnTo>
                    <a:pt x="914400" y="333375"/>
                  </a:lnTo>
                  <a:lnTo>
                    <a:pt x="914400" y="493395"/>
                  </a:lnTo>
                  <a:lnTo>
                    <a:pt x="874395" y="493395"/>
                  </a:lnTo>
                  <a:lnTo>
                    <a:pt x="874395" y="333375"/>
                  </a:lnTo>
                  <a:lnTo>
                    <a:pt x="814388" y="333375"/>
                  </a:lnTo>
                  <a:close/>
                  <a:moveTo>
                    <a:pt x="1011555" y="493395"/>
                  </a:moveTo>
                  <a:lnTo>
                    <a:pt x="1011555" y="296228"/>
                  </a:lnTo>
                  <a:lnTo>
                    <a:pt x="1071563" y="296228"/>
                  </a:lnTo>
                  <a:cubicBezTo>
                    <a:pt x="1093470" y="296228"/>
                    <a:pt x="1110615" y="301942"/>
                    <a:pt x="1122998" y="312420"/>
                  </a:cubicBezTo>
                  <a:cubicBezTo>
                    <a:pt x="1135380" y="322898"/>
                    <a:pt x="1142048" y="337185"/>
                    <a:pt x="1142048" y="355282"/>
                  </a:cubicBezTo>
                  <a:cubicBezTo>
                    <a:pt x="1142048" y="366713"/>
                    <a:pt x="1139190" y="377190"/>
                    <a:pt x="1133475" y="385763"/>
                  </a:cubicBezTo>
                  <a:cubicBezTo>
                    <a:pt x="1127760" y="394335"/>
                    <a:pt x="1120140" y="401003"/>
                    <a:pt x="1110615" y="405765"/>
                  </a:cubicBezTo>
                  <a:lnTo>
                    <a:pt x="1172528" y="492442"/>
                  </a:lnTo>
                  <a:lnTo>
                    <a:pt x="1124903" y="492442"/>
                  </a:lnTo>
                  <a:lnTo>
                    <a:pt x="1072515" y="413385"/>
                  </a:lnTo>
                  <a:lnTo>
                    <a:pt x="1051560" y="413385"/>
                  </a:lnTo>
                  <a:lnTo>
                    <a:pt x="1051560" y="492442"/>
                  </a:lnTo>
                  <a:lnTo>
                    <a:pt x="1011555" y="492442"/>
                  </a:lnTo>
                  <a:close/>
                  <a:moveTo>
                    <a:pt x="1073468" y="330517"/>
                  </a:moveTo>
                  <a:lnTo>
                    <a:pt x="1050608" y="330517"/>
                  </a:lnTo>
                  <a:lnTo>
                    <a:pt x="1050608" y="380048"/>
                  </a:lnTo>
                  <a:lnTo>
                    <a:pt x="1073468" y="380048"/>
                  </a:lnTo>
                  <a:cubicBezTo>
                    <a:pt x="1082040" y="380048"/>
                    <a:pt x="1088708" y="378142"/>
                    <a:pt x="1093470" y="373380"/>
                  </a:cubicBezTo>
                  <a:cubicBezTo>
                    <a:pt x="1098233" y="368617"/>
                    <a:pt x="1100138" y="362903"/>
                    <a:pt x="1100138" y="355282"/>
                  </a:cubicBezTo>
                  <a:cubicBezTo>
                    <a:pt x="1100138" y="347663"/>
                    <a:pt x="1098233" y="341948"/>
                    <a:pt x="1093470" y="337185"/>
                  </a:cubicBezTo>
                  <a:cubicBezTo>
                    <a:pt x="1088708" y="333375"/>
                    <a:pt x="1082040" y="330517"/>
                    <a:pt x="1073468" y="330517"/>
                  </a:cubicBezTo>
                  <a:close/>
                  <a:moveTo>
                    <a:pt x="1196340" y="493395"/>
                  </a:moveTo>
                  <a:lnTo>
                    <a:pt x="1196340" y="296228"/>
                  </a:lnTo>
                  <a:lnTo>
                    <a:pt x="1310640" y="296228"/>
                  </a:lnTo>
                  <a:lnTo>
                    <a:pt x="1310640" y="330517"/>
                  </a:lnTo>
                  <a:lnTo>
                    <a:pt x="1236345" y="330517"/>
                  </a:lnTo>
                  <a:lnTo>
                    <a:pt x="1236345" y="376238"/>
                  </a:lnTo>
                  <a:lnTo>
                    <a:pt x="1300163" y="376238"/>
                  </a:lnTo>
                  <a:lnTo>
                    <a:pt x="1300163" y="410528"/>
                  </a:lnTo>
                  <a:lnTo>
                    <a:pt x="1236345" y="410528"/>
                  </a:lnTo>
                  <a:lnTo>
                    <a:pt x="1236345" y="460057"/>
                  </a:lnTo>
                  <a:lnTo>
                    <a:pt x="1310640" y="460057"/>
                  </a:lnTo>
                  <a:lnTo>
                    <a:pt x="1310640" y="494348"/>
                  </a:lnTo>
                  <a:lnTo>
                    <a:pt x="1196340" y="49434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grpSp>
          <p:nvGrpSpPr>
            <p:cNvPr id="14" name="Graphique 2">
              <a:extLst>
                <a:ext uri="{FF2B5EF4-FFF2-40B4-BE49-F238E27FC236}">
                  <a16:creationId xmlns:a16="http://schemas.microsoft.com/office/drawing/2014/main" id="{4D4D293E-56FA-4F1F-9288-840887C23D75}"/>
                </a:ext>
              </a:extLst>
            </p:cNvPr>
            <p:cNvGrpSpPr/>
            <p:nvPr/>
          </p:nvGrpSpPr>
          <p:grpSpPr>
            <a:xfrm>
              <a:off x="270509" y="269557"/>
              <a:ext cx="744854" cy="270510"/>
              <a:chOff x="270509" y="269557"/>
              <a:chExt cx="744854" cy="270510"/>
            </a:xfrm>
          </p:grpSpPr>
          <p:sp>
            <p:nvSpPr>
              <p:cNvPr id="15" name="Forme libre : forme 14">
                <a:extLst>
                  <a:ext uri="{FF2B5EF4-FFF2-40B4-BE49-F238E27FC236}">
                    <a16:creationId xmlns:a16="http://schemas.microsoft.com/office/drawing/2014/main" id="{483E0F0C-A8F0-4FF9-9961-5AADCDD869C5}"/>
                  </a:ext>
                </a:extLst>
              </p:cNvPr>
              <p:cNvSpPr/>
              <p:nvPr/>
            </p:nvSpPr>
            <p:spPr>
              <a:xfrm>
                <a:off x="419100" y="270509"/>
                <a:ext cx="359871" cy="268604"/>
              </a:xfrm>
              <a:custGeom>
                <a:avLst/>
                <a:gdLst>
                  <a:gd name="connsiteX0" fmla="*/ 158115 w 359871"/>
                  <a:gd name="connsiteY0" fmla="*/ 237173 h 268604"/>
                  <a:gd name="connsiteX1" fmla="*/ 166688 w 359871"/>
                  <a:gd name="connsiteY1" fmla="*/ 227648 h 268604"/>
                  <a:gd name="connsiteX2" fmla="*/ 166688 w 359871"/>
                  <a:gd name="connsiteY2" fmla="*/ 227648 h 268604"/>
                  <a:gd name="connsiteX3" fmla="*/ 183833 w 359871"/>
                  <a:gd name="connsiteY3" fmla="*/ 210503 h 268604"/>
                  <a:gd name="connsiteX4" fmla="*/ 189548 w 359871"/>
                  <a:gd name="connsiteY4" fmla="*/ 205740 h 268604"/>
                  <a:gd name="connsiteX5" fmla="*/ 190500 w 359871"/>
                  <a:gd name="connsiteY5" fmla="*/ 203835 h 268604"/>
                  <a:gd name="connsiteX6" fmla="*/ 183833 w 359871"/>
                  <a:gd name="connsiteY6" fmla="*/ 207645 h 268604"/>
                  <a:gd name="connsiteX7" fmla="*/ 182880 w 359871"/>
                  <a:gd name="connsiteY7" fmla="*/ 206692 h 268604"/>
                  <a:gd name="connsiteX8" fmla="*/ 188595 w 359871"/>
                  <a:gd name="connsiteY8" fmla="*/ 202883 h 268604"/>
                  <a:gd name="connsiteX9" fmla="*/ 188595 w 359871"/>
                  <a:gd name="connsiteY9" fmla="*/ 202883 h 268604"/>
                  <a:gd name="connsiteX10" fmla="*/ 187643 w 359871"/>
                  <a:gd name="connsiteY10" fmla="*/ 201930 h 268604"/>
                  <a:gd name="connsiteX11" fmla="*/ 171450 w 359871"/>
                  <a:gd name="connsiteY11" fmla="*/ 210503 h 268604"/>
                  <a:gd name="connsiteX12" fmla="*/ 168593 w 359871"/>
                  <a:gd name="connsiteY12" fmla="*/ 209550 h 268604"/>
                  <a:gd name="connsiteX13" fmla="*/ 147638 w 359871"/>
                  <a:gd name="connsiteY13" fmla="*/ 221933 h 268604"/>
                  <a:gd name="connsiteX14" fmla="*/ 147638 w 359871"/>
                  <a:gd name="connsiteY14" fmla="*/ 220980 h 268604"/>
                  <a:gd name="connsiteX15" fmla="*/ 138113 w 359871"/>
                  <a:gd name="connsiteY15" fmla="*/ 224790 h 268604"/>
                  <a:gd name="connsiteX16" fmla="*/ 125730 w 359871"/>
                  <a:gd name="connsiteY16" fmla="*/ 225742 h 268604"/>
                  <a:gd name="connsiteX17" fmla="*/ 107632 w 359871"/>
                  <a:gd name="connsiteY17" fmla="*/ 228600 h 268604"/>
                  <a:gd name="connsiteX18" fmla="*/ 106680 w 359871"/>
                  <a:gd name="connsiteY18" fmla="*/ 228600 h 268604"/>
                  <a:gd name="connsiteX19" fmla="*/ 97155 w 359871"/>
                  <a:gd name="connsiteY19" fmla="*/ 232410 h 268604"/>
                  <a:gd name="connsiteX20" fmla="*/ 97155 w 359871"/>
                  <a:gd name="connsiteY20" fmla="*/ 232410 h 268604"/>
                  <a:gd name="connsiteX21" fmla="*/ 96202 w 359871"/>
                  <a:gd name="connsiteY21" fmla="*/ 233363 h 268604"/>
                  <a:gd name="connsiteX22" fmla="*/ 92393 w 359871"/>
                  <a:gd name="connsiteY22" fmla="*/ 236220 h 268604"/>
                  <a:gd name="connsiteX23" fmla="*/ 83820 w 359871"/>
                  <a:gd name="connsiteY23" fmla="*/ 242888 h 268604"/>
                  <a:gd name="connsiteX24" fmla="*/ 82868 w 359871"/>
                  <a:gd name="connsiteY24" fmla="*/ 242888 h 268604"/>
                  <a:gd name="connsiteX25" fmla="*/ 74295 w 359871"/>
                  <a:gd name="connsiteY25" fmla="*/ 250508 h 268604"/>
                  <a:gd name="connsiteX26" fmla="*/ 72390 w 359871"/>
                  <a:gd name="connsiteY26" fmla="*/ 250508 h 268604"/>
                  <a:gd name="connsiteX27" fmla="*/ 72390 w 359871"/>
                  <a:gd name="connsiteY27" fmla="*/ 250508 h 268604"/>
                  <a:gd name="connsiteX28" fmla="*/ 72390 w 359871"/>
                  <a:gd name="connsiteY28" fmla="*/ 249555 h 268604"/>
                  <a:gd name="connsiteX29" fmla="*/ 73343 w 359871"/>
                  <a:gd name="connsiteY29" fmla="*/ 247650 h 268604"/>
                  <a:gd name="connsiteX30" fmla="*/ 75248 w 359871"/>
                  <a:gd name="connsiteY30" fmla="*/ 245745 h 268604"/>
                  <a:gd name="connsiteX31" fmla="*/ 77152 w 359871"/>
                  <a:gd name="connsiteY31" fmla="*/ 242888 h 268604"/>
                  <a:gd name="connsiteX32" fmla="*/ 77152 w 359871"/>
                  <a:gd name="connsiteY32" fmla="*/ 241935 h 268604"/>
                  <a:gd name="connsiteX33" fmla="*/ 76200 w 359871"/>
                  <a:gd name="connsiteY33" fmla="*/ 241935 h 268604"/>
                  <a:gd name="connsiteX34" fmla="*/ 84773 w 359871"/>
                  <a:gd name="connsiteY34" fmla="*/ 235267 h 268604"/>
                  <a:gd name="connsiteX35" fmla="*/ 84773 w 359871"/>
                  <a:gd name="connsiteY35" fmla="*/ 235267 h 268604"/>
                  <a:gd name="connsiteX36" fmla="*/ 83820 w 359871"/>
                  <a:gd name="connsiteY36" fmla="*/ 234315 h 268604"/>
                  <a:gd name="connsiteX37" fmla="*/ 84773 w 359871"/>
                  <a:gd name="connsiteY37" fmla="*/ 233363 h 268604"/>
                  <a:gd name="connsiteX38" fmla="*/ 84773 w 359871"/>
                  <a:gd name="connsiteY38" fmla="*/ 233363 h 268604"/>
                  <a:gd name="connsiteX39" fmla="*/ 84773 w 359871"/>
                  <a:gd name="connsiteY39" fmla="*/ 233363 h 268604"/>
                  <a:gd name="connsiteX40" fmla="*/ 84773 w 359871"/>
                  <a:gd name="connsiteY40" fmla="*/ 234315 h 268604"/>
                  <a:gd name="connsiteX41" fmla="*/ 80963 w 359871"/>
                  <a:gd name="connsiteY41" fmla="*/ 237173 h 268604"/>
                  <a:gd name="connsiteX42" fmla="*/ 80010 w 359871"/>
                  <a:gd name="connsiteY42" fmla="*/ 237173 h 268604"/>
                  <a:gd name="connsiteX43" fmla="*/ 79057 w 359871"/>
                  <a:gd name="connsiteY43" fmla="*/ 237173 h 268604"/>
                  <a:gd name="connsiteX44" fmla="*/ 79057 w 359871"/>
                  <a:gd name="connsiteY44" fmla="*/ 237173 h 268604"/>
                  <a:gd name="connsiteX45" fmla="*/ 79057 w 359871"/>
                  <a:gd name="connsiteY45" fmla="*/ 237173 h 268604"/>
                  <a:gd name="connsiteX46" fmla="*/ 79057 w 359871"/>
                  <a:gd name="connsiteY46" fmla="*/ 237173 h 268604"/>
                  <a:gd name="connsiteX47" fmla="*/ 79057 w 359871"/>
                  <a:gd name="connsiteY47" fmla="*/ 237173 h 268604"/>
                  <a:gd name="connsiteX48" fmla="*/ 79057 w 359871"/>
                  <a:gd name="connsiteY48" fmla="*/ 237173 h 268604"/>
                  <a:gd name="connsiteX49" fmla="*/ 79057 w 359871"/>
                  <a:gd name="connsiteY49" fmla="*/ 237173 h 268604"/>
                  <a:gd name="connsiteX50" fmla="*/ 79057 w 359871"/>
                  <a:gd name="connsiteY50" fmla="*/ 236220 h 268604"/>
                  <a:gd name="connsiteX51" fmla="*/ 79057 w 359871"/>
                  <a:gd name="connsiteY51" fmla="*/ 236220 h 268604"/>
                  <a:gd name="connsiteX52" fmla="*/ 80010 w 359871"/>
                  <a:gd name="connsiteY52" fmla="*/ 235267 h 268604"/>
                  <a:gd name="connsiteX53" fmla="*/ 80010 w 359871"/>
                  <a:gd name="connsiteY53" fmla="*/ 234315 h 268604"/>
                  <a:gd name="connsiteX54" fmla="*/ 80963 w 359871"/>
                  <a:gd name="connsiteY54" fmla="*/ 233363 h 268604"/>
                  <a:gd name="connsiteX55" fmla="*/ 80963 w 359871"/>
                  <a:gd name="connsiteY55" fmla="*/ 232410 h 268604"/>
                  <a:gd name="connsiteX56" fmla="*/ 84773 w 359871"/>
                  <a:gd name="connsiteY56" fmla="*/ 229553 h 268604"/>
                  <a:gd name="connsiteX57" fmla="*/ 84773 w 359871"/>
                  <a:gd name="connsiteY57" fmla="*/ 229553 h 268604"/>
                  <a:gd name="connsiteX58" fmla="*/ 90488 w 359871"/>
                  <a:gd name="connsiteY58" fmla="*/ 226695 h 268604"/>
                  <a:gd name="connsiteX59" fmla="*/ 91440 w 359871"/>
                  <a:gd name="connsiteY59" fmla="*/ 225742 h 268604"/>
                  <a:gd name="connsiteX60" fmla="*/ 82868 w 359871"/>
                  <a:gd name="connsiteY60" fmla="*/ 229553 h 268604"/>
                  <a:gd name="connsiteX61" fmla="*/ 81915 w 359871"/>
                  <a:gd name="connsiteY61" fmla="*/ 229553 h 268604"/>
                  <a:gd name="connsiteX62" fmla="*/ 80963 w 359871"/>
                  <a:gd name="connsiteY62" fmla="*/ 229553 h 268604"/>
                  <a:gd name="connsiteX63" fmla="*/ 80963 w 359871"/>
                  <a:gd name="connsiteY63" fmla="*/ 229553 h 268604"/>
                  <a:gd name="connsiteX64" fmla="*/ 83820 w 359871"/>
                  <a:gd name="connsiteY64" fmla="*/ 226695 h 268604"/>
                  <a:gd name="connsiteX65" fmla="*/ 84773 w 359871"/>
                  <a:gd name="connsiteY65" fmla="*/ 227648 h 268604"/>
                  <a:gd name="connsiteX66" fmla="*/ 142875 w 359871"/>
                  <a:gd name="connsiteY66" fmla="*/ 211455 h 268604"/>
                  <a:gd name="connsiteX67" fmla="*/ 147638 w 359871"/>
                  <a:gd name="connsiteY67" fmla="*/ 208598 h 268604"/>
                  <a:gd name="connsiteX68" fmla="*/ 155258 w 359871"/>
                  <a:gd name="connsiteY68" fmla="*/ 203835 h 268604"/>
                  <a:gd name="connsiteX69" fmla="*/ 163830 w 359871"/>
                  <a:gd name="connsiteY69" fmla="*/ 192405 h 268604"/>
                  <a:gd name="connsiteX70" fmla="*/ 162877 w 359871"/>
                  <a:gd name="connsiteY70" fmla="*/ 191453 h 268604"/>
                  <a:gd name="connsiteX71" fmla="*/ 140018 w 359871"/>
                  <a:gd name="connsiteY71" fmla="*/ 208598 h 268604"/>
                  <a:gd name="connsiteX72" fmla="*/ 106680 w 359871"/>
                  <a:gd name="connsiteY72" fmla="*/ 214313 h 268604"/>
                  <a:gd name="connsiteX73" fmla="*/ 109538 w 359871"/>
                  <a:gd name="connsiteY73" fmla="*/ 213360 h 268604"/>
                  <a:gd name="connsiteX74" fmla="*/ 111443 w 359871"/>
                  <a:gd name="connsiteY74" fmla="*/ 210503 h 268604"/>
                  <a:gd name="connsiteX75" fmla="*/ 113348 w 359871"/>
                  <a:gd name="connsiteY75" fmla="*/ 210503 h 268604"/>
                  <a:gd name="connsiteX76" fmla="*/ 114300 w 359871"/>
                  <a:gd name="connsiteY76" fmla="*/ 209550 h 268604"/>
                  <a:gd name="connsiteX77" fmla="*/ 116205 w 359871"/>
                  <a:gd name="connsiteY77" fmla="*/ 208598 h 268604"/>
                  <a:gd name="connsiteX78" fmla="*/ 108585 w 359871"/>
                  <a:gd name="connsiteY78" fmla="*/ 208598 h 268604"/>
                  <a:gd name="connsiteX79" fmla="*/ 110490 w 359871"/>
                  <a:gd name="connsiteY79" fmla="*/ 205740 h 268604"/>
                  <a:gd name="connsiteX80" fmla="*/ 112395 w 359871"/>
                  <a:gd name="connsiteY80" fmla="*/ 205740 h 268604"/>
                  <a:gd name="connsiteX81" fmla="*/ 113348 w 359871"/>
                  <a:gd name="connsiteY81" fmla="*/ 203835 h 268604"/>
                  <a:gd name="connsiteX82" fmla="*/ 135255 w 359871"/>
                  <a:gd name="connsiteY82" fmla="*/ 191453 h 268604"/>
                  <a:gd name="connsiteX83" fmla="*/ 131445 w 359871"/>
                  <a:gd name="connsiteY83" fmla="*/ 192405 h 268604"/>
                  <a:gd name="connsiteX84" fmla="*/ 132398 w 359871"/>
                  <a:gd name="connsiteY84" fmla="*/ 190500 h 268604"/>
                  <a:gd name="connsiteX85" fmla="*/ 148590 w 359871"/>
                  <a:gd name="connsiteY85" fmla="*/ 183833 h 268604"/>
                  <a:gd name="connsiteX86" fmla="*/ 142875 w 359871"/>
                  <a:gd name="connsiteY86" fmla="*/ 183833 h 268604"/>
                  <a:gd name="connsiteX87" fmla="*/ 145733 w 359871"/>
                  <a:gd name="connsiteY87" fmla="*/ 181928 h 268604"/>
                  <a:gd name="connsiteX88" fmla="*/ 145733 w 359871"/>
                  <a:gd name="connsiteY88" fmla="*/ 180023 h 268604"/>
                  <a:gd name="connsiteX89" fmla="*/ 146685 w 359871"/>
                  <a:gd name="connsiteY89" fmla="*/ 179070 h 268604"/>
                  <a:gd name="connsiteX90" fmla="*/ 145733 w 359871"/>
                  <a:gd name="connsiteY90" fmla="*/ 178117 h 268604"/>
                  <a:gd name="connsiteX91" fmla="*/ 148590 w 359871"/>
                  <a:gd name="connsiteY91" fmla="*/ 176213 h 268604"/>
                  <a:gd name="connsiteX92" fmla="*/ 146685 w 359871"/>
                  <a:gd name="connsiteY92" fmla="*/ 175260 h 268604"/>
                  <a:gd name="connsiteX93" fmla="*/ 153352 w 359871"/>
                  <a:gd name="connsiteY93" fmla="*/ 172403 h 268604"/>
                  <a:gd name="connsiteX94" fmla="*/ 151448 w 359871"/>
                  <a:gd name="connsiteY94" fmla="*/ 171450 h 268604"/>
                  <a:gd name="connsiteX95" fmla="*/ 152400 w 359871"/>
                  <a:gd name="connsiteY95" fmla="*/ 170498 h 268604"/>
                  <a:gd name="connsiteX96" fmla="*/ 152400 w 359871"/>
                  <a:gd name="connsiteY96" fmla="*/ 170498 h 268604"/>
                  <a:gd name="connsiteX97" fmla="*/ 151448 w 359871"/>
                  <a:gd name="connsiteY97" fmla="*/ 168592 h 268604"/>
                  <a:gd name="connsiteX98" fmla="*/ 156210 w 359871"/>
                  <a:gd name="connsiteY98" fmla="*/ 156210 h 268604"/>
                  <a:gd name="connsiteX99" fmla="*/ 155258 w 359871"/>
                  <a:gd name="connsiteY99" fmla="*/ 155258 h 268604"/>
                  <a:gd name="connsiteX100" fmla="*/ 134302 w 359871"/>
                  <a:gd name="connsiteY100" fmla="*/ 164783 h 268604"/>
                  <a:gd name="connsiteX101" fmla="*/ 131445 w 359871"/>
                  <a:gd name="connsiteY101" fmla="*/ 164783 h 268604"/>
                  <a:gd name="connsiteX102" fmla="*/ 122873 w 359871"/>
                  <a:gd name="connsiteY102" fmla="*/ 163830 h 268604"/>
                  <a:gd name="connsiteX103" fmla="*/ 118110 w 359871"/>
                  <a:gd name="connsiteY103" fmla="*/ 160020 h 268604"/>
                  <a:gd name="connsiteX104" fmla="*/ 105727 w 359871"/>
                  <a:gd name="connsiteY104" fmla="*/ 154305 h 268604"/>
                  <a:gd name="connsiteX105" fmla="*/ 66675 w 359871"/>
                  <a:gd name="connsiteY105" fmla="*/ 148590 h 268604"/>
                  <a:gd name="connsiteX106" fmla="*/ 84773 w 359871"/>
                  <a:gd name="connsiteY106" fmla="*/ 143828 h 268604"/>
                  <a:gd name="connsiteX107" fmla="*/ 110490 w 359871"/>
                  <a:gd name="connsiteY107" fmla="*/ 139065 h 268604"/>
                  <a:gd name="connsiteX108" fmla="*/ 105727 w 359871"/>
                  <a:gd name="connsiteY108" fmla="*/ 139065 h 268604"/>
                  <a:gd name="connsiteX109" fmla="*/ 83820 w 359871"/>
                  <a:gd name="connsiteY109" fmla="*/ 141923 h 268604"/>
                  <a:gd name="connsiteX110" fmla="*/ 68580 w 359871"/>
                  <a:gd name="connsiteY110" fmla="*/ 145733 h 268604"/>
                  <a:gd name="connsiteX111" fmla="*/ 60007 w 359871"/>
                  <a:gd name="connsiteY111" fmla="*/ 149542 h 268604"/>
                  <a:gd name="connsiteX112" fmla="*/ 60007 w 359871"/>
                  <a:gd name="connsiteY112" fmla="*/ 147638 h 268604"/>
                  <a:gd name="connsiteX113" fmla="*/ 79057 w 359871"/>
                  <a:gd name="connsiteY113" fmla="*/ 135255 h 268604"/>
                  <a:gd name="connsiteX114" fmla="*/ 105727 w 359871"/>
                  <a:gd name="connsiteY114" fmla="*/ 136208 h 268604"/>
                  <a:gd name="connsiteX115" fmla="*/ 124777 w 359871"/>
                  <a:gd name="connsiteY115" fmla="*/ 140017 h 268604"/>
                  <a:gd name="connsiteX116" fmla="*/ 129540 w 359871"/>
                  <a:gd name="connsiteY116" fmla="*/ 144780 h 268604"/>
                  <a:gd name="connsiteX117" fmla="*/ 139065 w 359871"/>
                  <a:gd name="connsiteY117" fmla="*/ 146685 h 268604"/>
                  <a:gd name="connsiteX118" fmla="*/ 139065 w 359871"/>
                  <a:gd name="connsiteY118" fmla="*/ 143828 h 268604"/>
                  <a:gd name="connsiteX119" fmla="*/ 145733 w 359871"/>
                  <a:gd name="connsiteY119" fmla="*/ 142875 h 268604"/>
                  <a:gd name="connsiteX120" fmla="*/ 140018 w 359871"/>
                  <a:gd name="connsiteY120" fmla="*/ 132398 h 268604"/>
                  <a:gd name="connsiteX121" fmla="*/ 140970 w 359871"/>
                  <a:gd name="connsiteY121" fmla="*/ 131445 h 268604"/>
                  <a:gd name="connsiteX122" fmla="*/ 153352 w 359871"/>
                  <a:gd name="connsiteY122" fmla="*/ 141923 h 268604"/>
                  <a:gd name="connsiteX123" fmla="*/ 160973 w 359871"/>
                  <a:gd name="connsiteY123" fmla="*/ 140970 h 268604"/>
                  <a:gd name="connsiteX124" fmla="*/ 149543 w 359871"/>
                  <a:gd name="connsiteY124" fmla="*/ 125730 h 268604"/>
                  <a:gd name="connsiteX125" fmla="*/ 149543 w 359871"/>
                  <a:gd name="connsiteY125" fmla="*/ 123825 h 268604"/>
                  <a:gd name="connsiteX126" fmla="*/ 147638 w 359871"/>
                  <a:gd name="connsiteY126" fmla="*/ 122873 h 268604"/>
                  <a:gd name="connsiteX127" fmla="*/ 147638 w 359871"/>
                  <a:gd name="connsiteY127" fmla="*/ 120015 h 268604"/>
                  <a:gd name="connsiteX128" fmla="*/ 144780 w 359871"/>
                  <a:gd name="connsiteY128" fmla="*/ 115253 h 268604"/>
                  <a:gd name="connsiteX129" fmla="*/ 142875 w 359871"/>
                  <a:gd name="connsiteY129" fmla="*/ 105728 h 268604"/>
                  <a:gd name="connsiteX130" fmla="*/ 141923 w 359871"/>
                  <a:gd name="connsiteY130" fmla="*/ 98108 h 268604"/>
                  <a:gd name="connsiteX131" fmla="*/ 137160 w 359871"/>
                  <a:gd name="connsiteY131" fmla="*/ 73342 h 268604"/>
                  <a:gd name="connsiteX132" fmla="*/ 147638 w 359871"/>
                  <a:gd name="connsiteY132" fmla="*/ 47625 h 268604"/>
                  <a:gd name="connsiteX133" fmla="*/ 161925 w 359871"/>
                  <a:gd name="connsiteY133" fmla="*/ 31433 h 268604"/>
                  <a:gd name="connsiteX134" fmla="*/ 171450 w 359871"/>
                  <a:gd name="connsiteY134" fmla="*/ 15240 h 268604"/>
                  <a:gd name="connsiteX135" fmla="*/ 187643 w 359871"/>
                  <a:gd name="connsiteY135" fmla="*/ 4763 h 268604"/>
                  <a:gd name="connsiteX136" fmla="*/ 200977 w 359871"/>
                  <a:gd name="connsiteY136" fmla="*/ 0 h 268604"/>
                  <a:gd name="connsiteX137" fmla="*/ 302895 w 359871"/>
                  <a:gd name="connsiteY137" fmla="*/ 0 h 268604"/>
                  <a:gd name="connsiteX138" fmla="*/ 305753 w 359871"/>
                  <a:gd name="connsiteY138" fmla="*/ 953 h 268604"/>
                  <a:gd name="connsiteX139" fmla="*/ 313373 w 359871"/>
                  <a:gd name="connsiteY139" fmla="*/ 4763 h 268604"/>
                  <a:gd name="connsiteX140" fmla="*/ 322898 w 359871"/>
                  <a:gd name="connsiteY140" fmla="*/ 13335 h 268604"/>
                  <a:gd name="connsiteX141" fmla="*/ 324803 w 359871"/>
                  <a:gd name="connsiteY141" fmla="*/ 20003 h 268604"/>
                  <a:gd name="connsiteX142" fmla="*/ 320992 w 359871"/>
                  <a:gd name="connsiteY142" fmla="*/ 27622 h 268604"/>
                  <a:gd name="connsiteX143" fmla="*/ 310515 w 359871"/>
                  <a:gd name="connsiteY143" fmla="*/ 28575 h 268604"/>
                  <a:gd name="connsiteX144" fmla="*/ 304800 w 359871"/>
                  <a:gd name="connsiteY144" fmla="*/ 27622 h 268604"/>
                  <a:gd name="connsiteX145" fmla="*/ 324803 w 359871"/>
                  <a:gd name="connsiteY145" fmla="*/ 40958 h 268604"/>
                  <a:gd name="connsiteX146" fmla="*/ 329565 w 359871"/>
                  <a:gd name="connsiteY146" fmla="*/ 42863 h 268604"/>
                  <a:gd name="connsiteX147" fmla="*/ 330517 w 359871"/>
                  <a:gd name="connsiteY147" fmla="*/ 44767 h 268604"/>
                  <a:gd name="connsiteX148" fmla="*/ 328613 w 359871"/>
                  <a:gd name="connsiteY148" fmla="*/ 47625 h 268604"/>
                  <a:gd name="connsiteX149" fmla="*/ 330517 w 359871"/>
                  <a:gd name="connsiteY149" fmla="*/ 47625 h 268604"/>
                  <a:gd name="connsiteX150" fmla="*/ 336233 w 359871"/>
                  <a:gd name="connsiteY150" fmla="*/ 42863 h 268604"/>
                  <a:gd name="connsiteX151" fmla="*/ 338138 w 359871"/>
                  <a:gd name="connsiteY151" fmla="*/ 50483 h 268604"/>
                  <a:gd name="connsiteX152" fmla="*/ 332423 w 359871"/>
                  <a:gd name="connsiteY152" fmla="*/ 55245 h 268604"/>
                  <a:gd name="connsiteX153" fmla="*/ 332423 w 359871"/>
                  <a:gd name="connsiteY153" fmla="*/ 59055 h 268604"/>
                  <a:gd name="connsiteX154" fmla="*/ 335280 w 359871"/>
                  <a:gd name="connsiteY154" fmla="*/ 64770 h 268604"/>
                  <a:gd name="connsiteX155" fmla="*/ 339090 w 359871"/>
                  <a:gd name="connsiteY155" fmla="*/ 76200 h 268604"/>
                  <a:gd name="connsiteX156" fmla="*/ 342900 w 359871"/>
                  <a:gd name="connsiteY156" fmla="*/ 99060 h 268604"/>
                  <a:gd name="connsiteX157" fmla="*/ 341948 w 359871"/>
                  <a:gd name="connsiteY157" fmla="*/ 110490 h 268604"/>
                  <a:gd name="connsiteX158" fmla="*/ 347663 w 359871"/>
                  <a:gd name="connsiteY158" fmla="*/ 120967 h 268604"/>
                  <a:gd name="connsiteX159" fmla="*/ 353378 w 359871"/>
                  <a:gd name="connsiteY159" fmla="*/ 129540 h 268604"/>
                  <a:gd name="connsiteX160" fmla="*/ 359092 w 359871"/>
                  <a:gd name="connsiteY160" fmla="*/ 145733 h 268604"/>
                  <a:gd name="connsiteX161" fmla="*/ 348615 w 359871"/>
                  <a:gd name="connsiteY161" fmla="*/ 150495 h 268604"/>
                  <a:gd name="connsiteX162" fmla="*/ 349567 w 359871"/>
                  <a:gd name="connsiteY162" fmla="*/ 160020 h 268604"/>
                  <a:gd name="connsiteX163" fmla="*/ 342900 w 359871"/>
                  <a:gd name="connsiteY163" fmla="*/ 169545 h 268604"/>
                  <a:gd name="connsiteX164" fmla="*/ 346710 w 359871"/>
                  <a:gd name="connsiteY164" fmla="*/ 171450 h 268604"/>
                  <a:gd name="connsiteX165" fmla="*/ 348615 w 359871"/>
                  <a:gd name="connsiteY165" fmla="*/ 178117 h 268604"/>
                  <a:gd name="connsiteX166" fmla="*/ 343853 w 359871"/>
                  <a:gd name="connsiteY166" fmla="*/ 187642 h 268604"/>
                  <a:gd name="connsiteX167" fmla="*/ 342900 w 359871"/>
                  <a:gd name="connsiteY167" fmla="*/ 199073 h 268604"/>
                  <a:gd name="connsiteX168" fmla="*/ 333375 w 359871"/>
                  <a:gd name="connsiteY168" fmla="*/ 206692 h 268604"/>
                  <a:gd name="connsiteX169" fmla="*/ 323850 w 359871"/>
                  <a:gd name="connsiteY169" fmla="*/ 207645 h 268604"/>
                  <a:gd name="connsiteX170" fmla="*/ 318135 w 359871"/>
                  <a:gd name="connsiteY170" fmla="*/ 205740 h 268604"/>
                  <a:gd name="connsiteX171" fmla="*/ 292417 w 359871"/>
                  <a:gd name="connsiteY171" fmla="*/ 201930 h 268604"/>
                  <a:gd name="connsiteX172" fmla="*/ 285750 w 359871"/>
                  <a:gd name="connsiteY172" fmla="*/ 203835 h 268604"/>
                  <a:gd name="connsiteX173" fmla="*/ 280035 w 359871"/>
                  <a:gd name="connsiteY173" fmla="*/ 209550 h 268604"/>
                  <a:gd name="connsiteX174" fmla="*/ 280035 w 359871"/>
                  <a:gd name="connsiteY174" fmla="*/ 209550 h 268604"/>
                  <a:gd name="connsiteX175" fmla="*/ 279083 w 359871"/>
                  <a:gd name="connsiteY175" fmla="*/ 210503 h 268604"/>
                  <a:gd name="connsiteX176" fmla="*/ 278130 w 359871"/>
                  <a:gd name="connsiteY176" fmla="*/ 211455 h 268604"/>
                  <a:gd name="connsiteX177" fmla="*/ 278130 w 359871"/>
                  <a:gd name="connsiteY177" fmla="*/ 212408 h 268604"/>
                  <a:gd name="connsiteX178" fmla="*/ 274320 w 359871"/>
                  <a:gd name="connsiteY178" fmla="*/ 218123 h 268604"/>
                  <a:gd name="connsiteX179" fmla="*/ 274320 w 359871"/>
                  <a:gd name="connsiteY179" fmla="*/ 218123 h 268604"/>
                  <a:gd name="connsiteX180" fmla="*/ 274320 w 359871"/>
                  <a:gd name="connsiteY180" fmla="*/ 219075 h 268604"/>
                  <a:gd name="connsiteX181" fmla="*/ 270510 w 359871"/>
                  <a:gd name="connsiteY181" fmla="*/ 228600 h 268604"/>
                  <a:gd name="connsiteX182" fmla="*/ 271463 w 359871"/>
                  <a:gd name="connsiteY182" fmla="*/ 252413 h 268604"/>
                  <a:gd name="connsiteX183" fmla="*/ 299085 w 359871"/>
                  <a:gd name="connsiteY183" fmla="*/ 262890 h 268604"/>
                  <a:gd name="connsiteX184" fmla="*/ 311467 w 359871"/>
                  <a:gd name="connsiteY184" fmla="*/ 268605 h 268604"/>
                  <a:gd name="connsiteX185" fmla="*/ 101918 w 359871"/>
                  <a:gd name="connsiteY185" fmla="*/ 268605 h 268604"/>
                  <a:gd name="connsiteX186" fmla="*/ 135255 w 359871"/>
                  <a:gd name="connsiteY186" fmla="*/ 251460 h 268604"/>
                  <a:gd name="connsiteX187" fmla="*/ 158115 w 359871"/>
                  <a:gd name="connsiteY187" fmla="*/ 237173 h 268604"/>
                  <a:gd name="connsiteX188" fmla="*/ 79057 w 359871"/>
                  <a:gd name="connsiteY188" fmla="*/ 200978 h 268604"/>
                  <a:gd name="connsiteX189" fmla="*/ 76200 w 359871"/>
                  <a:gd name="connsiteY189" fmla="*/ 200025 h 268604"/>
                  <a:gd name="connsiteX190" fmla="*/ 81915 w 359871"/>
                  <a:gd name="connsiteY190" fmla="*/ 196215 h 268604"/>
                  <a:gd name="connsiteX191" fmla="*/ 85725 w 359871"/>
                  <a:gd name="connsiteY191" fmla="*/ 195263 h 268604"/>
                  <a:gd name="connsiteX192" fmla="*/ 89535 w 359871"/>
                  <a:gd name="connsiteY192" fmla="*/ 197167 h 268604"/>
                  <a:gd name="connsiteX193" fmla="*/ 79057 w 359871"/>
                  <a:gd name="connsiteY193" fmla="*/ 200978 h 268604"/>
                  <a:gd name="connsiteX194" fmla="*/ 952 w 359871"/>
                  <a:gd name="connsiteY194" fmla="*/ 189548 h 268604"/>
                  <a:gd name="connsiteX195" fmla="*/ 0 w 359871"/>
                  <a:gd name="connsiteY195" fmla="*/ 188595 h 268604"/>
                  <a:gd name="connsiteX196" fmla="*/ 16193 w 359871"/>
                  <a:gd name="connsiteY196" fmla="*/ 162878 h 268604"/>
                  <a:gd name="connsiteX197" fmla="*/ 33338 w 359871"/>
                  <a:gd name="connsiteY197" fmla="*/ 148590 h 268604"/>
                  <a:gd name="connsiteX198" fmla="*/ 61913 w 359871"/>
                  <a:gd name="connsiteY198" fmla="*/ 125730 h 268604"/>
                  <a:gd name="connsiteX199" fmla="*/ 75248 w 359871"/>
                  <a:gd name="connsiteY199" fmla="*/ 126683 h 268604"/>
                  <a:gd name="connsiteX200" fmla="*/ 69532 w 359871"/>
                  <a:gd name="connsiteY200" fmla="*/ 129540 h 268604"/>
                  <a:gd name="connsiteX201" fmla="*/ 67627 w 359871"/>
                  <a:gd name="connsiteY201" fmla="*/ 128588 h 268604"/>
                  <a:gd name="connsiteX202" fmla="*/ 68580 w 359871"/>
                  <a:gd name="connsiteY202" fmla="*/ 126683 h 268604"/>
                  <a:gd name="connsiteX203" fmla="*/ 52388 w 359871"/>
                  <a:gd name="connsiteY203" fmla="*/ 141923 h 268604"/>
                  <a:gd name="connsiteX204" fmla="*/ 40957 w 359871"/>
                  <a:gd name="connsiteY204" fmla="*/ 155258 h 268604"/>
                  <a:gd name="connsiteX205" fmla="*/ 40005 w 359871"/>
                  <a:gd name="connsiteY205" fmla="*/ 154305 h 268604"/>
                  <a:gd name="connsiteX206" fmla="*/ 952 w 359871"/>
                  <a:gd name="connsiteY206" fmla="*/ 189548 h 268604"/>
                  <a:gd name="connsiteX207" fmla="*/ 43815 w 359871"/>
                  <a:gd name="connsiteY207" fmla="*/ 156210 h 268604"/>
                  <a:gd name="connsiteX208" fmla="*/ 41910 w 359871"/>
                  <a:gd name="connsiteY208" fmla="*/ 158115 h 268604"/>
                  <a:gd name="connsiteX209" fmla="*/ 40005 w 359871"/>
                  <a:gd name="connsiteY209" fmla="*/ 160020 h 268604"/>
                  <a:gd name="connsiteX210" fmla="*/ 39052 w 359871"/>
                  <a:gd name="connsiteY210" fmla="*/ 159067 h 268604"/>
                  <a:gd name="connsiteX211" fmla="*/ 42863 w 359871"/>
                  <a:gd name="connsiteY211" fmla="*/ 154305 h 268604"/>
                  <a:gd name="connsiteX212" fmla="*/ 43815 w 359871"/>
                  <a:gd name="connsiteY212" fmla="*/ 156210 h 268604"/>
                  <a:gd name="connsiteX213" fmla="*/ 67627 w 359871"/>
                  <a:gd name="connsiteY213" fmla="*/ 232410 h 268604"/>
                  <a:gd name="connsiteX214" fmla="*/ 66675 w 359871"/>
                  <a:gd name="connsiteY214" fmla="*/ 234315 h 268604"/>
                  <a:gd name="connsiteX215" fmla="*/ 67627 w 359871"/>
                  <a:gd name="connsiteY215" fmla="*/ 235267 h 268604"/>
                  <a:gd name="connsiteX216" fmla="*/ 63818 w 359871"/>
                  <a:gd name="connsiteY216" fmla="*/ 238125 h 268604"/>
                  <a:gd name="connsiteX217" fmla="*/ 62865 w 359871"/>
                  <a:gd name="connsiteY217" fmla="*/ 238125 h 268604"/>
                  <a:gd name="connsiteX218" fmla="*/ 60960 w 359871"/>
                  <a:gd name="connsiteY218" fmla="*/ 240030 h 268604"/>
                  <a:gd name="connsiteX219" fmla="*/ 58102 w 359871"/>
                  <a:gd name="connsiteY219" fmla="*/ 239078 h 268604"/>
                  <a:gd name="connsiteX220" fmla="*/ 61913 w 359871"/>
                  <a:gd name="connsiteY220" fmla="*/ 235267 h 268604"/>
                  <a:gd name="connsiteX221" fmla="*/ 63818 w 359871"/>
                  <a:gd name="connsiteY221" fmla="*/ 233363 h 268604"/>
                  <a:gd name="connsiteX222" fmla="*/ 64770 w 359871"/>
                  <a:gd name="connsiteY222" fmla="*/ 232410 h 268604"/>
                  <a:gd name="connsiteX223" fmla="*/ 67627 w 359871"/>
                  <a:gd name="connsiteY223" fmla="*/ 232410 h 268604"/>
                  <a:gd name="connsiteX224" fmla="*/ 58102 w 359871"/>
                  <a:gd name="connsiteY224" fmla="*/ 228600 h 268604"/>
                  <a:gd name="connsiteX225" fmla="*/ 58102 w 359871"/>
                  <a:gd name="connsiteY225" fmla="*/ 228600 h 268604"/>
                  <a:gd name="connsiteX226" fmla="*/ 52388 w 359871"/>
                  <a:gd name="connsiteY226" fmla="*/ 232410 h 268604"/>
                  <a:gd name="connsiteX227" fmla="*/ 45720 w 359871"/>
                  <a:gd name="connsiteY227" fmla="*/ 235267 h 268604"/>
                  <a:gd name="connsiteX228" fmla="*/ 45720 w 359871"/>
                  <a:gd name="connsiteY228" fmla="*/ 235267 h 268604"/>
                  <a:gd name="connsiteX229" fmla="*/ 44768 w 359871"/>
                  <a:gd name="connsiteY229" fmla="*/ 235267 h 268604"/>
                  <a:gd name="connsiteX230" fmla="*/ 40005 w 359871"/>
                  <a:gd name="connsiteY230" fmla="*/ 239078 h 268604"/>
                  <a:gd name="connsiteX231" fmla="*/ 39052 w 359871"/>
                  <a:gd name="connsiteY231" fmla="*/ 240030 h 268604"/>
                  <a:gd name="connsiteX232" fmla="*/ 39052 w 359871"/>
                  <a:gd name="connsiteY232" fmla="*/ 240030 h 268604"/>
                  <a:gd name="connsiteX233" fmla="*/ 39052 w 359871"/>
                  <a:gd name="connsiteY233" fmla="*/ 240030 h 268604"/>
                  <a:gd name="connsiteX234" fmla="*/ 38100 w 359871"/>
                  <a:gd name="connsiteY234" fmla="*/ 240983 h 268604"/>
                  <a:gd name="connsiteX235" fmla="*/ 38100 w 359871"/>
                  <a:gd name="connsiteY235" fmla="*/ 240983 h 268604"/>
                  <a:gd name="connsiteX236" fmla="*/ 38100 w 359871"/>
                  <a:gd name="connsiteY236" fmla="*/ 240983 h 268604"/>
                  <a:gd name="connsiteX237" fmla="*/ 37148 w 359871"/>
                  <a:gd name="connsiteY237" fmla="*/ 241935 h 268604"/>
                  <a:gd name="connsiteX238" fmla="*/ 36195 w 359871"/>
                  <a:gd name="connsiteY238" fmla="*/ 242888 h 268604"/>
                  <a:gd name="connsiteX239" fmla="*/ 35243 w 359871"/>
                  <a:gd name="connsiteY239" fmla="*/ 242888 h 268604"/>
                  <a:gd name="connsiteX240" fmla="*/ 35243 w 359871"/>
                  <a:gd name="connsiteY240" fmla="*/ 242888 h 268604"/>
                  <a:gd name="connsiteX241" fmla="*/ 34290 w 359871"/>
                  <a:gd name="connsiteY241" fmla="*/ 242888 h 268604"/>
                  <a:gd name="connsiteX242" fmla="*/ 33338 w 359871"/>
                  <a:gd name="connsiteY242" fmla="*/ 242888 h 268604"/>
                  <a:gd name="connsiteX243" fmla="*/ 33338 w 359871"/>
                  <a:gd name="connsiteY243" fmla="*/ 242888 h 268604"/>
                  <a:gd name="connsiteX244" fmla="*/ 33338 w 359871"/>
                  <a:gd name="connsiteY244" fmla="*/ 242888 h 268604"/>
                  <a:gd name="connsiteX245" fmla="*/ 31432 w 359871"/>
                  <a:gd name="connsiteY245" fmla="*/ 244792 h 268604"/>
                  <a:gd name="connsiteX246" fmla="*/ 28575 w 359871"/>
                  <a:gd name="connsiteY246" fmla="*/ 247650 h 268604"/>
                  <a:gd name="connsiteX247" fmla="*/ 28575 w 359871"/>
                  <a:gd name="connsiteY247" fmla="*/ 247650 h 268604"/>
                  <a:gd name="connsiteX248" fmla="*/ 28575 w 359871"/>
                  <a:gd name="connsiteY248" fmla="*/ 247650 h 268604"/>
                  <a:gd name="connsiteX249" fmla="*/ 28575 w 359871"/>
                  <a:gd name="connsiteY249" fmla="*/ 247650 h 268604"/>
                  <a:gd name="connsiteX250" fmla="*/ 28575 w 359871"/>
                  <a:gd name="connsiteY250" fmla="*/ 247650 h 268604"/>
                  <a:gd name="connsiteX251" fmla="*/ 28575 w 359871"/>
                  <a:gd name="connsiteY251" fmla="*/ 247650 h 268604"/>
                  <a:gd name="connsiteX252" fmla="*/ 28575 w 359871"/>
                  <a:gd name="connsiteY252" fmla="*/ 248603 h 268604"/>
                  <a:gd name="connsiteX253" fmla="*/ 28575 w 359871"/>
                  <a:gd name="connsiteY253" fmla="*/ 248603 h 268604"/>
                  <a:gd name="connsiteX254" fmla="*/ 28575 w 359871"/>
                  <a:gd name="connsiteY254" fmla="*/ 248603 h 268604"/>
                  <a:gd name="connsiteX255" fmla="*/ 28575 w 359871"/>
                  <a:gd name="connsiteY255" fmla="*/ 248603 h 268604"/>
                  <a:gd name="connsiteX256" fmla="*/ 28575 w 359871"/>
                  <a:gd name="connsiteY256" fmla="*/ 248603 h 268604"/>
                  <a:gd name="connsiteX257" fmla="*/ 28575 w 359871"/>
                  <a:gd name="connsiteY257" fmla="*/ 247650 h 268604"/>
                  <a:gd name="connsiteX258" fmla="*/ 28575 w 359871"/>
                  <a:gd name="connsiteY258" fmla="*/ 247650 h 268604"/>
                  <a:gd name="connsiteX259" fmla="*/ 28575 w 359871"/>
                  <a:gd name="connsiteY259" fmla="*/ 247650 h 268604"/>
                  <a:gd name="connsiteX260" fmla="*/ 30480 w 359871"/>
                  <a:gd name="connsiteY260" fmla="*/ 245745 h 268604"/>
                  <a:gd name="connsiteX261" fmla="*/ 30480 w 359871"/>
                  <a:gd name="connsiteY261" fmla="*/ 245745 h 268604"/>
                  <a:gd name="connsiteX262" fmla="*/ 31432 w 359871"/>
                  <a:gd name="connsiteY262" fmla="*/ 244792 h 268604"/>
                  <a:gd name="connsiteX263" fmla="*/ 32385 w 359871"/>
                  <a:gd name="connsiteY263" fmla="*/ 243840 h 268604"/>
                  <a:gd name="connsiteX264" fmla="*/ 32385 w 359871"/>
                  <a:gd name="connsiteY264" fmla="*/ 243840 h 268604"/>
                  <a:gd name="connsiteX265" fmla="*/ 34290 w 359871"/>
                  <a:gd name="connsiteY265" fmla="*/ 241935 h 268604"/>
                  <a:gd name="connsiteX266" fmla="*/ 34290 w 359871"/>
                  <a:gd name="connsiteY266" fmla="*/ 241935 h 268604"/>
                  <a:gd name="connsiteX267" fmla="*/ 34290 w 359871"/>
                  <a:gd name="connsiteY267" fmla="*/ 241935 h 268604"/>
                  <a:gd name="connsiteX268" fmla="*/ 35243 w 359871"/>
                  <a:gd name="connsiteY268" fmla="*/ 240983 h 268604"/>
                  <a:gd name="connsiteX269" fmla="*/ 36195 w 359871"/>
                  <a:gd name="connsiteY269" fmla="*/ 240030 h 268604"/>
                  <a:gd name="connsiteX270" fmla="*/ 36195 w 359871"/>
                  <a:gd name="connsiteY270" fmla="*/ 240030 h 268604"/>
                  <a:gd name="connsiteX271" fmla="*/ 36195 w 359871"/>
                  <a:gd name="connsiteY271" fmla="*/ 240030 h 268604"/>
                  <a:gd name="connsiteX272" fmla="*/ 36195 w 359871"/>
                  <a:gd name="connsiteY272" fmla="*/ 240030 h 268604"/>
                  <a:gd name="connsiteX273" fmla="*/ 37148 w 359871"/>
                  <a:gd name="connsiteY273" fmla="*/ 239078 h 268604"/>
                  <a:gd name="connsiteX274" fmla="*/ 37148 w 359871"/>
                  <a:gd name="connsiteY274" fmla="*/ 239078 h 268604"/>
                  <a:gd name="connsiteX275" fmla="*/ 37148 w 359871"/>
                  <a:gd name="connsiteY275" fmla="*/ 239078 h 268604"/>
                  <a:gd name="connsiteX276" fmla="*/ 37148 w 359871"/>
                  <a:gd name="connsiteY276" fmla="*/ 238125 h 268604"/>
                  <a:gd name="connsiteX277" fmla="*/ 37148 w 359871"/>
                  <a:gd name="connsiteY277" fmla="*/ 238125 h 268604"/>
                  <a:gd name="connsiteX278" fmla="*/ 37148 w 359871"/>
                  <a:gd name="connsiteY278" fmla="*/ 237173 h 268604"/>
                  <a:gd name="connsiteX279" fmla="*/ 37148 w 359871"/>
                  <a:gd name="connsiteY279" fmla="*/ 237173 h 268604"/>
                  <a:gd name="connsiteX280" fmla="*/ 39052 w 359871"/>
                  <a:gd name="connsiteY280" fmla="*/ 234315 h 268604"/>
                  <a:gd name="connsiteX281" fmla="*/ 39052 w 359871"/>
                  <a:gd name="connsiteY281" fmla="*/ 234315 h 268604"/>
                  <a:gd name="connsiteX282" fmla="*/ 37148 w 359871"/>
                  <a:gd name="connsiteY282" fmla="*/ 236220 h 268604"/>
                  <a:gd name="connsiteX283" fmla="*/ 36195 w 359871"/>
                  <a:gd name="connsiteY283" fmla="*/ 235267 h 268604"/>
                  <a:gd name="connsiteX284" fmla="*/ 37148 w 359871"/>
                  <a:gd name="connsiteY284" fmla="*/ 234315 h 268604"/>
                  <a:gd name="connsiteX285" fmla="*/ 37148 w 359871"/>
                  <a:gd name="connsiteY285" fmla="*/ 234315 h 268604"/>
                  <a:gd name="connsiteX286" fmla="*/ 40005 w 359871"/>
                  <a:gd name="connsiteY286" fmla="*/ 231458 h 268604"/>
                  <a:gd name="connsiteX287" fmla="*/ 41910 w 359871"/>
                  <a:gd name="connsiteY287" fmla="*/ 230505 h 268604"/>
                  <a:gd name="connsiteX288" fmla="*/ 41910 w 359871"/>
                  <a:gd name="connsiteY288" fmla="*/ 230505 h 268604"/>
                  <a:gd name="connsiteX289" fmla="*/ 42863 w 359871"/>
                  <a:gd name="connsiteY289" fmla="*/ 229553 h 268604"/>
                  <a:gd name="connsiteX290" fmla="*/ 42863 w 359871"/>
                  <a:gd name="connsiteY290" fmla="*/ 229553 h 268604"/>
                  <a:gd name="connsiteX291" fmla="*/ 62865 w 359871"/>
                  <a:gd name="connsiteY291" fmla="*/ 221933 h 268604"/>
                  <a:gd name="connsiteX292" fmla="*/ 71438 w 359871"/>
                  <a:gd name="connsiteY292" fmla="*/ 221933 h 268604"/>
                  <a:gd name="connsiteX293" fmla="*/ 76200 w 359871"/>
                  <a:gd name="connsiteY293" fmla="*/ 222885 h 268604"/>
                  <a:gd name="connsiteX294" fmla="*/ 58102 w 359871"/>
                  <a:gd name="connsiteY294" fmla="*/ 228600 h 268604"/>
                  <a:gd name="connsiteX295" fmla="*/ 68580 w 359871"/>
                  <a:gd name="connsiteY295" fmla="*/ 193358 h 268604"/>
                  <a:gd name="connsiteX296" fmla="*/ 70485 w 359871"/>
                  <a:gd name="connsiteY296" fmla="*/ 192405 h 268604"/>
                  <a:gd name="connsiteX297" fmla="*/ 66675 w 359871"/>
                  <a:gd name="connsiteY297" fmla="*/ 192405 h 268604"/>
                  <a:gd name="connsiteX298" fmla="*/ 65723 w 359871"/>
                  <a:gd name="connsiteY298" fmla="*/ 191453 h 268604"/>
                  <a:gd name="connsiteX299" fmla="*/ 57150 w 359871"/>
                  <a:gd name="connsiteY299" fmla="*/ 193358 h 268604"/>
                  <a:gd name="connsiteX300" fmla="*/ 46673 w 359871"/>
                  <a:gd name="connsiteY300" fmla="*/ 198120 h 268604"/>
                  <a:gd name="connsiteX301" fmla="*/ 30480 w 359871"/>
                  <a:gd name="connsiteY301" fmla="*/ 206692 h 268604"/>
                  <a:gd name="connsiteX302" fmla="*/ 29527 w 359871"/>
                  <a:gd name="connsiteY302" fmla="*/ 205740 h 268604"/>
                  <a:gd name="connsiteX303" fmla="*/ 33338 w 359871"/>
                  <a:gd name="connsiteY303" fmla="*/ 201930 h 268604"/>
                  <a:gd name="connsiteX304" fmla="*/ 32385 w 359871"/>
                  <a:gd name="connsiteY304" fmla="*/ 200978 h 268604"/>
                  <a:gd name="connsiteX305" fmla="*/ 47625 w 359871"/>
                  <a:gd name="connsiteY305" fmla="*/ 187642 h 268604"/>
                  <a:gd name="connsiteX306" fmla="*/ 47625 w 359871"/>
                  <a:gd name="connsiteY306" fmla="*/ 185738 h 268604"/>
                  <a:gd name="connsiteX307" fmla="*/ 52388 w 359871"/>
                  <a:gd name="connsiteY307" fmla="*/ 180023 h 268604"/>
                  <a:gd name="connsiteX308" fmla="*/ 57150 w 359871"/>
                  <a:gd name="connsiteY308" fmla="*/ 175260 h 268604"/>
                  <a:gd name="connsiteX309" fmla="*/ 55245 w 359871"/>
                  <a:gd name="connsiteY309" fmla="*/ 173355 h 268604"/>
                  <a:gd name="connsiteX310" fmla="*/ 49530 w 359871"/>
                  <a:gd name="connsiteY310" fmla="*/ 172403 h 268604"/>
                  <a:gd name="connsiteX311" fmla="*/ 52388 w 359871"/>
                  <a:gd name="connsiteY311" fmla="*/ 170498 h 268604"/>
                  <a:gd name="connsiteX312" fmla="*/ 51435 w 359871"/>
                  <a:gd name="connsiteY312" fmla="*/ 169545 h 268604"/>
                  <a:gd name="connsiteX313" fmla="*/ 54293 w 359871"/>
                  <a:gd name="connsiteY313" fmla="*/ 166688 h 268604"/>
                  <a:gd name="connsiteX314" fmla="*/ 60007 w 359871"/>
                  <a:gd name="connsiteY314" fmla="*/ 164783 h 268604"/>
                  <a:gd name="connsiteX315" fmla="*/ 48577 w 359871"/>
                  <a:gd name="connsiteY315" fmla="*/ 163830 h 268604"/>
                  <a:gd name="connsiteX316" fmla="*/ 60960 w 359871"/>
                  <a:gd name="connsiteY316" fmla="*/ 148590 h 268604"/>
                  <a:gd name="connsiteX317" fmla="*/ 62865 w 359871"/>
                  <a:gd name="connsiteY317" fmla="*/ 149542 h 268604"/>
                  <a:gd name="connsiteX318" fmla="*/ 59055 w 359871"/>
                  <a:gd name="connsiteY318" fmla="*/ 154305 h 268604"/>
                  <a:gd name="connsiteX319" fmla="*/ 71438 w 359871"/>
                  <a:gd name="connsiteY319" fmla="*/ 157163 h 268604"/>
                  <a:gd name="connsiteX320" fmla="*/ 69532 w 359871"/>
                  <a:gd name="connsiteY320" fmla="*/ 158115 h 268604"/>
                  <a:gd name="connsiteX321" fmla="*/ 78105 w 359871"/>
                  <a:gd name="connsiteY321" fmla="*/ 160973 h 268604"/>
                  <a:gd name="connsiteX322" fmla="*/ 73343 w 359871"/>
                  <a:gd name="connsiteY322" fmla="*/ 160973 h 268604"/>
                  <a:gd name="connsiteX323" fmla="*/ 119063 w 359871"/>
                  <a:gd name="connsiteY323" fmla="*/ 179070 h 268604"/>
                  <a:gd name="connsiteX324" fmla="*/ 83820 w 359871"/>
                  <a:gd name="connsiteY324" fmla="*/ 189548 h 268604"/>
                  <a:gd name="connsiteX325" fmla="*/ 80010 w 359871"/>
                  <a:gd name="connsiteY325" fmla="*/ 188595 h 268604"/>
                  <a:gd name="connsiteX326" fmla="*/ 79057 w 359871"/>
                  <a:gd name="connsiteY326" fmla="*/ 190500 h 268604"/>
                  <a:gd name="connsiteX327" fmla="*/ 74295 w 359871"/>
                  <a:gd name="connsiteY327" fmla="*/ 191453 h 268604"/>
                  <a:gd name="connsiteX328" fmla="*/ 68580 w 359871"/>
                  <a:gd name="connsiteY328" fmla="*/ 193358 h 26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359871" h="268604">
                    <a:moveTo>
                      <a:pt x="158115" y="237173"/>
                    </a:moveTo>
                    <a:cubicBezTo>
                      <a:pt x="160973" y="234315"/>
                      <a:pt x="163830" y="231458"/>
                      <a:pt x="166688" y="227648"/>
                    </a:cubicBezTo>
                    <a:lnTo>
                      <a:pt x="166688" y="227648"/>
                    </a:lnTo>
                    <a:cubicBezTo>
                      <a:pt x="172402" y="221933"/>
                      <a:pt x="177165" y="215265"/>
                      <a:pt x="183833" y="210503"/>
                    </a:cubicBezTo>
                    <a:cubicBezTo>
                      <a:pt x="185738" y="208598"/>
                      <a:pt x="187643" y="207645"/>
                      <a:pt x="189548" y="205740"/>
                    </a:cubicBezTo>
                    <a:cubicBezTo>
                      <a:pt x="190500" y="204788"/>
                      <a:pt x="190500" y="203835"/>
                      <a:pt x="190500" y="203835"/>
                    </a:cubicBezTo>
                    <a:cubicBezTo>
                      <a:pt x="187643" y="204788"/>
                      <a:pt x="186690" y="206692"/>
                      <a:pt x="183833" y="207645"/>
                    </a:cubicBezTo>
                    <a:cubicBezTo>
                      <a:pt x="182880" y="207645"/>
                      <a:pt x="182880" y="206692"/>
                      <a:pt x="182880" y="206692"/>
                    </a:cubicBezTo>
                    <a:cubicBezTo>
                      <a:pt x="184785" y="205740"/>
                      <a:pt x="186690" y="203835"/>
                      <a:pt x="188595" y="202883"/>
                    </a:cubicBezTo>
                    <a:cubicBezTo>
                      <a:pt x="188595" y="202883"/>
                      <a:pt x="188595" y="202883"/>
                      <a:pt x="188595" y="202883"/>
                    </a:cubicBezTo>
                    <a:cubicBezTo>
                      <a:pt x="187643" y="202883"/>
                      <a:pt x="187643" y="201930"/>
                      <a:pt x="187643" y="201930"/>
                    </a:cubicBezTo>
                    <a:cubicBezTo>
                      <a:pt x="180975" y="201930"/>
                      <a:pt x="176213" y="205740"/>
                      <a:pt x="171450" y="210503"/>
                    </a:cubicBezTo>
                    <a:cubicBezTo>
                      <a:pt x="170498" y="211455"/>
                      <a:pt x="169545" y="209550"/>
                      <a:pt x="168593" y="209550"/>
                    </a:cubicBezTo>
                    <a:cubicBezTo>
                      <a:pt x="160973" y="212408"/>
                      <a:pt x="155258" y="219075"/>
                      <a:pt x="147638" y="221933"/>
                    </a:cubicBezTo>
                    <a:lnTo>
                      <a:pt x="147638" y="220980"/>
                    </a:lnTo>
                    <a:cubicBezTo>
                      <a:pt x="144780" y="221933"/>
                      <a:pt x="141923" y="223838"/>
                      <a:pt x="138113" y="224790"/>
                    </a:cubicBezTo>
                    <a:cubicBezTo>
                      <a:pt x="133350" y="225742"/>
                      <a:pt x="129540" y="225742"/>
                      <a:pt x="125730" y="225742"/>
                    </a:cubicBezTo>
                    <a:cubicBezTo>
                      <a:pt x="120015" y="226695"/>
                      <a:pt x="113348" y="227648"/>
                      <a:pt x="107632" y="228600"/>
                    </a:cubicBezTo>
                    <a:cubicBezTo>
                      <a:pt x="107632" y="228600"/>
                      <a:pt x="107632" y="228600"/>
                      <a:pt x="106680" y="228600"/>
                    </a:cubicBezTo>
                    <a:cubicBezTo>
                      <a:pt x="103823" y="229553"/>
                      <a:pt x="100013" y="230505"/>
                      <a:pt x="97155" y="232410"/>
                    </a:cubicBezTo>
                    <a:cubicBezTo>
                      <a:pt x="97155" y="232410"/>
                      <a:pt x="97155" y="232410"/>
                      <a:pt x="97155" y="232410"/>
                    </a:cubicBezTo>
                    <a:cubicBezTo>
                      <a:pt x="97155" y="232410"/>
                      <a:pt x="96202" y="233363"/>
                      <a:pt x="96202" y="233363"/>
                    </a:cubicBezTo>
                    <a:cubicBezTo>
                      <a:pt x="95250" y="234315"/>
                      <a:pt x="94298" y="235267"/>
                      <a:pt x="92393" y="236220"/>
                    </a:cubicBezTo>
                    <a:cubicBezTo>
                      <a:pt x="89535" y="238125"/>
                      <a:pt x="86677" y="240983"/>
                      <a:pt x="83820" y="242888"/>
                    </a:cubicBezTo>
                    <a:cubicBezTo>
                      <a:pt x="83820" y="242888"/>
                      <a:pt x="82868" y="242888"/>
                      <a:pt x="82868" y="242888"/>
                    </a:cubicBezTo>
                    <a:cubicBezTo>
                      <a:pt x="80010" y="245745"/>
                      <a:pt x="77152" y="248603"/>
                      <a:pt x="74295" y="250508"/>
                    </a:cubicBezTo>
                    <a:cubicBezTo>
                      <a:pt x="74295" y="250508"/>
                      <a:pt x="73343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49555"/>
                    </a:cubicBezTo>
                    <a:cubicBezTo>
                      <a:pt x="72390" y="248603"/>
                      <a:pt x="73343" y="247650"/>
                      <a:pt x="73343" y="247650"/>
                    </a:cubicBezTo>
                    <a:cubicBezTo>
                      <a:pt x="74295" y="246698"/>
                      <a:pt x="74295" y="245745"/>
                      <a:pt x="75248" y="245745"/>
                    </a:cubicBezTo>
                    <a:cubicBezTo>
                      <a:pt x="76200" y="244792"/>
                      <a:pt x="76200" y="243840"/>
                      <a:pt x="77152" y="242888"/>
                    </a:cubicBezTo>
                    <a:cubicBezTo>
                      <a:pt x="77152" y="242888"/>
                      <a:pt x="77152" y="241935"/>
                      <a:pt x="77152" y="241935"/>
                    </a:cubicBezTo>
                    <a:cubicBezTo>
                      <a:pt x="77152" y="241935"/>
                      <a:pt x="77152" y="241935"/>
                      <a:pt x="76200" y="241935"/>
                    </a:cubicBezTo>
                    <a:cubicBezTo>
                      <a:pt x="79057" y="239078"/>
                      <a:pt x="81915" y="237173"/>
                      <a:pt x="84773" y="235267"/>
                    </a:cubicBezTo>
                    <a:lnTo>
                      <a:pt x="84773" y="235267"/>
                    </a:lnTo>
                    <a:cubicBezTo>
                      <a:pt x="84773" y="235267"/>
                      <a:pt x="83820" y="235267"/>
                      <a:pt x="83820" y="234315"/>
                    </a:cubicBezTo>
                    <a:cubicBezTo>
                      <a:pt x="83820" y="234315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5725" y="233363"/>
                      <a:pt x="84773" y="234315"/>
                      <a:pt x="84773" y="234315"/>
                    </a:cubicBezTo>
                    <a:cubicBezTo>
                      <a:pt x="83820" y="235267"/>
                      <a:pt x="82868" y="238125"/>
                      <a:pt x="80963" y="237173"/>
                    </a:cubicBezTo>
                    <a:cubicBezTo>
                      <a:pt x="80963" y="237173"/>
                      <a:pt x="80010" y="237173"/>
                      <a:pt x="80010" y="237173"/>
                    </a:cubicBezTo>
                    <a:cubicBezTo>
                      <a:pt x="80010" y="237173"/>
                      <a:pt x="80010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6220"/>
                    </a:cubicBezTo>
                    <a:cubicBezTo>
                      <a:pt x="79057" y="236220"/>
                      <a:pt x="79057" y="236220"/>
                      <a:pt x="79057" y="236220"/>
                    </a:cubicBezTo>
                    <a:cubicBezTo>
                      <a:pt x="79057" y="236220"/>
                      <a:pt x="79057" y="235267"/>
                      <a:pt x="80010" y="235267"/>
                    </a:cubicBezTo>
                    <a:cubicBezTo>
                      <a:pt x="80010" y="235267"/>
                      <a:pt x="80010" y="235267"/>
                      <a:pt x="80010" y="234315"/>
                    </a:cubicBezTo>
                    <a:cubicBezTo>
                      <a:pt x="80010" y="234315"/>
                      <a:pt x="80010" y="233363"/>
                      <a:pt x="80963" y="233363"/>
                    </a:cubicBezTo>
                    <a:cubicBezTo>
                      <a:pt x="80963" y="233363"/>
                      <a:pt x="80963" y="232410"/>
                      <a:pt x="80963" y="232410"/>
                    </a:cubicBezTo>
                    <a:cubicBezTo>
                      <a:pt x="81915" y="231458"/>
                      <a:pt x="82868" y="230505"/>
                      <a:pt x="84773" y="229553"/>
                    </a:cubicBezTo>
                    <a:lnTo>
                      <a:pt x="84773" y="229553"/>
                    </a:lnTo>
                    <a:cubicBezTo>
                      <a:pt x="86677" y="228600"/>
                      <a:pt x="88582" y="227648"/>
                      <a:pt x="90488" y="226695"/>
                    </a:cubicBezTo>
                    <a:cubicBezTo>
                      <a:pt x="90488" y="226695"/>
                      <a:pt x="91440" y="225742"/>
                      <a:pt x="91440" y="225742"/>
                    </a:cubicBezTo>
                    <a:cubicBezTo>
                      <a:pt x="88582" y="226695"/>
                      <a:pt x="85725" y="227648"/>
                      <a:pt x="82868" y="229553"/>
                    </a:cubicBezTo>
                    <a:cubicBezTo>
                      <a:pt x="82868" y="229553"/>
                      <a:pt x="81915" y="229553"/>
                      <a:pt x="81915" y="229553"/>
                    </a:cubicBezTo>
                    <a:cubicBezTo>
                      <a:pt x="81915" y="229553"/>
                      <a:pt x="80963" y="229553"/>
                      <a:pt x="80963" y="229553"/>
                    </a:cubicBezTo>
                    <a:cubicBezTo>
                      <a:pt x="80963" y="229553"/>
                      <a:pt x="80963" y="229553"/>
                      <a:pt x="80963" y="229553"/>
                    </a:cubicBezTo>
                    <a:cubicBezTo>
                      <a:pt x="81915" y="228600"/>
                      <a:pt x="82868" y="227648"/>
                      <a:pt x="83820" y="226695"/>
                    </a:cubicBezTo>
                    <a:cubicBezTo>
                      <a:pt x="84773" y="226695"/>
                      <a:pt x="84773" y="226695"/>
                      <a:pt x="84773" y="227648"/>
                    </a:cubicBezTo>
                    <a:cubicBezTo>
                      <a:pt x="100965" y="215265"/>
                      <a:pt x="123825" y="218123"/>
                      <a:pt x="142875" y="211455"/>
                    </a:cubicBezTo>
                    <a:cubicBezTo>
                      <a:pt x="144780" y="210503"/>
                      <a:pt x="145733" y="209550"/>
                      <a:pt x="147638" y="208598"/>
                    </a:cubicBezTo>
                    <a:cubicBezTo>
                      <a:pt x="150495" y="207645"/>
                      <a:pt x="152400" y="204788"/>
                      <a:pt x="155258" y="203835"/>
                    </a:cubicBezTo>
                    <a:cubicBezTo>
                      <a:pt x="159068" y="200978"/>
                      <a:pt x="161925" y="197167"/>
                      <a:pt x="163830" y="192405"/>
                    </a:cubicBezTo>
                    <a:cubicBezTo>
                      <a:pt x="163830" y="191453"/>
                      <a:pt x="162877" y="191453"/>
                      <a:pt x="162877" y="191453"/>
                    </a:cubicBezTo>
                    <a:cubicBezTo>
                      <a:pt x="156210" y="199073"/>
                      <a:pt x="148590" y="203835"/>
                      <a:pt x="140018" y="208598"/>
                    </a:cubicBezTo>
                    <a:cubicBezTo>
                      <a:pt x="129540" y="214313"/>
                      <a:pt x="117157" y="213360"/>
                      <a:pt x="106680" y="214313"/>
                    </a:cubicBezTo>
                    <a:cubicBezTo>
                      <a:pt x="107632" y="213360"/>
                      <a:pt x="108585" y="213360"/>
                      <a:pt x="109538" y="213360"/>
                    </a:cubicBezTo>
                    <a:cubicBezTo>
                      <a:pt x="109538" y="211455"/>
                      <a:pt x="110490" y="211455"/>
                      <a:pt x="111443" y="210503"/>
                    </a:cubicBezTo>
                    <a:lnTo>
                      <a:pt x="113348" y="210503"/>
                    </a:lnTo>
                    <a:cubicBezTo>
                      <a:pt x="114300" y="210503"/>
                      <a:pt x="114300" y="209550"/>
                      <a:pt x="114300" y="209550"/>
                    </a:cubicBezTo>
                    <a:cubicBezTo>
                      <a:pt x="115252" y="209550"/>
                      <a:pt x="117157" y="208598"/>
                      <a:pt x="116205" y="208598"/>
                    </a:cubicBezTo>
                    <a:cubicBezTo>
                      <a:pt x="114300" y="206692"/>
                      <a:pt x="111443" y="210503"/>
                      <a:pt x="108585" y="208598"/>
                    </a:cubicBezTo>
                    <a:cubicBezTo>
                      <a:pt x="109538" y="207645"/>
                      <a:pt x="109538" y="205740"/>
                      <a:pt x="110490" y="205740"/>
                    </a:cubicBezTo>
                    <a:lnTo>
                      <a:pt x="112395" y="205740"/>
                    </a:lnTo>
                    <a:cubicBezTo>
                      <a:pt x="112395" y="204788"/>
                      <a:pt x="113348" y="203835"/>
                      <a:pt x="113348" y="203835"/>
                    </a:cubicBezTo>
                    <a:cubicBezTo>
                      <a:pt x="120968" y="199073"/>
                      <a:pt x="128588" y="195263"/>
                      <a:pt x="135255" y="191453"/>
                    </a:cubicBezTo>
                    <a:cubicBezTo>
                      <a:pt x="133350" y="191453"/>
                      <a:pt x="132398" y="193358"/>
                      <a:pt x="131445" y="192405"/>
                    </a:cubicBezTo>
                    <a:cubicBezTo>
                      <a:pt x="132398" y="192405"/>
                      <a:pt x="131445" y="190500"/>
                      <a:pt x="132398" y="190500"/>
                    </a:cubicBezTo>
                    <a:cubicBezTo>
                      <a:pt x="138113" y="188595"/>
                      <a:pt x="142875" y="185738"/>
                      <a:pt x="148590" y="183833"/>
                    </a:cubicBezTo>
                    <a:cubicBezTo>
                      <a:pt x="146685" y="183833"/>
                      <a:pt x="144780" y="185738"/>
                      <a:pt x="142875" y="183833"/>
                    </a:cubicBezTo>
                    <a:cubicBezTo>
                      <a:pt x="143827" y="182880"/>
                      <a:pt x="144780" y="181928"/>
                      <a:pt x="145733" y="181928"/>
                    </a:cubicBezTo>
                    <a:lnTo>
                      <a:pt x="145733" y="180023"/>
                    </a:lnTo>
                    <a:cubicBezTo>
                      <a:pt x="145733" y="179070"/>
                      <a:pt x="146685" y="179070"/>
                      <a:pt x="146685" y="179070"/>
                    </a:cubicBezTo>
                    <a:cubicBezTo>
                      <a:pt x="145733" y="179070"/>
                      <a:pt x="145733" y="178117"/>
                      <a:pt x="145733" y="178117"/>
                    </a:cubicBezTo>
                    <a:cubicBezTo>
                      <a:pt x="146685" y="177165"/>
                      <a:pt x="147638" y="177165"/>
                      <a:pt x="148590" y="176213"/>
                    </a:cubicBezTo>
                    <a:cubicBezTo>
                      <a:pt x="147638" y="176213"/>
                      <a:pt x="146685" y="176213"/>
                      <a:pt x="146685" y="175260"/>
                    </a:cubicBezTo>
                    <a:cubicBezTo>
                      <a:pt x="148590" y="173355"/>
                      <a:pt x="150495" y="172403"/>
                      <a:pt x="153352" y="172403"/>
                    </a:cubicBezTo>
                    <a:cubicBezTo>
                      <a:pt x="152400" y="171450"/>
                      <a:pt x="151448" y="172403"/>
                      <a:pt x="151448" y="171450"/>
                    </a:cubicBezTo>
                    <a:cubicBezTo>
                      <a:pt x="151448" y="170498"/>
                      <a:pt x="152400" y="170498"/>
                      <a:pt x="152400" y="170498"/>
                    </a:cubicBezTo>
                    <a:lnTo>
                      <a:pt x="152400" y="170498"/>
                    </a:lnTo>
                    <a:cubicBezTo>
                      <a:pt x="151448" y="169545"/>
                      <a:pt x="151448" y="168592"/>
                      <a:pt x="151448" y="168592"/>
                    </a:cubicBezTo>
                    <a:cubicBezTo>
                      <a:pt x="154305" y="164783"/>
                      <a:pt x="154305" y="160020"/>
                      <a:pt x="156210" y="156210"/>
                    </a:cubicBezTo>
                    <a:cubicBezTo>
                      <a:pt x="155258" y="156210"/>
                      <a:pt x="155258" y="156210"/>
                      <a:pt x="155258" y="155258"/>
                    </a:cubicBezTo>
                    <a:cubicBezTo>
                      <a:pt x="150495" y="160973"/>
                      <a:pt x="141923" y="162878"/>
                      <a:pt x="134302" y="164783"/>
                    </a:cubicBezTo>
                    <a:lnTo>
                      <a:pt x="131445" y="164783"/>
                    </a:lnTo>
                    <a:cubicBezTo>
                      <a:pt x="128588" y="165735"/>
                      <a:pt x="125730" y="165735"/>
                      <a:pt x="122873" y="163830"/>
                    </a:cubicBezTo>
                    <a:cubicBezTo>
                      <a:pt x="120968" y="162878"/>
                      <a:pt x="120015" y="160973"/>
                      <a:pt x="118110" y="160020"/>
                    </a:cubicBezTo>
                    <a:cubicBezTo>
                      <a:pt x="114300" y="157163"/>
                      <a:pt x="109538" y="155258"/>
                      <a:pt x="105727" y="154305"/>
                    </a:cubicBezTo>
                    <a:cubicBezTo>
                      <a:pt x="93345" y="150495"/>
                      <a:pt x="80010" y="148590"/>
                      <a:pt x="66675" y="148590"/>
                    </a:cubicBezTo>
                    <a:cubicBezTo>
                      <a:pt x="72390" y="145733"/>
                      <a:pt x="78105" y="145733"/>
                      <a:pt x="84773" y="143828"/>
                    </a:cubicBezTo>
                    <a:cubicBezTo>
                      <a:pt x="93345" y="140970"/>
                      <a:pt x="101918" y="138113"/>
                      <a:pt x="110490" y="139065"/>
                    </a:cubicBezTo>
                    <a:cubicBezTo>
                      <a:pt x="108585" y="138113"/>
                      <a:pt x="106680" y="139065"/>
                      <a:pt x="105727" y="139065"/>
                    </a:cubicBezTo>
                    <a:cubicBezTo>
                      <a:pt x="98107" y="138113"/>
                      <a:pt x="91440" y="140970"/>
                      <a:pt x="83820" y="141923"/>
                    </a:cubicBezTo>
                    <a:cubicBezTo>
                      <a:pt x="79057" y="142875"/>
                      <a:pt x="74295" y="144780"/>
                      <a:pt x="68580" y="145733"/>
                    </a:cubicBezTo>
                    <a:cubicBezTo>
                      <a:pt x="65723" y="146685"/>
                      <a:pt x="63818" y="149542"/>
                      <a:pt x="60007" y="149542"/>
                    </a:cubicBezTo>
                    <a:lnTo>
                      <a:pt x="60007" y="147638"/>
                    </a:lnTo>
                    <a:cubicBezTo>
                      <a:pt x="64770" y="141923"/>
                      <a:pt x="71438" y="135255"/>
                      <a:pt x="79057" y="135255"/>
                    </a:cubicBezTo>
                    <a:cubicBezTo>
                      <a:pt x="88582" y="133350"/>
                      <a:pt x="97155" y="135255"/>
                      <a:pt x="105727" y="136208"/>
                    </a:cubicBezTo>
                    <a:cubicBezTo>
                      <a:pt x="112395" y="137160"/>
                      <a:pt x="118110" y="138113"/>
                      <a:pt x="124777" y="140017"/>
                    </a:cubicBezTo>
                    <a:cubicBezTo>
                      <a:pt x="127635" y="140017"/>
                      <a:pt x="127635" y="143828"/>
                      <a:pt x="129540" y="144780"/>
                    </a:cubicBezTo>
                    <a:cubicBezTo>
                      <a:pt x="132398" y="145733"/>
                      <a:pt x="135255" y="144780"/>
                      <a:pt x="139065" y="146685"/>
                    </a:cubicBezTo>
                    <a:cubicBezTo>
                      <a:pt x="139065" y="145733"/>
                      <a:pt x="138113" y="144780"/>
                      <a:pt x="139065" y="143828"/>
                    </a:cubicBezTo>
                    <a:cubicBezTo>
                      <a:pt x="140970" y="141923"/>
                      <a:pt x="143827" y="144780"/>
                      <a:pt x="145733" y="142875"/>
                    </a:cubicBezTo>
                    <a:cubicBezTo>
                      <a:pt x="149543" y="140017"/>
                      <a:pt x="141923" y="136208"/>
                      <a:pt x="140018" y="132398"/>
                    </a:cubicBezTo>
                    <a:cubicBezTo>
                      <a:pt x="140018" y="131445"/>
                      <a:pt x="140970" y="131445"/>
                      <a:pt x="140970" y="131445"/>
                    </a:cubicBezTo>
                    <a:cubicBezTo>
                      <a:pt x="144780" y="135255"/>
                      <a:pt x="147638" y="139065"/>
                      <a:pt x="153352" y="141923"/>
                    </a:cubicBezTo>
                    <a:cubicBezTo>
                      <a:pt x="156210" y="142875"/>
                      <a:pt x="161925" y="144780"/>
                      <a:pt x="160973" y="140970"/>
                    </a:cubicBezTo>
                    <a:cubicBezTo>
                      <a:pt x="158115" y="135255"/>
                      <a:pt x="153352" y="130492"/>
                      <a:pt x="149543" y="125730"/>
                    </a:cubicBezTo>
                    <a:lnTo>
                      <a:pt x="149543" y="123825"/>
                    </a:lnTo>
                    <a:cubicBezTo>
                      <a:pt x="148590" y="123825"/>
                      <a:pt x="148590" y="122873"/>
                      <a:pt x="147638" y="122873"/>
                    </a:cubicBezTo>
                    <a:lnTo>
                      <a:pt x="147638" y="120015"/>
                    </a:lnTo>
                    <a:cubicBezTo>
                      <a:pt x="145733" y="119063"/>
                      <a:pt x="145733" y="117158"/>
                      <a:pt x="144780" y="115253"/>
                    </a:cubicBezTo>
                    <a:cubicBezTo>
                      <a:pt x="142875" y="112395"/>
                      <a:pt x="143827" y="109538"/>
                      <a:pt x="142875" y="105728"/>
                    </a:cubicBezTo>
                    <a:cubicBezTo>
                      <a:pt x="142875" y="103823"/>
                      <a:pt x="142875" y="100965"/>
                      <a:pt x="141923" y="98108"/>
                    </a:cubicBezTo>
                    <a:cubicBezTo>
                      <a:pt x="140018" y="89535"/>
                      <a:pt x="138113" y="81915"/>
                      <a:pt x="137160" y="73342"/>
                    </a:cubicBezTo>
                    <a:cubicBezTo>
                      <a:pt x="136208" y="63817"/>
                      <a:pt x="142875" y="56197"/>
                      <a:pt x="147638" y="47625"/>
                    </a:cubicBezTo>
                    <a:cubicBezTo>
                      <a:pt x="151448" y="41910"/>
                      <a:pt x="155258" y="35242"/>
                      <a:pt x="161925" y="31433"/>
                    </a:cubicBezTo>
                    <a:cubicBezTo>
                      <a:pt x="163830" y="25718"/>
                      <a:pt x="167640" y="20003"/>
                      <a:pt x="171450" y="15240"/>
                    </a:cubicBezTo>
                    <a:cubicBezTo>
                      <a:pt x="175260" y="10478"/>
                      <a:pt x="181927" y="7620"/>
                      <a:pt x="187643" y="4763"/>
                    </a:cubicBezTo>
                    <a:cubicBezTo>
                      <a:pt x="194310" y="1905"/>
                      <a:pt x="200977" y="0"/>
                      <a:pt x="200977" y="0"/>
                    </a:cubicBezTo>
                    <a:lnTo>
                      <a:pt x="302895" y="0"/>
                    </a:lnTo>
                    <a:cubicBezTo>
                      <a:pt x="302895" y="0"/>
                      <a:pt x="303848" y="0"/>
                      <a:pt x="305753" y="953"/>
                    </a:cubicBezTo>
                    <a:cubicBezTo>
                      <a:pt x="307658" y="1905"/>
                      <a:pt x="311467" y="3810"/>
                      <a:pt x="313373" y="4763"/>
                    </a:cubicBezTo>
                    <a:cubicBezTo>
                      <a:pt x="317183" y="6668"/>
                      <a:pt x="320992" y="9525"/>
                      <a:pt x="322898" y="13335"/>
                    </a:cubicBezTo>
                    <a:cubicBezTo>
                      <a:pt x="323850" y="15240"/>
                      <a:pt x="325755" y="18097"/>
                      <a:pt x="324803" y="20003"/>
                    </a:cubicBezTo>
                    <a:cubicBezTo>
                      <a:pt x="323850" y="22860"/>
                      <a:pt x="322898" y="26670"/>
                      <a:pt x="320992" y="27622"/>
                    </a:cubicBezTo>
                    <a:cubicBezTo>
                      <a:pt x="318135" y="29528"/>
                      <a:pt x="314325" y="29528"/>
                      <a:pt x="310515" y="28575"/>
                    </a:cubicBezTo>
                    <a:cubicBezTo>
                      <a:pt x="308610" y="28575"/>
                      <a:pt x="306705" y="27622"/>
                      <a:pt x="304800" y="27622"/>
                    </a:cubicBezTo>
                    <a:cubicBezTo>
                      <a:pt x="312420" y="30480"/>
                      <a:pt x="320040" y="34290"/>
                      <a:pt x="324803" y="40958"/>
                    </a:cubicBezTo>
                    <a:cubicBezTo>
                      <a:pt x="325755" y="41910"/>
                      <a:pt x="327660" y="42863"/>
                      <a:pt x="329565" y="42863"/>
                    </a:cubicBezTo>
                    <a:cubicBezTo>
                      <a:pt x="330517" y="42863"/>
                      <a:pt x="330517" y="43815"/>
                      <a:pt x="330517" y="44767"/>
                    </a:cubicBezTo>
                    <a:cubicBezTo>
                      <a:pt x="329565" y="45720"/>
                      <a:pt x="328613" y="46672"/>
                      <a:pt x="328613" y="47625"/>
                    </a:cubicBezTo>
                    <a:lnTo>
                      <a:pt x="330517" y="47625"/>
                    </a:lnTo>
                    <a:cubicBezTo>
                      <a:pt x="333375" y="46672"/>
                      <a:pt x="332423" y="41910"/>
                      <a:pt x="336233" y="42863"/>
                    </a:cubicBezTo>
                    <a:cubicBezTo>
                      <a:pt x="339090" y="44767"/>
                      <a:pt x="340042" y="47625"/>
                      <a:pt x="338138" y="50483"/>
                    </a:cubicBezTo>
                    <a:cubicBezTo>
                      <a:pt x="336233" y="52388"/>
                      <a:pt x="334328" y="54292"/>
                      <a:pt x="332423" y="55245"/>
                    </a:cubicBezTo>
                    <a:cubicBezTo>
                      <a:pt x="331470" y="56197"/>
                      <a:pt x="331470" y="58103"/>
                      <a:pt x="332423" y="59055"/>
                    </a:cubicBezTo>
                    <a:cubicBezTo>
                      <a:pt x="334328" y="60960"/>
                      <a:pt x="334328" y="62865"/>
                      <a:pt x="335280" y="64770"/>
                    </a:cubicBezTo>
                    <a:cubicBezTo>
                      <a:pt x="337185" y="68580"/>
                      <a:pt x="337185" y="72390"/>
                      <a:pt x="339090" y="76200"/>
                    </a:cubicBezTo>
                    <a:cubicBezTo>
                      <a:pt x="340995" y="83820"/>
                      <a:pt x="342900" y="91440"/>
                      <a:pt x="342900" y="99060"/>
                    </a:cubicBezTo>
                    <a:cubicBezTo>
                      <a:pt x="342900" y="102870"/>
                      <a:pt x="340995" y="106680"/>
                      <a:pt x="341948" y="110490"/>
                    </a:cubicBezTo>
                    <a:cubicBezTo>
                      <a:pt x="342900" y="114300"/>
                      <a:pt x="345758" y="118110"/>
                      <a:pt x="347663" y="120967"/>
                    </a:cubicBezTo>
                    <a:cubicBezTo>
                      <a:pt x="349567" y="123825"/>
                      <a:pt x="351473" y="125730"/>
                      <a:pt x="353378" y="129540"/>
                    </a:cubicBezTo>
                    <a:cubicBezTo>
                      <a:pt x="356235" y="134303"/>
                      <a:pt x="361950" y="140017"/>
                      <a:pt x="359092" y="145733"/>
                    </a:cubicBezTo>
                    <a:cubicBezTo>
                      <a:pt x="357188" y="149542"/>
                      <a:pt x="351473" y="148590"/>
                      <a:pt x="348615" y="150495"/>
                    </a:cubicBezTo>
                    <a:cubicBezTo>
                      <a:pt x="345758" y="153353"/>
                      <a:pt x="347663" y="157163"/>
                      <a:pt x="349567" y="160020"/>
                    </a:cubicBezTo>
                    <a:cubicBezTo>
                      <a:pt x="352425" y="164783"/>
                      <a:pt x="346710" y="167640"/>
                      <a:pt x="342900" y="169545"/>
                    </a:cubicBezTo>
                    <a:cubicBezTo>
                      <a:pt x="343853" y="171450"/>
                      <a:pt x="345758" y="170498"/>
                      <a:pt x="346710" y="171450"/>
                    </a:cubicBezTo>
                    <a:cubicBezTo>
                      <a:pt x="347663" y="174308"/>
                      <a:pt x="349567" y="175260"/>
                      <a:pt x="348615" y="178117"/>
                    </a:cubicBezTo>
                    <a:cubicBezTo>
                      <a:pt x="346710" y="180975"/>
                      <a:pt x="340042" y="182880"/>
                      <a:pt x="343853" y="187642"/>
                    </a:cubicBezTo>
                    <a:cubicBezTo>
                      <a:pt x="345758" y="191453"/>
                      <a:pt x="344805" y="195263"/>
                      <a:pt x="342900" y="199073"/>
                    </a:cubicBezTo>
                    <a:cubicBezTo>
                      <a:pt x="340995" y="203835"/>
                      <a:pt x="337185" y="205740"/>
                      <a:pt x="333375" y="206692"/>
                    </a:cubicBezTo>
                    <a:cubicBezTo>
                      <a:pt x="330517" y="207645"/>
                      <a:pt x="326708" y="207645"/>
                      <a:pt x="323850" y="207645"/>
                    </a:cubicBezTo>
                    <a:cubicBezTo>
                      <a:pt x="320040" y="205740"/>
                      <a:pt x="319088" y="205740"/>
                      <a:pt x="318135" y="205740"/>
                    </a:cubicBezTo>
                    <a:cubicBezTo>
                      <a:pt x="309563" y="204788"/>
                      <a:pt x="300990" y="201930"/>
                      <a:pt x="292417" y="201930"/>
                    </a:cubicBezTo>
                    <a:cubicBezTo>
                      <a:pt x="289560" y="202883"/>
                      <a:pt x="287655" y="202883"/>
                      <a:pt x="285750" y="203835"/>
                    </a:cubicBezTo>
                    <a:cubicBezTo>
                      <a:pt x="283845" y="205740"/>
                      <a:pt x="280988" y="207645"/>
                      <a:pt x="280035" y="209550"/>
                    </a:cubicBezTo>
                    <a:cubicBezTo>
                      <a:pt x="280035" y="209550"/>
                      <a:pt x="280035" y="209550"/>
                      <a:pt x="280035" y="209550"/>
                    </a:cubicBezTo>
                    <a:cubicBezTo>
                      <a:pt x="280035" y="209550"/>
                      <a:pt x="279083" y="210503"/>
                      <a:pt x="279083" y="210503"/>
                    </a:cubicBezTo>
                    <a:cubicBezTo>
                      <a:pt x="279083" y="210503"/>
                      <a:pt x="279083" y="211455"/>
                      <a:pt x="278130" y="211455"/>
                    </a:cubicBezTo>
                    <a:cubicBezTo>
                      <a:pt x="278130" y="211455"/>
                      <a:pt x="278130" y="211455"/>
                      <a:pt x="278130" y="212408"/>
                    </a:cubicBezTo>
                    <a:cubicBezTo>
                      <a:pt x="276225" y="214313"/>
                      <a:pt x="275273" y="216217"/>
                      <a:pt x="274320" y="218123"/>
                    </a:cubicBezTo>
                    <a:cubicBezTo>
                      <a:pt x="274320" y="218123"/>
                      <a:pt x="274320" y="218123"/>
                      <a:pt x="274320" y="218123"/>
                    </a:cubicBezTo>
                    <a:cubicBezTo>
                      <a:pt x="274320" y="218123"/>
                      <a:pt x="274320" y="219075"/>
                      <a:pt x="274320" y="219075"/>
                    </a:cubicBezTo>
                    <a:cubicBezTo>
                      <a:pt x="272415" y="221933"/>
                      <a:pt x="271463" y="225742"/>
                      <a:pt x="270510" y="228600"/>
                    </a:cubicBezTo>
                    <a:cubicBezTo>
                      <a:pt x="266700" y="240030"/>
                      <a:pt x="268605" y="250508"/>
                      <a:pt x="271463" y="252413"/>
                    </a:cubicBezTo>
                    <a:cubicBezTo>
                      <a:pt x="272415" y="253365"/>
                      <a:pt x="288608" y="258128"/>
                      <a:pt x="299085" y="262890"/>
                    </a:cubicBezTo>
                    <a:cubicBezTo>
                      <a:pt x="304800" y="264795"/>
                      <a:pt x="307658" y="266700"/>
                      <a:pt x="311467" y="268605"/>
                    </a:cubicBezTo>
                    <a:lnTo>
                      <a:pt x="101918" y="268605"/>
                    </a:lnTo>
                    <a:cubicBezTo>
                      <a:pt x="111443" y="261938"/>
                      <a:pt x="120968" y="258128"/>
                      <a:pt x="135255" y="251460"/>
                    </a:cubicBezTo>
                    <a:cubicBezTo>
                      <a:pt x="138113" y="249555"/>
                      <a:pt x="153352" y="242888"/>
                      <a:pt x="158115" y="237173"/>
                    </a:cubicBezTo>
                    <a:moveTo>
                      <a:pt x="79057" y="200978"/>
                    </a:moveTo>
                    <a:cubicBezTo>
                      <a:pt x="78105" y="200978"/>
                      <a:pt x="76200" y="201930"/>
                      <a:pt x="76200" y="200025"/>
                    </a:cubicBezTo>
                    <a:cubicBezTo>
                      <a:pt x="77152" y="197167"/>
                      <a:pt x="80010" y="197167"/>
                      <a:pt x="81915" y="196215"/>
                    </a:cubicBezTo>
                    <a:cubicBezTo>
                      <a:pt x="82868" y="195263"/>
                      <a:pt x="84773" y="194310"/>
                      <a:pt x="85725" y="195263"/>
                    </a:cubicBezTo>
                    <a:cubicBezTo>
                      <a:pt x="86677" y="197167"/>
                      <a:pt x="88582" y="196215"/>
                      <a:pt x="89535" y="197167"/>
                    </a:cubicBezTo>
                    <a:cubicBezTo>
                      <a:pt x="86677" y="200978"/>
                      <a:pt x="82868" y="200025"/>
                      <a:pt x="79057" y="200978"/>
                    </a:cubicBezTo>
                    <a:moveTo>
                      <a:pt x="952" y="189548"/>
                    </a:moveTo>
                    <a:cubicBezTo>
                      <a:pt x="952" y="189548"/>
                      <a:pt x="0" y="188595"/>
                      <a:pt x="0" y="188595"/>
                    </a:cubicBezTo>
                    <a:cubicBezTo>
                      <a:pt x="6668" y="180023"/>
                      <a:pt x="11430" y="171450"/>
                      <a:pt x="16193" y="162878"/>
                    </a:cubicBezTo>
                    <a:cubicBezTo>
                      <a:pt x="22860" y="159067"/>
                      <a:pt x="28575" y="154305"/>
                      <a:pt x="33338" y="148590"/>
                    </a:cubicBezTo>
                    <a:cubicBezTo>
                      <a:pt x="41910" y="139065"/>
                      <a:pt x="51435" y="131445"/>
                      <a:pt x="61913" y="125730"/>
                    </a:cubicBezTo>
                    <a:cubicBezTo>
                      <a:pt x="65723" y="123825"/>
                      <a:pt x="71438" y="124778"/>
                      <a:pt x="75248" y="126683"/>
                    </a:cubicBezTo>
                    <a:cubicBezTo>
                      <a:pt x="73343" y="128588"/>
                      <a:pt x="71438" y="128588"/>
                      <a:pt x="69532" y="129540"/>
                    </a:cubicBezTo>
                    <a:cubicBezTo>
                      <a:pt x="68580" y="129540"/>
                      <a:pt x="68580" y="129540"/>
                      <a:pt x="67627" y="128588"/>
                    </a:cubicBezTo>
                    <a:cubicBezTo>
                      <a:pt x="68580" y="127635"/>
                      <a:pt x="68580" y="127635"/>
                      <a:pt x="68580" y="126683"/>
                    </a:cubicBezTo>
                    <a:cubicBezTo>
                      <a:pt x="63818" y="132398"/>
                      <a:pt x="56198" y="135255"/>
                      <a:pt x="52388" y="141923"/>
                    </a:cubicBezTo>
                    <a:cubicBezTo>
                      <a:pt x="49530" y="146685"/>
                      <a:pt x="47625" y="153353"/>
                      <a:pt x="40957" y="155258"/>
                    </a:cubicBezTo>
                    <a:cubicBezTo>
                      <a:pt x="39052" y="156210"/>
                      <a:pt x="41910" y="153353"/>
                      <a:pt x="40005" y="154305"/>
                    </a:cubicBezTo>
                    <a:cubicBezTo>
                      <a:pt x="24765" y="164783"/>
                      <a:pt x="13335" y="176213"/>
                      <a:pt x="952" y="189548"/>
                    </a:cubicBezTo>
                    <a:moveTo>
                      <a:pt x="43815" y="156210"/>
                    </a:moveTo>
                    <a:cubicBezTo>
                      <a:pt x="42863" y="157163"/>
                      <a:pt x="42863" y="157163"/>
                      <a:pt x="41910" y="158115"/>
                    </a:cubicBezTo>
                    <a:cubicBezTo>
                      <a:pt x="40957" y="159067"/>
                      <a:pt x="40957" y="160020"/>
                      <a:pt x="40005" y="160020"/>
                    </a:cubicBezTo>
                    <a:cubicBezTo>
                      <a:pt x="39052" y="160020"/>
                      <a:pt x="39052" y="160020"/>
                      <a:pt x="39052" y="159067"/>
                    </a:cubicBezTo>
                    <a:cubicBezTo>
                      <a:pt x="40005" y="157163"/>
                      <a:pt x="40957" y="155258"/>
                      <a:pt x="42863" y="154305"/>
                    </a:cubicBezTo>
                    <a:cubicBezTo>
                      <a:pt x="43815" y="155258"/>
                      <a:pt x="43815" y="155258"/>
                      <a:pt x="43815" y="156210"/>
                    </a:cubicBezTo>
                    <a:moveTo>
                      <a:pt x="67627" y="232410"/>
                    </a:moveTo>
                    <a:cubicBezTo>
                      <a:pt x="67627" y="233363"/>
                      <a:pt x="66675" y="233363"/>
                      <a:pt x="66675" y="234315"/>
                    </a:cubicBezTo>
                    <a:cubicBezTo>
                      <a:pt x="67627" y="234315"/>
                      <a:pt x="67627" y="234315"/>
                      <a:pt x="67627" y="235267"/>
                    </a:cubicBezTo>
                    <a:cubicBezTo>
                      <a:pt x="66675" y="236220"/>
                      <a:pt x="65723" y="237173"/>
                      <a:pt x="63818" y="238125"/>
                    </a:cubicBezTo>
                    <a:cubicBezTo>
                      <a:pt x="63818" y="238125"/>
                      <a:pt x="63818" y="238125"/>
                      <a:pt x="62865" y="238125"/>
                    </a:cubicBezTo>
                    <a:cubicBezTo>
                      <a:pt x="61913" y="239078"/>
                      <a:pt x="61913" y="239078"/>
                      <a:pt x="60960" y="240030"/>
                    </a:cubicBezTo>
                    <a:cubicBezTo>
                      <a:pt x="60007" y="240983"/>
                      <a:pt x="57150" y="240030"/>
                      <a:pt x="58102" y="239078"/>
                    </a:cubicBezTo>
                    <a:cubicBezTo>
                      <a:pt x="59055" y="238125"/>
                      <a:pt x="60960" y="236220"/>
                      <a:pt x="61913" y="235267"/>
                    </a:cubicBezTo>
                    <a:cubicBezTo>
                      <a:pt x="62865" y="234315"/>
                      <a:pt x="63818" y="234315"/>
                      <a:pt x="63818" y="233363"/>
                    </a:cubicBezTo>
                    <a:cubicBezTo>
                      <a:pt x="63818" y="233363"/>
                      <a:pt x="64770" y="232410"/>
                      <a:pt x="64770" y="232410"/>
                    </a:cubicBezTo>
                    <a:cubicBezTo>
                      <a:pt x="64770" y="231458"/>
                      <a:pt x="67627" y="231458"/>
                      <a:pt x="67627" y="232410"/>
                    </a:cubicBezTo>
                    <a:moveTo>
                      <a:pt x="58102" y="228600"/>
                    </a:moveTo>
                    <a:cubicBezTo>
                      <a:pt x="58102" y="228600"/>
                      <a:pt x="58102" y="228600"/>
                      <a:pt x="58102" y="228600"/>
                    </a:cubicBezTo>
                    <a:cubicBezTo>
                      <a:pt x="56198" y="230505"/>
                      <a:pt x="54293" y="231458"/>
                      <a:pt x="52388" y="232410"/>
                    </a:cubicBezTo>
                    <a:cubicBezTo>
                      <a:pt x="50482" y="233363"/>
                      <a:pt x="47625" y="234315"/>
                      <a:pt x="45720" y="235267"/>
                    </a:cubicBezTo>
                    <a:cubicBezTo>
                      <a:pt x="45720" y="235267"/>
                      <a:pt x="45720" y="235267"/>
                      <a:pt x="45720" y="235267"/>
                    </a:cubicBezTo>
                    <a:cubicBezTo>
                      <a:pt x="45720" y="235267"/>
                      <a:pt x="44768" y="235267"/>
                      <a:pt x="44768" y="235267"/>
                    </a:cubicBezTo>
                    <a:cubicBezTo>
                      <a:pt x="42863" y="236220"/>
                      <a:pt x="40957" y="238125"/>
                      <a:pt x="40005" y="239078"/>
                    </a:cubicBezTo>
                    <a:cubicBezTo>
                      <a:pt x="40005" y="239078"/>
                      <a:pt x="40005" y="239078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7148" y="241935"/>
                      <a:pt x="37148" y="241935"/>
                    </a:cubicBezTo>
                    <a:cubicBezTo>
                      <a:pt x="37148" y="241935"/>
                      <a:pt x="37148" y="242888"/>
                      <a:pt x="36195" y="242888"/>
                    </a:cubicBezTo>
                    <a:cubicBezTo>
                      <a:pt x="36195" y="242888"/>
                      <a:pt x="35243" y="242888"/>
                      <a:pt x="35243" y="242888"/>
                    </a:cubicBezTo>
                    <a:cubicBezTo>
                      <a:pt x="35243" y="242888"/>
                      <a:pt x="35243" y="242888"/>
                      <a:pt x="35243" y="242888"/>
                    </a:cubicBezTo>
                    <a:cubicBezTo>
                      <a:pt x="35243" y="242888"/>
                      <a:pt x="34290" y="242888"/>
                      <a:pt x="34290" y="242888"/>
                    </a:cubicBezTo>
                    <a:cubicBezTo>
                      <a:pt x="34290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2385" y="243840"/>
                      <a:pt x="32385" y="243840"/>
                      <a:pt x="31432" y="244792"/>
                    </a:cubicBezTo>
                    <a:cubicBezTo>
                      <a:pt x="30480" y="245745"/>
                      <a:pt x="29527" y="246698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8603"/>
                    </a:cubicBezTo>
                    <a:lnTo>
                      <a:pt x="28575" y="248603"/>
                    </a:ln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7650"/>
                      <a:pt x="28575" y="247650"/>
                    </a:cubicBezTo>
                    <a:lnTo>
                      <a:pt x="28575" y="247650"/>
                    </a:ln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9527" y="246698"/>
                      <a:pt x="29527" y="246698"/>
                      <a:pt x="30480" y="245745"/>
                    </a:cubicBezTo>
                    <a:cubicBezTo>
                      <a:pt x="30480" y="245745"/>
                      <a:pt x="30480" y="245745"/>
                      <a:pt x="30480" y="245745"/>
                    </a:cubicBezTo>
                    <a:cubicBezTo>
                      <a:pt x="30480" y="245745"/>
                      <a:pt x="30480" y="245745"/>
                      <a:pt x="31432" y="244792"/>
                    </a:cubicBezTo>
                    <a:cubicBezTo>
                      <a:pt x="31432" y="244792"/>
                      <a:pt x="32385" y="243840"/>
                      <a:pt x="32385" y="243840"/>
                    </a:cubicBezTo>
                    <a:cubicBezTo>
                      <a:pt x="32385" y="243840"/>
                      <a:pt x="32385" y="243840"/>
                      <a:pt x="32385" y="243840"/>
                    </a:cubicBezTo>
                    <a:cubicBezTo>
                      <a:pt x="33338" y="242888"/>
                      <a:pt x="33338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5243" y="240983"/>
                      <a:pt x="35243" y="240983"/>
                    </a:cubicBezTo>
                    <a:cubicBezTo>
                      <a:pt x="35243" y="240983"/>
                      <a:pt x="35243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8125"/>
                    </a:cubicBezTo>
                    <a:cubicBezTo>
                      <a:pt x="37148" y="238125"/>
                      <a:pt x="37148" y="238125"/>
                      <a:pt x="37148" y="238125"/>
                    </a:cubicBezTo>
                    <a:cubicBezTo>
                      <a:pt x="37148" y="238125"/>
                      <a:pt x="37148" y="237173"/>
                      <a:pt x="37148" y="237173"/>
                    </a:cubicBezTo>
                    <a:cubicBezTo>
                      <a:pt x="37148" y="237173"/>
                      <a:pt x="37148" y="237173"/>
                      <a:pt x="37148" y="237173"/>
                    </a:cubicBezTo>
                    <a:cubicBezTo>
                      <a:pt x="38100" y="236220"/>
                      <a:pt x="38100" y="235267"/>
                      <a:pt x="39052" y="234315"/>
                    </a:cubicBezTo>
                    <a:cubicBezTo>
                      <a:pt x="39052" y="234315"/>
                      <a:pt x="39052" y="234315"/>
                      <a:pt x="39052" y="234315"/>
                    </a:cubicBezTo>
                    <a:cubicBezTo>
                      <a:pt x="38100" y="234315"/>
                      <a:pt x="38100" y="235267"/>
                      <a:pt x="37148" y="236220"/>
                    </a:cubicBezTo>
                    <a:cubicBezTo>
                      <a:pt x="36195" y="236220"/>
                      <a:pt x="35243" y="236220"/>
                      <a:pt x="36195" y="235267"/>
                    </a:cubicBezTo>
                    <a:cubicBezTo>
                      <a:pt x="36195" y="235267"/>
                      <a:pt x="37148" y="234315"/>
                      <a:pt x="37148" y="234315"/>
                    </a:cubicBezTo>
                    <a:cubicBezTo>
                      <a:pt x="37148" y="234315"/>
                      <a:pt x="37148" y="234315"/>
                      <a:pt x="37148" y="234315"/>
                    </a:cubicBezTo>
                    <a:cubicBezTo>
                      <a:pt x="38100" y="233363"/>
                      <a:pt x="39052" y="232410"/>
                      <a:pt x="40005" y="231458"/>
                    </a:cubicBezTo>
                    <a:cubicBezTo>
                      <a:pt x="40957" y="231458"/>
                      <a:pt x="40957" y="230505"/>
                      <a:pt x="41910" y="230505"/>
                    </a:cubicBezTo>
                    <a:cubicBezTo>
                      <a:pt x="41910" y="230505"/>
                      <a:pt x="41910" y="230505"/>
                      <a:pt x="41910" y="230505"/>
                    </a:cubicBezTo>
                    <a:cubicBezTo>
                      <a:pt x="41910" y="230505"/>
                      <a:pt x="42863" y="229553"/>
                      <a:pt x="42863" y="229553"/>
                    </a:cubicBezTo>
                    <a:cubicBezTo>
                      <a:pt x="42863" y="229553"/>
                      <a:pt x="42863" y="229553"/>
                      <a:pt x="42863" y="229553"/>
                    </a:cubicBezTo>
                    <a:cubicBezTo>
                      <a:pt x="47625" y="224790"/>
                      <a:pt x="56198" y="224790"/>
                      <a:pt x="62865" y="221933"/>
                    </a:cubicBezTo>
                    <a:cubicBezTo>
                      <a:pt x="65723" y="220980"/>
                      <a:pt x="68580" y="222885"/>
                      <a:pt x="71438" y="221933"/>
                    </a:cubicBezTo>
                    <a:cubicBezTo>
                      <a:pt x="73343" y="221933"/>
                      <a:pt x="74295" y="221933"/>
                      <a:pt x="76200" y="222885"/>
                    </a:cubicBezTo>
                    <a:cubicBezTo>
                      <a:pt x="66675" y="222885"/>
                      <a:pt x="62865" y="225742"/>
                      <a:pt x="58102" y="228600"/>
                    </a:cubicBezTo>
                    <a:moveTo>
                      <a:pt x="68580" y="193358"/>
                    </a:moveTo>
                    <a:cubicBezTo>
                      <a:pt x="67627" y="192405"/>
                      <a:pt x="70485" y="193358"/>
                      <a:pt x="70485" y="192405"/>
                    </a:cubicBezTo>
                    <a:lnTo>
                      <a:pt x="66675" y="192405"/>
                    </a:lnTo>
                    <a:cubicBezTo>
                      <a:pt x="65723" y="192405"/>
                      <a:pt x="65723" y="191453"/>
                      <a:pt x="65723" y="191453"/>
                    </a:cubicBezTo>
                    <a:cubicBezTo>
                      <a:pt x="62865" y="192405"/>
                      <a:pt x="60007" y="193358"/>
                      <a:pt x="57150" y="193358"/>
                    </a:cubicBezTo>
                    <a:cubicBezTo>
                      <a:pt x="53340" y="194310"/>
                      <a:pt x="50482" y="197167"/>
                      <a:pt x="46673" y="198120"/>
                    </a:cubicBezTo>
                    <a:cubicBezTo>
                      <a:pt x="40957" y="200025"/>
                      <a:pt x="36195" y="204788"/>
                      <a:pt x="30480" y="206692"/>
                    </a:cubicBezTo>
                    <a:cubicBezTo>
                      <a:pt x="29527" y="206692"/>
                      <a:pt x="29527" y="205740"/>
                      <a:pt x="29527" y="205740"/>
                    </a:cubicBezTo>
                    <a:cubicBezTo>
                      <a:pt x="30480" y="203835"/>
                      <a:pt x="32385" y="203835"/>
                      <a:pt x="33338" y="201930"/>
                    </a:cubicBezTo>
                    <a:cubicBezTo>
                      <a:pt x="33338" y="200978"/>
                      <a:pt x="33338" y="200978"/>
                      <a:pt x="32385" y="200978"/>
                    </a:cubicBezTo>
                    <a:cubicBezTo>
                      <a:pt x="36195" y="195263"/>
                      <a:pt x="41910" y="192405"/>
                      <a:pt x="47625" y="187642"/>
                    </a:cubicBezTo>
                    <a:lnTo>
                      <a:pt x="47625" y="185738"/>
                    </a:lnTo>
                    <a:cubicBezTo>
                      <a:pt x="49530" y="183833"/>
                      <a:pt x="51435" y="182880"/>
                      <a:pt x="52388" y="180023"/>
                    </a:cubicBezTo>
                    <a:cubicBezTo>
                      <a:pt x="53340" y="178117"/>
                      <a:pt x="55245" y="176213"/>
                      <a:pt x="57150" y="175260"/>
                    </a:cubicBezTo>
                    <a:cubicBezTo>
                      <a:pt x="56198" y="174308"/>
                      <a:pt x="55245" y="174308"/>
                      <a:pt x="55245" y="173355"/>
                    </a:cubicBezTo>
                    <a:cubicBezTo>
                      <a:pt x="53340" y="173355"/>
                      <a:pt x="51435" y="174308"/>
                      <a:pt x="49530" y="172403"/>
                    </a:cubicBezTo>
                    <a:cubicBezTo>
                      <a:pt x="50482" y="171450"/>
                      <a:pt x="51435" y="170498"/>
                      <a:pt x="52388" y="170498"/>
                    </a:cubicBezTo>
                    <a:cubicBezTo>
                      <a:pt x="52388" y="170498"/>
                      <a:pt x="51435" y="170498"/>
                      <a:pt x="51435" y="169545"/>
                    </a:cubicBezTo>
                    <a:cubicBezTo>
                      <a:pt x="50482" y="168592"/>
                      <a:pt x="52388" y="167640"/>
                      <a:pt x="54293" y="166688"/>
                    </a:cubicBezTo>
                    <a:cubicBezTo>
                      <a:pt x="56198" y="165735"/>
                      <a:pt x="59055" y="165735"/>
                      <a:pt x="60007" y="164783"/>
                    </a:cubicBezTo>
                    <a:cubicBezTo>
                      <a:pt x="56198" y="163830"/>
                      <a:pt x="52388" y="165735"/>
                      <a:pt x="48577" y="163830"/>
                    </a:cubicBezTo>
                    <a:cubicBezTo>
                      <a:pt x="51435" y="157163"/>
                      <a:pt x="55245" y="151448"/>
                      <a:pt x="60960" y="148590"/>
                    </a:cubicBezTo>
                    <a:cubicBezTo>
                      <a:pt x="61913" y="148590"/>
                      <a:pt x="62865" y="148590"/>
                      <a:pt x="62865" y="149542"/>
                    </a:cubicBezTo>
                    <a:cubicBezTo>
                      <a:pt x="62865" y="152400"/>
                      <a:pt x="60960" y="154305"/>
                      <a:pt x="59055" y="154305"/>
                    </a:cubicBezTo>
                    <a:cubicBezTo>
                      <a:pt x="62865" y="155258"/>
                      <a:pt x="67627" y="155258"/>
                      <a:pt x="71438" y="157163"/>
                    </a:cubicBezTo>
                    <a:cubicBezTo>
                      <a:pt x="70485" y="158115"/>
                      <a:pt x="69532" y="158115"/>
                      <a:pt x="69532" y="158115"/>
                    </a:cubicBezTo>
                    <a:cubicBezTo>
                      <a:pt x="72390" y="160020"/>
                      <a:pt x="75248" y="159067"/>
                      <a:pt x="78105" y="160973"/>
                    </a:cubicBezTo>
                    <a:cubicBezTo>
                      <a:pt x="76200" y="162878"/>
                      <a:pt x="75248" y="160973"/>
                      <a:pt x="73343" y="160973"/>
                    </a:cubicBezTo>
                    <a:cubicBezTo>
                      <a:pt x="89535" y="165735"/>
                      <a:pt x="105727" y="169545"/>
                      <a:pt x="119063" y="179070"/>
                    </a:cubicBezTo>
                    <a:cubicBezTo>
                      <a:pt x="107632" y="184785"/>
                      <a:pt x="96202" y="187642"/>
                      <a:pt x="83820" y="189548"/>
                    </a:cubicBezTo>
                    <a:cubicBezTo>
                      <a:pt x="81915" y="189548"/>
                      <a:pt x="80963" y="189548"/>
                      <a:pt x="80010" y="188595"/>
                    </a:cubicBezTo>
                    <a:cubicBezTo>
                      <a:pt x="80010" y="189548"/>
                      <a:pt x="80010" y="190500"/>
                      <a:pt x="79057" y="190500"/>
                    </a:cubicBezTo>
                    <a:cubicBezTo>
                      <a:pt x="77152" y="190500"/>
                      <a:pt x="75248" y="190500"/>
                      <a:pt x="74295" y="191453"/>
                    </a:cubicBezTo>
                    <a:cubicBezTo>
                      <a:pt x="73343" y="194310"/>
                      <a:pt x="70485" y="194310"/>
                      <a:pt x="68580" y="193358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6" name="Forme libre : forme 15">
                <a:extLst>
                  <a:ext uri="{FF2B5EF4-FFF2-40B4-BE49-F238E27FC236}">
                    <a16:creationId xmlns:a16="http://schemas.microsoft.com/office/drawing/2014/main" id="{D8D3202E-8F82-4420-97EA-F8CC611573DC}"/>
                  </a:ext>
                </a:extLst>
              </p:cNvPr>
              <p:cNvSpPr/>
              <p:nvPr/>
            </p:nvSpPr>
            <p:spPr>
              <a:xfrm>
                <a:off x="270509" y="270509"/>
                <a:ext cx="349567" cy="269557"/>
              </a:xfrm>
              <a:custGeom>
                <a:avLst/>
                <a:gdLst>
                  <a:gd name="connsiteX0" fmla="*/ 306705 w 349567"/>
                  <a:gd name="connsiteY0" fmla="*/ 237173 h 269557"/>
                  <a:gd name="connsiteX1" fmla="*/ 315278 w 349567"/>
                  <a:gd name="connsiteY1" fmla="*/ 227648 h 269557"/>
                  <a:gd name="connsiteX2" fmla="*/ 315278 w 349567"/>
                  <a:gd name="connsiteY2" fmla="*/ 227648 h 269557"/>
                  <a:gd name="connsiteX3" fmla="*/ 332423 w 349567"/>
                  <a:gd name="connsiteY3" fmla="*/ 210503 h 269557"/>
                  <a:gd name="connsiteX4" fmla="*/ 338138 w 349567"/>
                  <a:gd name="connsiteY4" fmla="*/ 205740 h 269557"/>
                  <a:gd name="connsiteX5" fmla="*/ 339090 w 349567"/>
                  <a:gd name="connsiteY5" fmla="*/ 203835 h 269557"/>
                  <a:gd name="connsiteX6" fmla="*/ 332423 w 349567"/>
                  <a:gd name="connsiteY6" fmla="*/ 207645 h 269557"/>
                  <a:gd name="connsiteX7" fmla="*/ 331470 w 349567"/>
                  <a:gd name="connsiteY7" fmla="*/ 206692 h 269557"/>
                  <a:gd name="connsiteX8" fmla="*/ 337185 w 349567"/>
                  <a:gd name="connsiteY8" fmla="*/ 202883 h 269557"/>
                  <a:gd name="connsiteX9" fmla="*/ 337185 w 349567"/>
                  <a:gd name="connsiteY9" fmla="*/ 202883 h 269557"/>
                  <a:gd name="connsiteX10" fmla="*/ 336233 w 349567"/>
                  <a:gd name="connsiteY10" fmla="*/ 201930 h 269557"/>
                  <a:gd name="connsiteX11" fmla="*/ 320040 w 349567"/>
                  <a:gd name="connsiteY11" fmla="*/ 210503 h 269557"/>
                  <a:gd name="connsiteX12" fmla="*/ 317183 w 349567"/>
                  <a:gd name="connsiteY12" fmla="*/ 209550 h 269557"/>
                  <a:gd name="connsiteX13" fmla="*/ 296228 w 349567"/>
                  <a:gd name="connsiteY13" fmla="*/ 221933 h 269557"/>
                  <a:gd name="connsiteX14" fmla="*/ 296228 w 349567"/>
                  <a:gd name="connsiteY14" fmla="*/ 220980 h 269557"/>
                  <a:gd name="connsiteX15" fmla="*/ 286703 w 349567"/>
                  <a:gd name="connsiteY15" fmla="*/ 224790 h 269557"/>
                  <a:gd name="connsiteX16" fmla="*/ 274320 w 349567"/>
                  <a:gd name="connsiteY16" fmla="*/ 225742 h 269557"/>
                  <a:gd name="connsiteX17" fmla="*/ 256223 w 349567"/>
                  <a:gd name="connsiteY17" fmla="*/ 228600 h 269557"/>
                  <a:gd name="connsiteX18" fmla="*/ 255270 w 349567"/>
                  <a:gd name="connsiteY18" fmla="*/ 228600 h 269557"/>
                  <a:gd name="connsiteX19" fmla="*/ 245745 w 349567"/>
                  <a:gd name="connsiteY19" fmla="*/ 232410 h 269557"/>
                  <a:gd name="connsiteX20" fmla="*/ 245745 w 349567"/>
                  <a:gd name="connsiteY20" fmla="*/ 232410 h 269557"/>
                  <a:gd name="connsiteX21" fmla="*/ 244792 w 349567"/>
                  <a:gd name="connsiteY21" fmla="*/ 233363 h 269557"/>
                  <a:gd name="connsiteX22" fmla="*/ 240983 w 349567"/>
                  <a:gd name="connsiteY22" fmla="*/ 236220 h 269557"/>
                  <a:gd name="connsiteX23" fmla="*/ 232410 w 349567"/>
                  <a:gd name="connsiteY23" fmla="*/ 242888 h 269557"/>
                  <a:gd name="connsiteX24" fmla="*/ 231458 w 349567"/>
                  <a:gd name="connsiteY24" fmla="*/ 242888 h 269557"/>
                  <a:gd name="connsiteX25" fmla="*/ 222885 w 349567"/>
                  <a:gd name="connsiteY25" fmla="*/ 250508 h 269557"/>
                  <a:gd name="connsiteX26" fmla="*/ 220980 w 349567"/>
                  <a:gd name="connsiteY26" fmla="*/ 250508 h 269557"/>
                  <a:gd name="connsiteX27" fmla="*/ 220980 w 349567"/>
                  <a:gd name="connsiteY27" fmla="*/ 250508 h 269557"/>
                  <a:gd name="connsiteX28" fmla="*/ 220980 w 349567"/>
                  <a:gd name="connsiteY28" fmla="*/ 249555 h 269557"/>
                  <a:gd name="connsiteX29" fmla="*/ 221933 w 349567"/>
                  <a:gd name="connsiteY29" fmla="*/ 247650 h 269557"/>
                  <a:gd name="connsiteX30" fmla="*/ 223838 w 349567"/>
                  <a:gd name="connsiteY30" fmla="*/ 245745 h 269557"/>
                  <a:gd name="connsiteX31" fmla="*/ 225742 w 349567"/>
                  <a:gd name="connsiteY31" fmla="*/ 242888 h 269557"/>
                  <a:gd name="connsiteX32" fmla="*/ 225742 w 349567"/>
                  <a:gd name="connsiteY32" fmla="*/ 241935 h 269557"/>
                  <a:gd name="connsiteX33" fmla="*/ 224790 w 349567"/>
                  <a:gd name="connsiteY33" fmla="*/ 241935 h 269557"/>
                  <a:gd name="connsiteX34" fmla="*/ 233363 w 349567"/>
                  <a:gd name="connsiteY34" fmla="*/ 235267 h 269557"/>
                  <a:gd name="connsiteX35" fmla="*/ 233363 w 349567"/>
                  <a:gd name="connsiteY35" fmla="*/ 235267 h 269557"/>
                  <a:gd name="connsiteX36" fmla="*/ 232410 w 349567"/>
                  <a:gd name="connsiteY36" fmla="*/ 234315 h 269557"/>
                  <a:gd name="connsiteX37" fmla="*/ 233363 w 349567"/>
                  <a:gd name="connsiteY37" fmla="*/ 233363 h 269557"/>
                  <a:gd name="connsiteX38" fmla="*/ 233363 w 349567"/>
                  <a:gd name="connsiteY38" fmla="*/ 233363 h 269557"/>
                  <a:gd name="connsiteX39" fmla="*/ 233363 w 349567"/>
                  <a:gd name="connsiteY39" fmla="*/ 233363 h 269557"/>
                  <a:gd name="connsiteX40" fmla="*/ 233363 w 349567"/>
                  <a:gd name="connsiteY40" fmla="*/ 234315 h 269557"/>
                  <a:gd name="connsiteX41" fmla="*/ 229553 w 349567"/>
                  <a:gd name="connsiteY41" fmla="*/ 237173 h 269557"/>
                  <a:gd name="connsiteX42" fmla="*/ 228600 w 349567"/>
                  <a:gd name="connsiteY42" fmla="*/ 237173 h 269557"/>
                  <a:gd name="connsiteX43" fmla="*/ 227648 w 349567"/>
                  <a:gd name="connsiteY43" fmla="*/ 237173 h 269557"/>
                  <a:gd name="connsiteX44" fmla="*/ 227648 w 349567"/>
                  <a:gd name="connsiteY44" fmla="*/ 237173 h 269557"/>
                  <a:gd name="connsiteX45" fmla="*/ 227648 w 349567"/>
                  <a:gd name="connsiteY45" fmla="*/ 237173 h 269557"/>
                  <a:gd name="connsiteX46" fmla="*/ 227648 w 349567"/>
                  <a:gd name="connsiteY46" fmla="*/ 237173 h 269557"/>
                  <a:gd name="connsiteX47" fmla="*/ 227648 w 349567"/>
                  <a:gd name="connsiteY47" fmla="*/ 237173 h 269557"/>
                  <a:gd name="connsiteX48" fmla="*/ 227648 w 349567"/>
                  <a:gd name="connsiteY48" fmla="*/ 237173 h 269557"/>
                  <a:gd name="connsiteX49" fmla="*/ 227648 w 349567"/>
                  <a:gd name="connsiteY49" fmla="*/ 237173 h 269557"/>
                  <a:gd name="connsiteX50" fmla="*/ 227648 w 349567"/>
                  <a:gd name="connsiteY50" fmla="*/ 236220 h 269557"/>
                  <a:gd name="connsiteX51" fmla="*/ 227648 w 349567"/>
                  <a:gd name="connsiteY51" fmla="*/ 236220 h 269557"/>
                  <a:gd name="connsiteX52" fmla="*/ 228600 w 349567"/>
                  <a:gd name="connsiteY52" fmla="*/ 235267 h 269557"/>
                  <a:gd name="connsiteX53" fmla="*/ 228600 w 349567"/>
                  <a:gd name="connsiteY53" fmla="*/ 234315 h 269557"/>
                  <a:gd name="connsiteX54" fmla="*/ 229553 w 349567"/>
                  <a:gd name="connsiteY54" fmla="*/ 233363 h 269557"/>
                  <a:gd name="connsiteX55" fmla="*/ 229553 w 349567"/>
                  <a:gd name="connsiteY55" fmla="*/ 232410 h 269557"/>
                  <a:gd name="connsiteX56" fmla="*/ 233363 w 349567"/>
                  <a:gd name="connsiteY56" fmla="*/ 229553 h 269557"/>
                  <a:gd name="connsiteX57" fmla="*/ 233363 w 349567"/>
                  <a:gd name="connsiteY57" fmla="*/ 229553 h 269557"/>
                  <a:gd name="connsiteX58" fmla="*/ 239078 w 349567"/>
                  <a:gd name="connsiteY58" fmla="*/ 226695 h 269557"/>
                  <a:gd name="connsiteX59" fmla="*/ 240030 w 349567"/>
                  <a:gd name="connsiteY59" fmla="*/ 225742 h 269557"/>
                  <a:gd name="connsiteX60" fmla="*/ 231458 w 349567"/>
                  <a:gd name="connsiteY60" fmla="*/ 229553 h 269557"/>
                  <a:gd name="connsiteX61" fmla="*/ 230505 w 349567"/>
                  <a:gd name="connsiteY61" fmla="*/ 229553 h 269557"/>
                  <a:gd name="connsiteX62" fmla="*/ 229553 w 349567"/>
                  <a:gd name="connsiteY62" fmla="*/ 229553 h 269557"/>
                  <a:gd name="connsiteX63" fmla="*/ 229553 w 349567"/>
                  <a:gd name="connsiteY63" fmla="*/ 229553 h 269557"/>
                  <a:gd name="connsiteX64" fmla="*/ 232410 w 349567"/>
                  <a:gd name="connsiteY64" fmla="*/ 226695 h 269557"/>
                  <a:gd name="connsiteX65" fmla="*/ 233363 w 349567"/>
                  <a:gd name="connsiteY65" fmla="*/ 227648 h 269557"/>
                  <a:gd name="connsiteX66" fmla="*/ 291465 w 349567"/>
                  <a:gd name="connsiteY66" fmla="*/ 211455 h 269557"/>
                  <a:gd name="connsiteX67" fmla="*/ 296228 w 349567"/>
                  <a:gd name="connsiteY67" fmla="*/ 208598 h 269557"/>
                  <a:gd name="connsiteX68" fmla="*/ 303848 w 349567"/>
                  <a:gd name="connsiteY68" fmla="*/ 203835 h 269557"/>
                  <a:gd name="connsiteX69" fmla="*/ 312420 w 349567"/>
                  <a:gd name="connsiteY69" fmla="*/ 192405 h 269557"/>
                  <a:gd name="connsiteX70" fmla="*/ 311468 w 349567"/>
                  <a:gd name="connsiteY70" fmla="*/ 191453 h 269557"/>
                  <a:gd name="connsiteX71" fmla="*/ 288608 w 349567"/>
                  <a:gd name="connsiteY71" fmla="*/ 208598 h 269557"/>
                  <a:gd name="connsiteX72" fmla="*/ 255270 w 349567"/>
                  <a:gd name="connsiteY72" fmla="*/ 214313 h 269557"/>
                  <a:gd name="connsiteX73" fmla="*/ 258128 w 349567"/>
                  <a:gd name="connsiteY73" fmla="*/ 213360 h 269557"/>
                  <a:gd name="connsiteX74" fmla="*/ 260033 w 349567"/>
                  <a:gd name="connsiteY74" fmla="*/ 210503 h 269557"/>
                  <a:gd name="connsiteX75" fmla="*/ 261938 w 349567"/>
                  <a:gd name="connsiteY75" fmla="*/ 210503 h 269557"/>
                  <a:gd name="connsiteX76" fmla="*/ 262890 w 349567"/>
                  <a:gd name="connsiteY76" fmla="*/ 209550 h 269557"/>
                  <a:gd name="connsiteX77" fmla="*/ 264795 w 349567"/>
                  <a:gd name="connsiteY77" fmla="*/ 208598 h 269557"/>
                  <a:gd name="connsiteX78" fmla="*/ 257175 w 349567"/>
                  <a:gd name="connsiteY78" fmla="*/ 208598 h 269557"/>
                  <a:gd name="connsiteX79" fmla="*/ 259080 w 349567"/>
                  <a:gd name="connsiteY79" fmla="*/ 205740 h 269557"/>
                  <a:gd name="connsiteX80" fmla="*/ 260985 w 349567"/>
                  <a:gd name="connsiteY80" fmla="*/ 205740 h 269557"/>
                  <a:gd name="connsiteX81" fmla="*/ 261938 w 349567"/>
                  <a:gd name="connsiteY81" fmla="*/ 203835 h 269557"/>
                  <a:gd name="connsiteX82" fmla="*/ 283845 w 349567"/>
                  <a:gd name="connsiteY82" fmla="*/ 191453 h 269557"/>
                  <a:gd name="connsiteX83" fmla="*/ 280035 w 349567"/>
                  <a:gd name="connsiteY83" fmla="*/ 192405 h 269557"/>
                  <a:gd name="connsiteX84" fmla="*/ 280988 w 349567"/>
                  <a:gd name="connsiteY84" fmla="*/ 190500 h 269557"/>
                  <a:gd name="connsiteX85" fmla="*/ 297180 w 349567"/>
                  <a:gd name="connsiteY85" fmla="*/ 183833 h 269557"/>
                  <a:gd name="connsiteX86" fmla="*/ 291465 w 349567"/>
                  <a:gd name="connsiteY86" fmla="*/ 183833 h 269557"/>
                  <a:gd name="connsiteX87" fmla="*/ 294323 w 349567"/>
                  <a:gd name="connsiteY87" fmla="*/ 181928 h 269557"/>
                  <a:gd name="connsiteX88" fmla="*/ 294323 w 349567"/>
                  <a:gd name="connsiteY88" fmla="*/ 180023 h 269557"/>
                  <a:gd name="connsiteX89" fmla="*/ 295275 w 349567"/>
                  <a:gd name="connsiteY89" fmla="*/ 179070 h 269557"/>
                  <a:gd name="connsiteX90" fmla="*/ 294323 w 349567"/>
                  <a:gd name="connsiteY90" fmla="*/ 178117 h 269557"/>
                  <a:gd name="connsiteX91" fmla="*/ 297180 w 349567"/>
                  <a:gd name="connsiteY91" fmla="*/ 176213 h 269557"/>
                  <a:gd name="connsiteX92" fmla="*/ 295275 w 349567"/>
                  <a:gd name="connsiteY92" fmla="*/ 175260 h 269557"/>
                  <a:gd name="connsiteX93" fmla="*/ 301943 w 349567"/>
                  <a:gd name="connsiteY93" fmla="*/ 172403 h 269557"/>
                  <a:gd name="connsiteX94" fmla="*/ 300038 w 349567"/>
                  <a:gd name="connsiteY94" fmla="*/ 171450 h 269557"/>
                  <a:gd name="connsiteX95" fmla="*/ 300990 w 349567"/>
                  <a:gd name="connsiteY95" fmla="*/ 170498 h 269557"/>
                  <a:gd name="connsiteX96" fmla="*/ 300990 w 349567"/>
                  <a:gd name="connsiteY96" fmla="*/ 170498 h 269557"/>
                  <a:gd name="connsiteX97" fmla="*/ 300038 w 349567"/>
                  <a:gd name="connsiteY97" fmla="*/ 168592 h 269557"/>
                  <a:gd name="connsiteX98" fmla="*/ 304800 w 349567"/>
                  <a:gd name="connsiteY98" fmla="*/ 156210 h 269557"/>
                  <a:gd name="connsiteX99" fmla="*/ 303848 w 349567"/>
                  <a:gd name="connsiteY99" fmla="*/ 155258 h 269557"/>
                  <a:gd name="connsiteX100" fmla="*/ 282893 w 349567"/>
                  <a:gd name="connsiteY100" fmla="*/ 164783 h 269557"/>
                  <a:gd name="connsiteX101" fmla="*/ 280035 w 349567"/>
                  <a:gd name="connsiteY101" fmla="*/ 164783 h 269557"/>
                  <a:gd name="connsiteX102" fmla="*/ 271463 w 349567"/>
                  <a:gd name="connsiteY102" fmla="*/ 163830 h 269557"/>
                  <a:gd name="connsiteX103" fmla="*/ 266700 w 349567"/>
                  <a:gd name="connsiteY103" fmla="*/ 160020 h 269557"/>
                  <a:gd name="connsiteX104" fmla="*/ 254317 w 349567"/>
                  <a:gd name="connsiteY104" fmla="*/ 154305 h 269557"/>
                  <a:gd name="connsiteX105" fmla="*/ 215265 w 349567"/>
                  <a:gd name="connsiteY105" fmla="*/ 148590 h 269557"/>
                  <a:gd name="connsiteX106" fmla="*/ 233363 w 349567"/>
                  <a:gd name="connsiteY106" fmla="*/ 143828 h 269557"/>
                  <a:gd name="connsiteX107" fmla="*/ 259080 w 349567"/>
                  <a:gd name="connsiteY107" fmla="*/ 139065 h 269557"/>
                  <a:gd name="connsiteX108" fmla="*/ 254317 w 349567"/>
                  <a:gd name="connsiteY108" fmla="*/ 139065 h 269557"/>
                  <a:gd name="connsiteX109" fmla="*/ 232410 w 349567"/>
                  <a:gd name="connsiteY109" fmla="*/ 141923 h 269557"/>
                  <a:gd name="connsiteX110" fmla="*/ 217170 w 349567"/>
                  <a:gd name="connsiteY110" fmla="*/ 145733 h 269557"/>
                  <a:gd name="connsiteX111" fmla="*/ 208598 w 349567"/>
                  <a:gd name="connsiteY111" fmla="*/ 149542 h 269557"/>
                  <a:gd name="connsiteX112" fmla="*/ 208598 w 349567"/>
                  <a:gd name="connsiteY112" fmla="*/ 147638 h 269557"/>
                  <a:gd name="connsiteX113" fmla="*/ 227648 w 349567"/>
                  <a:gd name="connsiteY113" fmla="*/ 135255 h 269557"/>
                  <a:gd name="connsiteX114" fmla="*/ 254317 w 349567"/>
                  <a:gd name="connsiteY114" fmla="*/ 136208 h 269557"/>
                  <a:gd name="connsiteX115" fmla="*/ 273368 w 349567"/>
                  <a:gd name="connsiteY115" fmla="*/ 140017 h 269557"/>
                  <a:gd name="connsiteX116" fmla="*/ 278130 w 349567"/>
                  <a:gd name="connsiteY116" fmla="*/ 144780 h 269557"/>
                  <a:gd name="connsiteX117" fmla="*/ 287655 w 349567"/>
                  <a:gd name="connsiteY117" fmla="*/ 146685 h 269557"/>
                  <a:gd name="connsiteX118" fmla="*/ 287655 w 349567"/>
                  <a:gd name="connsiteY118" fmla="*/ 143828 h 269557"/>
                  <a:gd name="connsiteX119" fmla="*/ 294323 w 349567"/>
                  <a:gd name="connsiteY119" fmla="*/ 142875 h 269557"/>
                  <a:gd name="connsiteX120" fmla="*/ 288608 w 349567"/>
                  <a:gd name="connsiteY120" fmla="*/ 132398 h 269557"/>
                  <a:gd name="connsiteX121" fmla="*/ 289560 w 349567"/>
                  <a:gd name="connsiteY121" fmla="*/ 131445 h 269557"/>
                  <a:gd name="connsiteX122" fmla="*/ 301943 w 349567"/>
                  <a:gd name="connsiteY122" fmla="*/ 141923 h 269557"/>
                  <a:gd name="connsiteX123" fmla="*/ 309563 w 349567"/>
                  <a:gd name="connsiteY123" fmla="*/ 140970 h 269557"/>
                  <a:gd name="connsiteX124" fmla="*/ 298133 w 349567"/>
                  <a:gd name="connsiteY124" fmla="*/ 125730 h 269557"/>
                  <a:gd name="connsiteX125" fmla="*/ 298133 w 349567"/>
                  <a:gd name="connsiteY125" fmla="*/ 123825 h 269557"/>
                  <a:gd name="connsiteX126" fmla="*/ 296228 w 349567"/>
                  <a:gd name="connsiteY126" fmla="*/ 122873 h 269557"/>
                  <a:gd name="connsiteX127" fmla="*/ 296228 w 349567"/>
                  <a:gd name="connsiteY127" fmla="*/ 120015 h 269557"/>
                  <a:gd name="connsiteX128" fmla="*/ 293370 w 349567"/>
                  <a:gd name="connsiteY128" fmla="*/ 115253 h 269557"/>
                  <a:gd name="connsiteX129" fmla="*/ 291465 w 349567"/>
                  <a:gd name="connsiteY129" fmla="*/ 105728 h 269557"/>
                  <a:gd name="connsiteX130" fmla="*/ 290513 w 349567"/>
                  <a:gd name="connsiteY130" fmla="*/ 98108 h 269557"/>
                  <a:gd name="connsiteX131" fmla="*/ 285750 w 349567"/>
                  <a:gd name="connsiteY131" fmla="*/ 73342 h 269557"/>
                  <a:gd name="connsiteX132" fmla="*/ 296228 w 349567"/>
                  <a:gd name="connsiteY132" fmla="*/ 47625 h 269557"/>
                  <a:gd name="connsiteX133" fmla="*/ 310515 w 349567"/>
                  <a:gd name="connsiteY133" fmla="*/ 31433 h 269557"/>
                  <a:gd name="connsiteX134" fmla="*/ 320040 w 349567"/>
                  <a:gd name="connsiteY134" fmla="*/ 15240 h 269557"/>
                  <a:gd name="connsiteX135" fmla="*/ 336233 w 349567"/>
                  <a:gd name="connsiteY135" fmla="*/ 4763 h 269557"/>
                  <a:gd name="connsiteX136" fmla="*/ 349568 w 349567"/>
                  <a:gd name="connsiteY136" fmla="*/ 0 h 269557"/>
                  <a:gd name="connsiteX137" fmla="*/ 0 w 349567"/>
                  <a:gd name="connsiteY137" fmla="*/ 0 h 269557"/>
                  <a:gd name="connsiteX138" fmla="*/ 0 w 349567"/>
                  <a:gd name="connsiteY138" fmla="*/ 269558 h 269557"/>
                  <a:gd name="connsiteX139" fmla="*/ 247650 w 349567"/>
                  <a:gd name="connsiteY139" fmla="*/ 269558 h 269557"/>
                  <a:gd name="connsiteX140" fmla="*/ 280988 w 349567"/>
                  <a:gd name="connsiteY140" fmla="*/ 252413 h 269557"/>
                  <a:gd name="connsiteX141" fmla="*/ 306705 w 349567"/>
                  <a:gd name="connsiteY141" fmla="*/ 237173 h 269557"/>
                  <a:gd name="connsiteX142" fmla="*/ 227648 w 349567"/>
                  <a:gd name="connsiteY142" fmla="*/ 200978 h 269557"/>
                  <a:gd name="connsiteX143" fmla="*/ 224790 w 349567"/>
                  <a:gd name="connsiteY143" fmla="*/ 200025 h 269557"/>
                  <a:gd name="connsiteX144" fmla="*/ 230505 w 349567"/>
                  <a:gd name="connsiteY144" fmla="*/ 196215 h 269557"/>
                  <a:gd name="connsiteX145" fmla="*/ 234315 w 349567"/>
                  <a:gd name="connsiteY145" fmla="*/ 195263 h 269557"/>
                  <a:gd name="connsiteX146" fmla="*/ 238125 w 349567"/>
                  <a:gd name="connsiteY146" fmla="*/ 197167 h 269557"/>
                  <a:gd name="connsiteX147" fmla="*/ 227648 w 349567"/>
                  <a:gd name="connsiteY147" fmla="*/ 200978 h 269557"/>
                  <a:gd name="connsiteX148" fmla="*/ 149542 w 349567"/>
                  <a:gd name="connsiteY148" fmla="*/ 189548 h 269557"/>
                  <a:gd name="connsiteX149" fmla="*/ 148590 w 349567"/>
                  <a:gd name="connsiteY149" fmla="*/ 188595 h 269557"/>
                  <a:gd name="connsiteX150" fmla="*/ 164783 w 349567"/>
                  <a:gd name="connsiteY150" fmla="*/ 162878 h 269557"/>
                  <a:gd name="connsiteX151" fmla="*/ 181928 w 349567"/>
                  <a:gd name="connsiteY151" fmla="*/ 148590 h 269557"/>
                  <a:gd name="connsiteX152" fmla="*/ 210503 w 349567"/>
                  <a:gd name="connsiteY152" fmla="*/ 125730 h 269557"/>
                  <a:gd name="connsiteX153" fmla="*/ 223838 w 349567"/>
                  <a:gd name="connsiteY153" fmla="*/ 126683 h 269557"/>
                  <a:gd name="connsiteX154" fmla="*/ 218123 w 349567"/>
                  <a:gd name="connsiteY154" fmla="*/ 129540 h 269557"/>
                  <a:gd name="connsiteX155" fmla="*/ 216217 w 349567"/>
                  <a:gd name="connsiteY155" fmla="*/ 128588 h 269557"/>
                  <a:gd name="connsiteX156" fmla="*/ 217170 w 349567"/>
                  <a:gd name="connsiteY156" fmla="*/ 126683 h 269557"/>
                  <a:gd name="connsiteX157" fmla="*/ 200978 w 349567"/>
                  <a:gd name="connsiteY157" fmla="*/ 141923 h 269557"/>
                  <a:gd name="connsiteX158" fmla="*/ 189548 w 349567"/>
                  <a:gd name="connsiteY158" fmla="*/ 155258 h 269557"/>
                  <a:gd name="connsiteX159" fmla="*/ 188595 w 349567"/>
                  <a:gd name="connsiteY159" fmla="*/ 154305 h 269557"/>
                  <a:gd name="connsiteX160" fmla="*/ 149542 w 349567"/>
                  <a:gd name="connsiteY160" fmla="*/ 189548 h 269557"/>
                  <a:gd name="connsiteX161" fmla="*/ 192405 w 349567"/>
                  <a:gd name="connsiteY161" fmla="*/ 156210 h 269557"/>
                  <a:gd name="connsiteX162" fmla="*/ 190500 w 349567"/>
                  <a:gd name="connsiteY162" fmla="*/ 158115 h 269557"/>
                  <a:gd name="connsiteX163" fmla="*/ 188595 w 349567"/>
                  <a:gd name="connsiteY163" fmla="*/ 160020 h 269557"/>
                  <a:gd name="connsiteX164" fmla="*/ 187642 w 349567"/>
                  <a:gd name="connsiteY164" fmla="*/ 159067 h 269557"/>
                  <a:gd name="connsiteX165" fmla="*/ 191453 w 349567"/>
                  <a:gd name="connsiteY165" fmla="*/ 154305 h 269557"/>
                  <a:gd name="connsiteX166" fmla="*/ 192405 w 349567"/>
                  <a:gd name="connsiteY166" fmla="*/ 156210 h 269557"/>
                  <a:gd name="connsiteX167" fmla="*/ 216217 w 349567"/>
                  <a:gd name="connsiteY167" fmla="*/ 232410 h 269557"/>
                  <a:gd name="connsiteX168" fmla="*/ 215265 w 349567"/>
                  <a:gd name="connsiteY168" fmla="*/ 234315 h 269557"/>
                  <a:gd name="connsiteX169" fmla="*/ 216217 w 349567"/>
                  <a:gd name="connsiteY169" fmla="*/ 235267 h 269557"/>
                  <a:gd name="connsiteX170" fmla="*/ 212408 w 349567"/>
                  <a:gd name="connsiteY170" fmla="*/ 238125 h 269557"/>
                  <a:gd name="connsiteX171" fmla="*/ 211455 w 349567"/>
                  <a:gd name="connsiteY171" fmla="*/ 238125 h 269557"/>
                  <a:gd name="connsiteX172" fmla="*/ 209550 w 349567"/>
                  <a:gd name="connsiteY172" fmla="*/ 240030 h 269557"/>
                  <a:gd name="connsiteX173" fmla="*/ 206692 w 349567"/>
                  <a:gd name="connsiteY173" fmla="*/ 239078 h 269557"/>
                  <a:gd name="connsiteX174" fmla="*/ 210503 w 349567"/>
                  <a:gd name="connsiteY174" fmla="*/ 235267 h 269557"/>
                  <a:gd name="connsiteX175" fmla="*/ 212408 w 349567"/>
                  <a:gd name="connsiteY175" fmla="*/ 233363 h 269557"/>
                  <a:gd name="connsiteX176" fmla="*/ 213360 w 349567"/>
                  <a:gd name="connsiteY176" fmla="*/ 232410 h 269557"/>
                  <a:gd name="connsiteX177" fmla="*/ 216217 w 349567"/>
                  <a:gd name="connsiteY177" fmla="*/ 232410 h 269557"/>
                  <a:gd name="connsiteX178" fmla="*/ 206692 w 349567"/>
                  <a:gd name="connsiteY178" fmla="*/ 228600 h 269557"/>
                  <a:gd name="connsiteX179" fmla="*/ 206692 w 349567"/>
                  <a:gd name="connsiteY179" fmla="*/ 228600 h 269557"/>
                  <a:gd name="connsiteX180" fmla="*/ 200978 w 349567"/>
                  <a:gd name="connsiteY180" fmla="*/ 232410 h 269557"/>
                  <a:gd name="connsiteX181" fmla="*/ 194310 w 349567"/>
                  <a:gd name="connsiteY181" fmla="*/ 235267 h 269557"/>
                  <a:gd name="connsiteX182" fmla="*/ 194310 w 349567"/>
                  <a:gd name="connsiteY182" fmla="*/ 235267 h 269557"/>
                  <a:gd name="connsiteX183" fmla="*/ 193358 w 349567"/>
                  <a:gd name="connsiteY183" fmla="*/ 235267 h 269557"/>
                  <a:gd name="connsiteX184" fmla="*/ 188595 w 349567"/>
                  <a:gd name="connsiteY184" fmla="*/ 239078 h 269557"/>
                  <a:gd name="connsiteX185" fmla="*/ 187642 w 349567"/>
                  <a:gd name="connsiteY185" fmla="*/ 240030 h 269557"/>
                  <a:gd name="connsiteX186" fmla="*/ 187642 w 349567"/>
                  <a:gd name="connsiteY186" fmla="*/ 240030 h 269557"/>
                  <a:gd name="connsiteX187" fmla="*/ 187642 w 349567"/>
                  <a:gd name="connsiteY187" fmla="*/ 240030 h 269557"/>
                  <a:gd name="connsiteX188" fmla="*/ 186690 w 349567"/>
                  <a:gd name="connsiteY188" fmla="*/ 240983 h 269557"/>
                  <a:gd name="connsiteX189" fmla="*/ 186690 w 349567"/>
                  <a:gd name="connsiteY189" fmla="*/ 240983 h 269557"/>
                  <a:gd name="connsiteX190" fmla="*/ 186690 w 349567"/>
                  <a:gd name="connsiteY190" fmla="*/ 240983 h 269557"/>
                  <a:gd name="connsiteX191" fmla="*/ 185738 w 349567"/>
                  <a:gd name="connsiteY191" fmla="*/ 241935 h 269557"/>
                  <a:gd name="connsiteX192" fmla="*/ 184785 w 349567"/>
                  <a:gd name="connsiteY192" fmla="*/ 242888 h 269557"/>
                  <a:gd name="connsiteX193" fmla="*/ 183833 w 349567"/>
                  <a:gd name="connsiteY193" fmla="*/ 242888 h 269557"/>
                  <a:gd name="connsiteX194" fmla="*/ 183833 w 349567"/>
                  <a:gd name="connsiteY194" fmla="*/ 242888 h 269557"/>
                  <a:gd name="connsiteX195" fmla="*/ 182880 w 349567"/>
                  <a:gd name="connsiteY195" fmla="*/ 242888 h 269557"/>
                  <a:gd name="connsiteX196" fmla="*/ 181928 w 349567"/>
                  <a:gd name="connsiteY196" fmla="*/ 242888 h 269557"/>
                  <a:gd name="connsiteX197" fmla="*/ 181928 w 349567"/>
                  <a:gd name="connsiteY197" fmla="*/ 242888 h 269557"/>
                  <a:gd name="connsiteX198" fmla="*/ 181928 w 349567"/>
                  <a:gd name="connsiteY198" fmla="*/ 242888 h 269557"/>
                  <a:gd name="connsiteX199" fmla="*/ 180023 w 349567"/>
                  <a:gd name="connsiteY199" fmla="*/ 244792 h 269557"/>
                  <a:gd name="connsiteX200" fmla="*/ 177165 w 349567"/>
                  <a:gd name="connsiteY200" fmla="*/ 247650 h 269557"/>
                  <a:gd name="connsiteX201" fmla="*/ 177165 w 349567"/>
                  <a:gd name="connsiteY201" fmla="*/ 247650 h 269557"/>
                  <a:gd name="connsiteX202" fmla="*/ 177165 w 349567"/>
                  <a:gd name="connsiteY202" fmla="*/ 247650 h 269557"/>
                  <a:gd name="connsiteX203" fmla="*/ 177165 w 349567"/>
                  <a:gd name="connsiteY203" fmla="*/ 247650 h 269557"/>
                  <a:gd name="connsiteX204" fmla="*/ 177165 w 349567"/>
                  <a:gd name="connsiteY204" fmla="*/ 247650 h 269557"/>
                  <a:gd name="connsiteX205" fmla="*/ 177165 w 349567"/>
                  <a:gd name="connsiteY205" fmla="*/ 247650 h 269557"/>
                  <a:gd name="connsiteX206" fmla="*/ 177165 w 349567"/>
                  <a:gd name="connsiteY206" fmla="*/ 248603 h 269557"/>
                  <a:gd name="connsiteX207" fmla="*/ 177165 w 349567"/>
                  <a:gd name="connsiteY207" fmla="*/ 248603 h 269557"/>
                  <a:gd name="connsiteX208" fmla="*/ 177165 w 349567"/>
                  <a:gd name="connsiteY208" fmla="*/ 248603 h 269557"/>
                  <a:gd name="connsiteX209" fmla="*/ 177165 w 349567"/>
                  <a:gd name="connsiteY209" fmla="*/ 248603 h 269557"/>
                  <a:gd name="connsiteX210" fmla="*/ 177165 w 349567"/>
                  <a:gd name="connsiteY210" fmla="*/ 248603 h 269557"/>
                  <a:gd name="connsiteX211" fmla="*/ 177165 w 349567"/>
                  <a:gd name="connsiteY211" fmla="*/ 247650 h 269557"/>
                  <a:gd name="connsiteX212" fmla="*/ 177165 w 349567"/>
                  <a:gd name="connsiteY212" fmla="*/ 247650 h 269557"/>
                  <a:gd name="connsiteX213" fmla="*/ 177165 w 349567"/>
                  <a:gd name="connsiteY213" fmla="*/ 247650 h 269557"/>
                  <a:gd name="connsiteX214" fmla="*/ 179070 w 349567"/>
                  <a:gd name="connsiteY214" fmla="*/ 245745 h 269557"/>
                  <a:gd name="connsiteX215" fmla="*/ 179070 w 349567"/>
                  <a:gd name="connsiteY215" fmla="*/ 245745 h 269557"/>
                  <a:gd name="connsiteX216" fmla="*/ 180023 w 349567"/>
                  <a:gd name="connsiteY216" fmla="*/ 244792 h 269557"/>
                  <a:gd name="connsiteX217" fmla="*/ 180975 w 349567"/>
                  <a:gd name="connsiteY217" fmla="*/ 243840 h 269557"/>
                  <a:gd name="connsiteX218" fmla="*/ 180975 w 349567"/>
                  <a:gd name="connsiteY218" fmla="*/ 243840 h 269557"/>
                  <a:gd name="connsiteX219" fmla="*/ 182880 w 349567"/>
                  <a:gd name="connsiteY219" fmla="*/ 241935 h 269557"/>
                  <a:gd name="connsiteX220" fmla="*/ 182880 w 349567"/>
                  <a:gd name="connsiteY220" fmla="*/ 241935 h 269557"/>
                  <a:gd name="connsiteX221" fmla="*/ 182880 w 349567"/>
                  <a:gd name="connsiteY221" fmla="*/ 241935 h 269557"/>
                  <a:gd name="connsiteX222" fmla="*/ 183833 w 349567"/>
                  <a:gd name="connsiteY222" fmla="*/ 240983 h 269557"/>
                  <a:gd name="connsiteX223" fmla="*/ 184785 w 349567"/>
                  <a:gd name="connsiteY223" fmla="*/ 240030 h 269557"/>
                  <a:gd name="connsiteX224" fmla="*/ 184785 w 349567"/>
                  <a:gd name="connsiteY224" fmla="*/ 240030 h 269557"/>
                  <a:gd name="connsiteX225" fmla="*/ 184785 w 349567"/>
                  <a:gd name="connsiteY225" fmla="*/ 240030 h 269557"/>
                  <a:gd name="connsiteX226" fmla="*/ 184785 w 349567"/>
                  <a:gd name="connsiteY226" fmla="*/ 240030 h 269557"/>
                  <a:gd name="connsiteX227" fmla="*/ 185738 w 349567"/>
                  <a:gd name="connsiteY227" fmla="*/ 239078 h 269557"/>
                  <a:gd name="connsiteX228" fmla="*/ 185738 w 349567"/>
                  <a:gd name="connsiteY228" fmla="*/ 239078 h 269557"/>
                  <a:gd name="connsiteX229" fmla="*/ 185738 w 349567"/>
                  <a:gd name="connsiteY229" fmla="*/ 239078 h 269557"/>
                  <a:gd name="connsiteX230" fmla="*/ 185738 w 349567"/>
                  <a:gd name="connsiteY230" fmla="*/ 238125 h 269557"/>
                  <a:gd name="connsiteX231" fmla="*/ 185738 w 349567"/>
                  <a:gd name="connsiteY231" fmla="*/ 238125 h 269557"/>
                  <a:gd name="connsiteX232" fmla="*/ 185738 w 349567"/>
                  <a:gd name="connsiteY232" fmla="*/ 237173 h 269557"/>
                  <a:gd name="connsiteX233" fmla="*/ 185738 w 349567"/>
                  <a:gd name="connsiteY233" fmla="*/ 237173 h 269557"/>
                  <a:gd name="connsiteX234" fmla="*/ 187642 w 349567"/>
                  <a:gd name="connsiteY234" fmla="*/ 234315 h 269557"/>
                  <a:gd name="connsiteX235" fmla="*/ 187642 w 349567"/>
                  <a:gd name="connsiteY235" fmla="*/ 234315 h 269557"/>
                  <a:gd name="connsiteX236" fmla="*/ 185738 w 349567"/>
                  <a:gd name="connsiteY236" fmla="*/ 236220 h 269557"/>
                  <a:gd name="connsiteX237" fmla="*/ 184785 w 349567"/>
                  <a:gd name="connsiteY237" fmla="*/ 235267 h 269557"/>
                  <a:gd name="connsiteX238" fmla="*/ 185738 w 349567"/>
                  <a:gd name="connsiteY238" fmla="*/ 234315 h 269557"/>
                  <a:gd name="connsiteX239" fmla="*/ 185738 w 349567"/>
                  <a:gd name="connsiteY239" fmla="*/ 234315 h 269557"/>
                  <a:gd name="connsiteX240" fmla="*/ 188595 w 349567"/>
                  <a:gd name="connsiteY240" fmla="*/ 231458 h 269557"/>
                  <a:gd name="connsiteX241" fmla="*/ 190500 w 349567"/>
                  <a:gd name="connsiteY241" fmla="*/ 230505 h 269557"/>
                  <a:gd name="connsiteX242" fmla="*/ 190500 w 349567"/>
                  <a:gd name="connsiteY242" fmla="*/ 230505 h 269557"/>
                  <a:gd name="connsiteX243" fmla="*/ 191453 w 349567"/>
                  <a:gd name="connsiteY243" fmla="*/ 229553 h 269557"/>
                  <a:gd name="connsiteX244" fmla="*/ 191453 w 349567"/>
                  <a:gd name="connsiteY244" fmla="*/ 229553 h 269557"/>
                  <a:gd name="connsiteX245" fmla="*/ 211455 w 349567"/>
                  <a:gd name="connsiteY245" fmla="*/ 221933 h 269557"/>
                  <a:gd name="connsiteX246" fmla="*/ 220028 w 349567"/>
                  <a:gd name="connsiteY246" fmla="*/ 221933 h 269557"/>
                  <a:gd name="connsiteX247" fmla="*/ 224790 w 349567"/>
                  <a:gd name="connsiteY247" fmla="*/ 222885 h 269557"/>
                  <a:gd name="connsiteX248" fmla="*/ 206692 w 349567"/>
                  <a:gd name="connsiteY248" fmla="*/ 228600 h 269557"/>
                  <a:gd name="connsiteX249" fmla="*/ 217170 w 349567"/>
                  <a:gd name="connsiteY249" fmla="*/ 193358 h 269557"/>
                  <a:gd name="connsiteX250" fmla="*/ 219075 w 349567"/>
                  <a:gd name="connsiteY250" fmla="*/ 192405 h 269557"/>
                  <a:gd name="connsiteX251" fmla="*/ 215265 w 349567"/>
                  <a:gd name="connsiteY251" fmla="*/ 192405 h 269557"/>
                  <a:gd name="connsiteX252" fmla="*/ 214313 w 349567"/>
                  <a:gd name="connsiteY252" fmla="*/ 191453 h 269557"/>
                  <a:gd name="connsiteX253" fmla="*/ 205740 w 349567"/>
                  <a:gd name="connsiteY253" fmla="*/ 193358 h 269557"/>
                  <a:gd name="connsiteX254" fmla="*/ 195263 w 349567"/>
                  <a:gd name="connsiteY254" fmla="*/ 198120 h 269557"/>
                  <a:gd name="connsiteX255" fmla="*/ 179070 w 349567"/>
                  <a:gd name="connsiteY255" fmla="*/ 206692 h 269557"/>
                  <a:gd name="connsiteX256" fmla="*/ 178117 w 349567"/>
                  <a:gd name="connsiteY256" fmla="*/ 205740 h 269557"/>
                  <a:gd name="connsiteX257" fmla="*/ 181928 w 349567"/>
                  <a:gd name="connsiteY257" fmla="*/ 201930 h 269557"/>
                  <a:gd name="connsiteX258" fmla="*/ 180975 w 349567"/>
                  <a:gd name="connsiteY258" fmla="*/ 200978 h 269557"/>
                  <a:gd name="connsiteX259" fmla="*/ 196215 w 349567"/>
                  <a:gd name="connsiteY259" fmla="*/ 187642 h 269557"/>
                  <a:gd name="connsiteX260" fmla="*/ 196215 w 349567"/>
                  <a:gd name="connsiteY260" fmla="*/ 185738 h 269557"/>
                  <a:gd name="connsiteX261" fmla="*/ 200978 w 349567"/>
                  <a:gd name="connsiteY261" fmla="*/ 180023 h 269557"/>
                  <a:gd name="connsiteX262" fmla="*/ 205740 w 349567"/>
                  <a:gd name="connsiteY262" fmla="*/ 175260 h 269557"/>
                  <a:gd name="connsiteX263" fmla="*/ 203835 w 349567"/>
                  <a:gd name="connsiteY263" fmla="*/ 173355 h 269557"/>
                  <a:gd name="connsiteX264" fmla="*/ 198120 w 349567"/>
                  <a:gd name="connsiteY264" fmla="*/ 172403 h 269557"/>
                  <a:gd name="connsiteX265" fmla="*/ 200978 w 349567"/>
                  <a:gd name="connsiteY265" fmla="*/ 170498 h 269557"/>
                  <a:gd name="connsiteX266" fmla="*/ 200025 w 349567"/>
                  <a:gd name="connsiteY266" fmla="*/ 169545 h 269557"/>
                  <a:gd name="connsiteX267" fmla="*/ 202883 w 349567"/>
                  <a:gd name="connsiteY267" fmla="*/ 166688 h 269557"/>
                  <a:gd name="connsiteX268" fmla="*/ 208598 w 349567"/>
                  <a:gd name="connsiteY268" fmla="*/ 164783 h 269557"/>
                  <a:gd name="connsiteX269" fmla="*/ 197167 w 349567"/>
                  <a:gd name="connsiteY269" fmla="*/ 163830 h 269557"/>
                  <a:gd name="connsiteX270" fmla="*/ 209550 w 349567"/>
                  <a:gd name="connsiteY270" fmla="*/ 148590 h 269557"/>
                  <a:gd name="connsiteX271" fmla="*/ 211455 w 349567"/>
                  <a:gd name="connsiteY271" fmla="*/ 149542 h 269557"/>
                  <a:gd name="connsiteX272" fmla="*/ 207645 w 349567"/>
                  <a:gd name="connsiteY272" fmla="*/ 154305 h 269557"/>
                  <a:gd name="connsiteX273" fmla="*/ 220028 w 349567"/>
                  <a:gd name="connsiteY273" fmla="*/ 157163 h 269557"/>
                  <a:gd name="connsiteX274" fmla="*/ 218123 w 349567"/>
                  <a:gd name="connsiteY274" fmla="*/ 158115 h 269557"/>
                  <a:gd name="connsiteX275" fmla="*/ 226695 w 349567"/>
                  <a:gd name="connsiteY275" fmla="*/ 160973 h 269557"/>
                  <a:gd name="connsiteX276" fmla="*/ 221933 w 349567"/>
                  <a:gd name="connsiteY276" fmla="*/ 160973 h 269557"/>
                  <a:gd name="connsiteX277" fmla="*/ 267653 w 349567"/>
                  <a:gd name="connsiteY277" fmla="*/ 179070 h 269557"/>
                  <a:gd name="connsiteX278" fmla="*/ 232410 w 349567"/>
                  <a:gd name="connsiteY278" fmla="*/ 189548 h 269557"/>
                  <a:gd name="connsiteX279" fmla="*/ 228600 w 349567"/>
                  <a:gd name="connsiteY279" fmla="*/ 188595 h 269557"/>
                  <a:gd name="connsiteX280" fmla="*/ 227648 w 349567"/>
                  <a:gd name="connsiteY280" fmla="*/ 190500 h 269557"/>
                  <a:gd name="connsiteX281" fmla="*/ 222885 w 349567"/>
                  <a:gd name="connsiteY281" fmla="*/ 191453 h 269557"/>
                  <a:gd name="connsiteX282" fmla="*/ 217170 w 349567"/>
                  <a:gd name="connsiteY282" fmla="*/ 193358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</a:cxnLst>
                <a:rect l="l" t="t" r="r" b="b"/>
                <a:pathLst>
                  <a:path w="349567" h="269557">
                    <a:moveTo>
                      <a:pt x="306705" y="237173"/>
                    </a:moveTo>
                    <a:cubicBezTo>
                      <a:pt x="309563" y="234315"/>
                      <a:pt x="312420" y="231458"/>
                      <a:pt x="315278" y="227648"/>
                    </a:cubicBezTo>
                    <a:lnTo>
                      <a:pt x="315278" y="227648"/>
                    </a:lnTo>
                    <a:cubicBezTo>
                      <a:pt x="320993" y="221933"/>
                      <a:pt x="325755" y="215265"/>
                      <a:pt x="332423" y="210503"/>
                    </a:cubicBezTo>
                    <a:cubicBezTo>
                      <a:pt x="334328" y="208598"/>
                      <a:pt x="336233" y="207645"/>
                      <a:pt x="338138" y="205740"/>
                    </a:cubicBezTo>
                    <a:cubicBezTo>
                      <a:pt x="339090" y="204788"/>
                      <a:pt x="339090" y="203835"/>
                      <a:pt x="339090" y="203835"/>
                    </a:cubicBezTo>
                    <a:cubicBezTo>
                      <a:pt x="336233" y="204788"/>
                      <a:pt x="335280" y="206692"/>
                      <a:pt x="332423" y="207645"/>
                    </a:cubicBezTo>
                    <a:cubicBezTo>
                      <a:pt x="331470" y="207645"/>
                      <a:pt x="331470" y="206692"/>
                      <a:pt x="331470" y="206692"/>
                    </a:cubicBezTo>
                    <a:cubicBezTo>
                      <a:pt x="333375" y="205740"/>
                      <a:pt x="335280" y="203835"/>
                      <a:pt x="337185" y="202883"/>
                    </a:cubicBezTo>
                    <a:cubicBezTo>
                      <a:pt x="337185" y="202883"/>
                      <a:pt x="337185" y="202883"/>
                      <a:pt x="337185" y="202883"/>
                    </a:cubicBezTo>
                    <a:cubicBezTo>
                      <a:pt x="336233" y="202883"/>
                      <a:pt x="336233" y="201930"/>
                      <a:pt x="336233" y="201930"/>
                    </a:cubicBezTo>
                    <a:cubicBezTo>
                      <a:pt x="329565" y="201930"/>
                      <a:pt x="324803" y="205740"/>
                      <a:pt x="320040" y="210503"/>
                    </a:cubicBezTo>
                    <a:cubicBezTo>
                      <a:pt x="319088" y="211455"/>
                      <a:pt x="318135" y="209550"/>
                      <a:pt x="317183" y="209550"/>
                    </a:cubicBezTo>
                    <a:cubicBezTo>
                      <a:pt x="309563" y="212408"/>
                      <a:pt x="303848" y="219075"/>
                      <a:pt x="296228" y="221933"/>
                    </a:cubicBezTo>
                    <a:lnTo>
                      <a:pt x="296228" y="220980"/>
                    </a:lnTo>
                    <a:cubicBezTo>
                      <a:pt x="293370" y="221933"/>
                      <a:pt x="290513" y="223838"/>
                      <a:pt x="286703" y="224790"/>
                    </a:cubicBezTo>
                    <a:cubicBezTo>
                      <a:pt x="281940" y="225742"/>
                      <a:pt x="278130" y="225742"/>
                      <a:pt x="274320" y="225742"/>
                    </a:cubicBezTo>
                    <a:cubicBezTo>
                      <a:pt x="268605" y="226695"/>
                      <a:pt x="261938" y="227648"/>
                      <a:pt x="256223" y="228600"/>
                    </a:cubicBezTo>
                    <a:cubicBezTo>
                      <a:pt x="256223" y="228600"/>
                      <a:pt x="256223" y="228600"/>
                      <a:pt x="255270" y="228600"/>
                    </a:cubicBezTo>
                    <a:cubicBezTo>
                      <a:pt x="252413" y="229553"/>
                      <a:pt x="248603" y="230505"/>
                      <a:pt x="245745" y="232410"/>
                    </a:cubicBezTo>
                    <a:cubicBezTo>
                      <a:pt x="245745" y="232410"/>
                      <a:pt x="245745" y="232410"/>
                      <a:pt x="245745" y="232410"/>
                    </a:cubicBezTo>
                    <a:cubicBezTo>
                      <a:pt x="245745" y="232410"/>
                      <a:pt x="244792" y="233363"/>
                      <a:pt x="244792" y="233363"/>
                    </a:cubicBezTo>
                    <a:cubicBezTo>
                      <a:pt x="243840" y="234315"/>
                      <a:pt x="242888" y="235267"/>
                      <a:pt x="240983" y="236220"/>
                    </a:cubicBezTo>
                    <a:cubicBezTo>
                      <a:pt x="238125" y="238125"/>
                      <a:pt x="235267" y="240983"/>
                      <a:pt x="232410" y="242888"/>
                    </a:cubicBezTo>
                    <a:cubicBezTo>
                      <a:pt x="232410" y="242888"/>
                      <a:pt x="231458" y="242888"/>
                      <a:pt x="231458" y="242888"/>
                    </a:cubicBezTo>
                    <a:cubicBezTo>
                      <a:pt x="228600" y="245745"/>
                      <a:pt x="225742" y="248603"/>
                      <a:pt x="222885" y="250508"/>
                    </a:cubicBezTo>
                    <a:cubicBezTo>
                      <a:pt x="222885" y="250508"/>
                      <a:pt x="221933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49555"/>
                    </a:cubicBezTo>
                    <a:cubicBezTo>
                      <a:pt x="220980" y="248603"/>
                      <a:pt x="221933" y="247650"/>
                      <a:pt x="221933" y="247650"/>
                    </a:cubicBezTo>
                    <a:cubicBezTo>
                      <a:pt x="222885" y="246698"/>
                      <a:pt x="222885" y="245745"/>
                      <a:pt x="223838" y="245745"/>
                    </a:cubicBezTo>
                    <a:cubicBezTo>
                      <a:pt x="224790" y="244792"/>
                      <a:pt x="224790" y="243840"/>
                      <a:pt x="225742" y="242888"/>
                    </a:cubicBezTo>
                    <a:cubicBezTo>
                      <a:pt x="225742" y="242888"/>
                      <a:pt x="225742" y="241935"/>
                      <a:pt x="225742" y="241935"/>
                    </a:cubicBezTo>
                    <a:cubicBezTo>
                      <a:pt x="225742" y="241935"/>
                      <a:pt x="225742" y="241935"/>
                      <a:pt x="224790" y="241935"/>
                    </a:cubicBezTo>
                    <a:cubicBezTo>
                      <a:pt x="227648" y="239078"/>
                      <a:pt x="230505" y="237173"/>
                      <a:pt x="233363" y="235267"/>
                    </a:cubicBezTo>
                    <a:lnTo>
                      <a:pt x="233363" y="235267"/>
                    </a:lnTo>
                    <a:cubicBezTo>
                      <a:pt x="233363" y="235267"/>
                      <a:pt x="232410" y="235267"/>
                      <a:pt x="232410" y="234315"/>
                    </a:cubicBezTo>
                    <a:cubicBezTo>
                      <a:pt x="232410" y="234315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4315" y="233363"/>
                      <a:pt x="233363" y="234315"/>
                      <a:pt x="233363" y="234315"/>
                    </a:cubicBezTo>
                    <a:cubicBezTo>
                      <a:pt x="232410" y="235267"/>
                      <a:pt x="231458" y="238125"/>
                      <a:pt x="229553" y="237173"/>
                    </a:cubicBezTo>
                    <a:cubicBezTo>
                      <a:pt x="229553" y="237173"/>
                      <a:pt x="228600" y="237173"/>
                      <a:pt x="228600" y="237173"/>
                    </a:cubicBezTo>
                    <a:cubicBezTo>
                      <a:pt x="228600" y="237173"/>
                      <a:pt x="228600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6220"/>
                    </a:cubicBezTo>
                    <a:cubicBezTo>
                      <a:pt x="227648" y="236220"/>
                      <a:pt x="227648" y="236220"/>
                      <a:pt x="227648" y="236220"/>
                    </a:cubicBezTo>
                    <a:cubicBezTo>
                      <a:pt x="227648" y="236220"/>
                      <a:pt x="227648" y="235267"/>
                      <a:pt x="228600" y="235267"/>
                    </a:cubicBezTo>
                    <a:cubicBezTo>
                      <a:pt x="228600" y="235267"/>
                      <a:pt x="228600" y="235267"/>
                      <a:pt x="228600" y="234315"/>
                    </a:cubicBezTo>
                    <a:cubicBezTo>
                      <a:pt x="228600" y="234315"/>
                      <a:pt x="228600" y="233363"/>
                      <a:pt x="229553" y="233363"/>
                    </a:cubicBezTo>
                    <a:cubicBezTo>
                      <a:pt x="229553" y="233363"/>
                      <a:pt x="229553" y="232410"/>
                      <a:pt x="229553" y="232410"/>
                    </a:cubicBezTo>
                    <a:cubicBezTo>
                      <a:pt x="230505" y="231458"/>
                      <a:pt x="231458" y="230505"/>
                      <a:pt x="233363" y="229553"/>
                    </a:cubicBezTo>
                    <a:lnTo>
                      <a:pt x="233363" y="229553"/>
                    </a:lnTo>
                    <a:cubicBezTo>
                      <a:pt x="235267" y="228600"/>
                      <a:pt x="237173" y="227648"/>
                      <a:pt x="239078" y="226695"/>
                    </a:cubicBezTo>
                    <a:cubicBezTo>
                      <a:pt x="239078" y="226695"/>
                      <a:pt x="240030" y="225742"/>
                      <a:pt x="240030" y="225742"/>
                    </a:cubicBezTo>
                    <a:cubicBezTo>
                      <a:pt x="237173" y="226695"/>
                      <a:pt x="234315" y="227648"/>
                      <a:pt x="231458" y="229553"/>
                    </a:cubicBezTo>
                    <a:cubicBezTo>
                      <a:pt x="231458" y="229553"/>
                      <a:pt x="230505" y="229553"/>
                      <a:pt x="230505" y="229553"/>
                    </a:cubicBezTo>
                    <a:cubicBezTo>
                      <a:pt x="230505" y="229553"/>
                      <a:pt x="229553" y="229553"/>
                      <a:pt x="229553" y="229553"/>
                    </a:cubicBezTo>
                    <a:cubicBezTo>
                      <a:pt x="229553" y="229553"/>
                      <a:pt x="229553" y="229553"/>
                      <a:pt x="229553" y="229553"/>
                    </a:cubicBezTo>
                    <a:cubicBezTo>
                      <a:pt x="230505" y="228600"/>
                      <a:pt x="231458" y="227648"/>
                      <a:pt x="232410" y="226695"/>
                    </a:cubicBezTo>
                    <a:cubicBezTo>
                      <a:pt x="233363" y="226695"/>
                      <a:pt x="233363" y="226695"/>
                      <a:pt x="233363" y="227648"/>
                    </a:cubicBezTo>
                    <a:cubicBezTo>
                      <a:pt x="249555" y="215265"/>
                      <a:pt x="272415" y="218123"/>
                      <a:pt x="291465" y="211455"/>
                    </a:cubicBezTo>
                    <a:cubicBezTo>
                      <a:pt x="293370" y="210503"/>
                      <a:pt x="294323" y="209550"/>
                      <a:pt x="296228" y="208598"/>
                    </a:cubicBezTo>
                    <a:cubicBezTo>
                      <a:pt x="299085" y="207645"/>
                      <a:pt x="300990" y="204788"/>
                      <a:pt x="303848" y="203835"/>
                    </a:cubicBezTo>
                    <a:cubicBezTo>
                      <a:pt x="307658" y="200978"/>
                      <a:pt x="310515" y="197167"/>
                      <a:pt x="312420" y="192405"/>
                    </a:cubicBezTo>
                    <a:cubicBezTo>
                      <a:pt x="312420" y="191453"/>
                      <a:pt x="311468" y="191453"/>
                      <a:pt x="311468" y="191453"/>
                    </a:cubicBezTo>
                    <a:cubicBezTo>
                      <a:pt x="304800" y="199073"/>
                      <a:pt x="297180" y="203835"/>
                      <a:pt x="288608" y="208598"/>
                    </a:cubicBezTo>
                    <a:cubicBezTo>
                      <a:pt x="278130" y="214313"/>
                      <a:pt x="265748" y="213360"/>
                      <a:pt x="255270" y="214313"/>
                    </a:cubicBezTo>
                    <a:cubicBezTo>
                      <a:pt x="256223" y="213360"/>
                      <a:pt x="257175" y="213360"/>
                      <a:pt x="258128" y="213360"/>
                    </a:cubicBezTo>
                    <a:cubicBezTo>
                      <a:pt x="258128" y="211455"/>
                      <a:pt x="259080" y="211455"/>
                      <a:pt x="260033" y="210503"/>
                    </a:cubicBezTo>
                    <a:lnTo>
                      <a:pt x="261938" y="210503"/>
                    </a:lnTo>
                    <a:cubicBezTo>
                      <a:pt x="262890" y="210503"/>
                      <a:pt x="262890" y="209550"/>
                      <a:pt x="262890" y="209550"/>
                    </a:cubicBezTo>
                    <a:cubicBezTo>
                      <a:pt x="263843" y="209550"/>
                      <a:pt x="265748" y="208598"/>
                      <a:pt x="264795" y="208598"/>
                    </a:cubicBezTo>
                    <a:cubicBezTo>
                      <a:pt x="262890" y="206692"/>
                      <a:pt x="260033" y="210503"/>
                      <a:pt x="257175" y="208598"/>
                    </a:cubicBezTo>
                    <a:cubicBezTo>
                      <a:pt x="258128" y="207645"/>
                      <a:pt x="258128" y="205740"/>
                      <a:pt x="259080" y="205740"/>
                    </a:cubicBezTo>
                    <a:lnTo>
                      <a:pt x="260985" y="205740"/>
                    </a:lnTo>
                    <a:cubicBezTo>
                      <a:pt x="260985" y="204788"/>
                      <a:pt x="261938" y="203835"/>
                      <a:pt x="261938" y="203835"/>
                    </a:cubicBezTo>
                    <a:cubicBezTo>
                      <a:pt x="269558" y="199073"/>
                      <a:pt x="277178" y="195263"/>
                      <a:pt x="283845" y="191453"/>
                    </a:cubicBezTo>
                    <a:cubicBezTo>
                      <a:pt x="281940" y="191453"/>
                      <a:pt x="280988" y="193358"/>
                      <a:pt x="280035" y="192405"/>
                    </a:cubicBezTo>
                    <a:cubicBezTo>
                      <a:pt x="280988" y="192405"/>
                      <a:pt x="280035" y="190500"/>
                      <a:pt x="280988" y="190500"/>
                    </a:cubicBezTo>
                    <a:cubicBezTo>
                      <a:pt x="286703" y="188595"/>
                      <a:pt x="291465" y="185738"/>
                      <a:pt x="297180" y="183833"/>
                    </a:cubicBezTo>
                    <a:cubicBezTo>
                      <a:pt x="295275" y="183833"/>
                      <a:pt x="293370" y="185738"/>
                      <a:pt x="291465" y="183833"/>
                    </a:cubicBezTo>
                    <a:cubicBezTo>
                      <a:pt x="292418" y="182880"/>
                      <a:pt x="293370" y="181928"/>
                      <a:pt x="294323" y="181928"/>
                    </a:cubicBezTo>
                    <a:lnTo>
                      <a:pt x="294323" y="180023"/>
                    </a:lnTo>
                    <a:cubicBezTo>
                      <a:pt x="294323" y="179070"/>
                      <a:pt x="295275" y="179070"/>
                      <a:pt x="295275" y="179070"/>
                    </a:cubicBezTo>
                    <a:cubicBezTo>
                      <a:pt x="294323" y="179070"/>
                      <a:pt x="294323" y="178117"/>
                      <a:pt x="294323" y="178117"/>
                    </a:cubicBezTo>
                    <a:cubicBezTo>
                      <a:pt x="295275" y="177165"/>
                      <a:pt x="296228" y="177165"/>
                      <a:pt x="297180" y="176213"/>
                    </a:cubicBezTo>
                    <a:cubicBezTo>
                      <a:pt x="296228" y="176213"/>
                      <a:pt x="295275" y="176213"/>
                      <a:pt x="295275" y="175260"/>
                    </a:cubicBezTo>
                    <a:cubicBezTo>
                      <a:pt x="297180" y="173355"/>
                      <a:pt x="299085" y="172403"/>
                      <a:pt x="301943" y="172403"/>
                    </a:cubicBezTo>
                    <a:cubicBezTo>
                      <a:pt x="300990" y="171450"/>
                      <a:pt x="300038" y="172403"/>
                      <a:pt x="300038" y="171450"/>
                    </a:cubicBezTo>
                    <a:cubicBezTo>
                      <a:pt x="300038" y="170498"/>
                      <a:pt x="300990" y="170498"/>
                      <a:pt x="300990" y="170498"/>
                    </a:cubicBezTo>
                    <a:lnTo>
                      <a:pt x="300990" y="170498"/>
                    </a:lnTo>
                    <a:cubicBezTo>
                      <a:pt x="300038" y="169545"/>
                      <a:pt x="300038" y="168592"/>
                      <a:pt x="300038" y="168592"/>
                    </a:cubicBezTo>
                    <a:cubicBezTo>
                      <a:pt x="302895" y="164783"/>
                      <a:pt x="302895" y="160020"/>
                      <a:pt x="304800" y="156210"/>
                    </a:cubicBezTo>
                    <a:cubicBezTo>
                      <a:pt x="303848" y="156210"/>
                      <a:pt x="303848" y="156210"/>
                      <a:pt x="303848" y="155258"/>
                    </a:cubicBezTo>
                    <a:cubicBezTo>
                      <a:pt x="299085" y="160973"/>
                      <a:pt x="290513" y="162878"/>
                      <a:pt x="282893" y="164783"/>
                    </a:cubicBezTo>
                    <a:lnTo>
                      <a:pt x="280035" y="164783"/>
                    </a:lnTo>
                    <a:cubicBezTo>
                      <a:pt x="277178" y="165735"/>
                      <a:pt x="274320" y="165735"/>
                      <a:pt x="271463" y="163830"/>
                    </a:cubicBezTo>
                    <a:cubicBezTo>
                      <a:pt x="269558" y="162878"/>
                      <a:pt x="268605" y="160973"/>
                      <a:pt x="266700" y="160020"/>
                    </a:cubicBezTo>
                    <a:cubicBezTo>
                      <a:pt x="262890" y="157163"/>
                      <a:pt x="258128" y="155258"/>
                      <a:pt x="254317" y="154305"/>
                    </a:cubicBezTo>
                    <a:cubicBezTo>
                      <a:pt x="240983" y="150495"/>
                      <a:pt x="227648" y="148590"/>
                      <a:pt x="215265" y="148590"/>
                    </a:cubicBezTo>
                    <a:cubicBezTo>
                      <a:pt x="220980" y="145733"/>
                      <a:pt x="226695" y="145733"/>
                      <a:pt x="233363" y="143828"/>
                    </a:cubicBezTo>
                    <a:cubicBezTo>
                      <a:pt x="241935" y="140970"/>
                      <a:pt x="250508" y="138113"/>
                      <a:pt x="259080" y="139065"/>
                    </a:cubicBezTo>
                    <a:cubicBezTo>
                      <a:pt x="257175" y="138113"/>
                      <a:pt x="255270" y="139065"/>
                      <a:pt x="254317" y="139065"/>
                    </a:cubicBezTo>
                    <a:cubicBezTo>
                      <a:pt x="246698" y="138113"/>
                      <a:pt x="240030" y="140970"/>
                      <a:pt x="232410" y="141923"/>
                    </a:cubicBezTo>
                    <a:cubicBezTo>
                      <a:pt x="227648" y="142875"/>
                      <a:pt x="222885" y="144780"/>
                      <a:pt x="217170" y="145733"/>
                    </a:cubicBezTo>
                    <a:cubicBezTo>
                      <a:pt x="214313" y="146685"/>
                      <a:pt x="212408" y="149542"/>
                      <a:pt x="208598" y="149542"/>
                    </a:cubicBezTo>
                    <a:lnTo>
                      <a:pt x="208598" y="147638"/>
                    </a:lnTo>
                    <a:cubicBezTo>
                      <a:pt x="213360" y="141923"/>
                      <a:pt x="220028" y="135255"/>
                      <a:pt x="227648" y="135255"/>
                    </a:cubicBezTo>
                    <a:cubicBezTo>
                      <a:pt x="237173" y="133350"/>
                      <a:pt x="245745" y="135255"/>
                      <a:pt x="254317" y="136208"/>
                    </a:cubicBezTo>
                    <a:cubicBezTo>
                      <a:pt x="260985" y="137160"/>
                      <a:pt x="266700" y="138113"/>
                      <a:pt x="273368" y="140017"/>
                    </a:cubicBezTo>
                    <a:cubicBezTo>
                      <a:pt x="276225" y="140017"/>
                      <a:pt x="276225" y="143828"/>
                      <a:pt x="278130" y="144780"/>
                    </a:cubicBezTo>
                    <a:cubicBezTo>
                      <a:pt x="280988" y="145733"/>
                      <a:pt x="283845" y="144780"/>
                      <a:pt x="287655" y="146685"/>
                    </a:cubicBezTo>
                    <a:cubicBezTo>
                      <a:pt x="287655" y="145733"/>
                      <a:pt x="286703" y="144780"/>
                      <a:pt x="287655" y="143828"/>
                    </a:cubicBezTo>
                    <a:cubicBezTo>
                      <a:pt x="289560" y="141923"/>
                      <a:pt x="292418" y="144780"/>
                      <a:pt x="294323" y="142875"/>
                    </a:cubicBezTo>
                    <a:cubicBezTo>
                      <a:pt x="298133" y="140017"/>
                      <a:pt x="290513" y="136208"/>
                      <a:pt x="288608" y="132398"/>
                    </a:cubicBezTo>
                    <a:cubicBezTo>
                      <a:pt x="288608" y="131445"/>
                      <a:pt x="289560" y="131445"/>
                      <a:pt x="289560" y="131445"/>
                    </a:cubicBezTo>
                    <a:cubicBezTo>
                      <a:pt x="293370" y="135255"/>
                      <a:pt x="296228" y="139065"/>
                      <a:pt x="301943" y="141923"/>
                    </a:cubicBezTo>
                    <a:cubicBezTo>
                      <a:pt x="304800" y="142875"/>
                      <a:pt x="310515" y="144780"/>
                      <a:pt x="309563" y="140970"/>
                    </a:cubicBezTo>
                    <a:cubicBezTo>
                      <a:pt x="306705" y="135255"/>
                      <a:pt x="301943" y="130492"/>
                      <a:pt x="298133" y="125730"/>
                    </a:cubicBezTo>
                    <a:lnTo>
                      <a:pt x="298133" y="123825"/>
                    </a:lnTo>
                    <a:cubicBezTo>
                      <a:pt x="297180" y="123825"/>
                      <a:pt x="297180" y="122873"/>
                      <a:pt x="296228" y="122873"/>
                    </a:cubicBezTo>
                    <a:lnTo>
                      <a:pt x="296228" y="120015"/>
                    </a:lnTo>
                    <a:cubicBezTo>
                      <a:pt x="294323" y="119063"/>
                      <a:pt x="294323" y="117158"/>
                      <a:pt x="293370" y="115253"/>
                    </a:cubicBezTo>
                    <a:cubicBezTo>
                      <a:pt x="291465" y="112395"/>
                      <a:pt x="292418" y="109538"/>
                      <a:pt x="291465" y="105728"/>
                    </a:cubicBezTo>
                    <a:cubicBezTo>
                      <a:pt x="291465" y="103823"/>
                      <a:pt x="291465" y="100965"/>
                      <a:pt x="290513" y="98108"/>
                    </a:cubicBezTo>
                    <a:cubicBezTo>
                      <a:pt x="288608" y="89535"/>
                      <a:pt x="286703" y="81915"/>
                      <a:pt x="285750" y="73342"/>
                    </a:cubicBezTo>
                    <a:cubicBezTo>
                      <a:pt x="284798" y="63817"/>
                      <a:pt x="291465" y="56197"/>
                      <a:pt x="296228" y="47625"/>
                    </a:cubicBezTo>
                    <a:cubicBezTo>
                      <a:pt x="300038" y="41910"/>
                      <a:pt x="303848" y="35242"/>
                      <a:pt x="310515" y="31433"/>
                    </a:cubicBezTo>
                    <a:cubicBezTo>
                      <a:pt x="312420" y="25718"/>
                      <a:pt x="316230" y="20003"/>
                      <a:pt x="320040" y="15240"/>
                    </a:cubicBezTo>
                    <a:cubicBezTo>
                      <a:pt x="323850" y="10478"/>
                      <a:pt x="330518" y="7620"/>
                      <a:pt x="336233" y="4763"/>
                    </a:cubicBezTo>
                    <a:cubicBezTo>
                      <a:pt x="342900" y="1905"/>
                      <a:pt x="349568" y="0"/>
                      <a:pt x="349568" y="0"/>
                    </a:cubicBezTo>
                    <a:lnTo>
                      <a:pt x="0" y="0"/>
                    </a:lnTo>
                    <a:lnTo>
                      <a:pt x="0" y="269558"/>
                    </a:lnTo>
                    <a:lnTo>
                      <a:pt x="247650" y="269558"/>
                    </a:lnTo>
                    <a:cubicBezTo>
                      <a:pt x="257175" y="262890"/>
                      <a:pt x="266700" y="259080"/>
                      <a:pt x="280988" y="252413"/>
                    </a:cubicBezTo>
                    <a:cubicBezTo>
                      <a:pt x="286703" y="249555"/>
                      <a:pt x="301943" y="242888"/>
                      <a:pt x="306705" y="237173"/>
                    </a:cubicBezTo>
                    <a:moveTo>
                      <a:pt x="227648" y="200978"/>
                    </a:moveTo>
                    <a:cubicBezTo>
                      <a:pt x="226695" y="200978"/>
                      <a:pt x="224790" y="201930"/>
                      <a:pt x="224790" y="200025"/>
                    </a:cubicBezTo>
                    <a:cubicBezTo>
                      <a:pt x="225742" y="197167"/>
                      <a:pt x="228600" y="197167"/>
                      <a:pt x="230505" y="196215"/>
                    </a:cubicBezTo>
                    <a:cubicBezTo>
                      <a:pt x="231458" y="195263"/>
                      <a:pt x="233363" y="194310"/>
                      <a:pt x="234315" y="195263"/>
                    </a:cubicBezTo>
                    <a:cubicBezTo>
                      <a:pt x="235267" y="197167"/>
                      <a:pt x="237173" y="196215"/>
                      <a:pt x="238125" y="197167"/>
                    </a:cubicBezTo>
                    <a:cubicBezTo>
                      <a:pt x="235267" y="200978"/>
                      <a:pt x="231458" y="200025"/>
                      <a:pt x="227648" y="200978"/>
                    </a:cubicBezTo>
                    <a:moveTo>
                      <a:pt x="149542" y="189548"/>
                    </a:moveTo>
                    <a:cubicBezTo>
                      <a:pt x="149542" y="189548"/>
                      <a:pt x="148590" y="188595"/>
                      <a:pt x="148590" y="188595"/>
                    </a:cubicBezTo>
                    <a:cubicBezTo>
                      <a:pt x="155258" y="180023"/>
                      <a:pt x="160020" y="171450"/>
                      <a:pt x="164783" y="162878"/>
                    </a:cubicBezTo>
                    <a:cubicBezTo>
                      <a:pt x="171450" y="159067"/>
                      <a:pt x="177165" y="154305"/>
                      <a:pt x="181928" y="148590"/>
                    </a:cubicBezTo>
                    <a:cubicBezTo>
                      <a:pt x="190500" y="139065"/>
                      <a:pt x="200025" y="131445"/>
                      <a:pt x="210503" y="125730"/>
                    </a:cubicBezTo>
                    <a:cubicBezTo>
                      <a:pt x="214313" y="123825"/>
                      <a:pt x="220028" y="124778"/>
                      <a:pt x="223838" y="126683"/>
                    </a:cubicBezTo>
                    <a:cubicBezTo>
                      <a:pt x="221933" y="128588"/>
                      <a:pt x="220028" y="128588"/>
                      <a:pt x="218123" y="129540"/>
                    </a:cubicBezTo>
                    <a:cubicBezTo>
                      <a:pt x="217170" y="129540"/>
                      <a:pt x="217170" y="129540"/>
                      <a:pt x="216217" y="128588"/>
                    </a:cubicBezTo>
                    <a:cubicBezTo>
                      <a:pt x="217170" y="127635"/>
                      <a:pt x="217170" y="127635"/>
                      <a:pt x="217170" y="126683"/>
                    </a:cubicBezTo>
                    <a:cubicBezTo>
                      <a:pt x="212408" y="132398"/>
                      <a:pt x="204788" y="135255"/>
                      <a:pt x="200978" y="141923"/>
                    </a:cubicBezTo>
                    <a:cubicBezTo>
                      <a:pt x="198120" y="146685"/>
                      <a:pt x="196215" y="153353"/>
                      <a:pt x="189548" y="155258"/>
                    </a:cubicBezTo>
                    <a:cubicBezTo>
                      <a:pt x="187642" y="156210"/>
                      <a:pt x="190500" y="153353"/>
                      <a:pt x="188595" y="154305"/>
                    </a:cubicBezTo>
                    <a:cubicBezTo>
                      <a:pt x="173355" y="164783"/>
                      <a:pt x="161925" y="176213"/>
                      <a:pt x="149542" y="189548"/>
                    </a:cubicBezTo>
                    <a:moveTo>
                      <a:pt x="192405" y="156210"/>
                    </a:moveTo>
                    <a:cubicBezTo>
                      <a:pt x="191453" y="157163"/>
                      <a:pt x="191453" y="157163"/>
                      <a:pt x="190500" y="158115"/>
                    </a:cubicBezTo>
                    <a:cubicBezTo>
                      <a:pt x="189548" y="159067"/>
                      <a:pt x="189548" y="160020"/>
                      <a:pt x="188595" y="160020"/>
                    </a:cubicBezTo>
                    <a:cubicBezTo>
                      <a:pt x="187642" y="160020"/>
                      <a:pt x="187642" y="160020"/>
                      <a:pt x="187642" y="159067"/>
                    </a:cubicBezTo>
                    <a:cubicBezTo>
                      <a:pt x="188595" y="157163"/>
                      <a:pt x="189548" y="155258"/>
                      <a:pt x="191453" y="154305"/>
                    </a:cubicBezTo>
                    <a:cubicBezTo>
                      <a:pt x="192405" y="155258"/>
                      <a:pt x="192405" y="155258"/>
                      <a:pt x="192405" y="156210"/>
                    </a:cubicBezTo>
                    <a:moveTo>
                      <a:pt x="216217" y="232410"/>
                    </a:moveTo>
                    <a:cubicBezTo>
                      <a:pt x="216217" y="233363"/>
                      <a:pt x="215265" y="233363"/>
                      <a:pt x="215265" y="234315"/>
                    </a:cubicBezTo>
                    <a:cubicBezTo>
                      <a:pt x="216217" y="234315"/>
                      <a:pt x="216217" y="234315"/>
                      <a:pt x="216217" y="235267"/>
                    </a:cubicBezTo>
                    <a:cubicBezTo>
                      <a:pt x="215265" y="236220"/>
                      <a:pt x="214313" y="237173"/>
                      <a:pt x="212408" y="238125"/>
                    </a:cubicBezTo>
                    <a:cubicBezTo>
                      <a:pt x="212408" y="238125"/>
                      <a:pt x="212408" y="238125"/>
                      <a:pt x="211455" y="238125"/>
                    </a:cubicBezTo>
                    <a:cubicBezTo>
                      <a:pt x="210503" y="239078"/>
                      <a:pt x="210503" y="239078"/>
                      <a:pt x="209550" y="240030"/>
                    </a:cubicBezTo>
                    <a:cubicBezTo>
                      <a:pt x="208598" y="240983"/>
                      <a:pt x="205740" y="240030"/>
                      <a:pt x="206692" y="239078"/>
                    </a:cubicBezTo>
                    <a:cubicBezTo>
                      <a:pt x="207645" y="238125"/>
                      <a:pt x="209550" y="236220"/>
                      <a:pt x="210503" y="235267"/>
                    </a:cubicBezTo>
                    <a:cubicBezTo>
                      <a:pt x="211455" y="234315"/>
                      <a:pt x="212408" y="234315"/>
                      <a:pt x="212408" y="233363"/>
                    </a:cubicBezTo>
                    <a:cubicBezTo>
                      <a:pt x="212408" y="233363"/>
                      <a:pt x="213360" y="232410"/>
                      <a:pt x="213360" y="232410"/>
                    </a:cubicBezTo>
                    <a:cubicBezTo>
                      <a:pt x="213360" y="231458"/>
                      <a:pt x="216217" y="231458"/>
                      <a:pt x="216217" y="232410"/>
                    </a:cubicBezTo>
                    <a:moveTo>
                      <a:pt x="206692" y="228600"/>
                    </a:moveTo>
                    <a:cubicBezTo>
                      <a:pt x="206692" y="228600"/>
                      <a:pt x="206692" y="228600"/>
                      <a:pt x="206692" y="228600"/>
                    </a:cubicBezTo>
                    <a:cubicBezTo>
                      <a:pt x="204788" y="230505"/>
                      <a:pt x="202883" y="231458"/>
                      <a:pt x="200978" y="232410"/>
                    </a:cubicBezTo>
                    <a:cubicBezTo>
                      <a:pt x="199073" y="233363"/>
                      <a:pt x="196215" y="234315"/>
                      <a:pt x="194310" y="235267"/>
                    </a:cubicBezTo>
                    <a:cubicBezTo>
                      <a:pt x="194310" y="235267"/>
                      <a:pt x="194310" y="235267"/>
                      <a:pt x="194310" y="235267"/>
                    </a:cubicBezTo>
                    <a:cubicBezTo>
                      <a:pt x="194310" y="235267"/>
                      <a:pt x="193358" y="235267"/>
                      <a:pt x="193358" y="235267"/>
                    </a:cubicBezTo>
                    <a:cubicBezTo>
                      <a:pt x="191453" y="236220"/>
                      <a:pt x="189548" y="238125"/>
                      <a:pt x="188595" y="239078"/>
                    </a:cubicBezTo>
                    <a:cubicBezTo>
                      <a:pt x="188595" y="239078"/>
                      <a:pt x="188595" y="239078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5738" y="241935"/>
                      <a:pt x="185738" y="241935"/>
                    </a:cubicBezTo>
                    <a:cubicBezTo>
                      <a:pt x="185738" y="241935"/>
                      <a:pt x="185738" y="242888"/>
                      <a:pt x="184785" y="242888"/>
                    </a:cubicBezTo>
                    <a:cubicBezTo>
                      <a:pt x="184785" y="242888"/>
                      <a:pt x="183833" y="242888"/>
                      <a:pt x="183833" y="242888"/>
                    </a:cubicBezTo>
                    <a:cubicBezTo>
                      <a:pt x="183833" y="242888"/>
                      <a:pt x="183833" y="242888"/>
                      <a:pt x="183833" y="242888"/>
                    </a:cubicBezTo>
                    <a:cubicBezTo>
                      <a:pt x="183833" y="242888"/>
                      <a:pt x="182880" y="242888"/>
                      <a:pt x="182880" y="242888"/>
                    </a:cubicBezTo>
                    <a:cubicBezTo>
                      <a:pt x="182880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0975" y="243840"/>
                      <a:pt x="180975" y="243840"/>
                      <a:pt x="180023" y="244792"/>
                    </a:cubicBezTo>
                    <a:cubicBezTo>
                      <a:pt x="179070" y="245745"/>
                      <a:pt x="178117" y="246698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8603"/>
                    </a:cubicBezTo>
                    <a:lnTo>
                      <a:pt x="177165" y="248603"/>
                    </a:ln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7650"/>
                      <a:pt x="177165" y="247650"/>
                    </a:cubicBezTo>
                    <a:lnTo>
                      <a:pt x="177165" y="247650"/>
                    </a:ln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8117" y="246698"/>
                      <a:pt x="178117" y="246698"/>
                      <a:pt x="179070" y="245745"/>
                    </a:cubicBezTo>
                    <a:cubicBezTo>
                      <a:pt x="179070" y="245745"/>
                      <a:pt x="179070" y="245745"/>
                      <a:pt x="179070" y="245745"/>
                    </a:cubicBezTo>
                    <a:cubicBezTo>
                      <a:pt x="179070" y="245745"/>
                      <a:pt x="179070" y="245745"/>
                      <a:pt x="180023" y="244792"/>
                    </a:cubicBezTo>
                    <a:cubicBezTo>
                      <a:pt x="180023" y="244792"/>
                      <a:pt x="180975" y="243840"/>
                      <a:pt x="180975" y="243840"/>
                    </a:cubicBezTo>
                    <a:cubicBezTo>
                      <a:pt x="180975" y="243840"/>
                      <a:pt x="180975" y="243840"/>
                      <a:pt x="180975" y="243840"/>
                    </a:cubicBezTo>
                    <a:cubicBezTo>
                      <a:pt x="181928" y="242888"/>
                      <a:pt x="181928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3833" y="240983"/>
                      <a:pt x="183833" y="240983"/>
                    </a:cubicBezTo>
                    <a:cubicBezTo>
                      <a:pt x="183833" y="240983"/>
                      <a:pt x="183833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8125"/>
                    </a:cubicBezTo>
                    <a:cubicBezTo>
                      <a:pt x="185738" y="238125"/>
                      <a:pt x="185738" y="238125"/>
                      <a:pt x="185738" y="238125"/>
                    </a:cubicBezTo>
                    <a:cubicBezTo>
                      <a:pt x="185738" y="238125"/>
                      <a:pt x="185738" y="237173"/>
                      <a:pt x="185738" y="237173"/>
                    </a:cubicBezTo>
                    <a:cubicBezTo>
                      <a:pt x="185738" y="237173"/>
                      <a:pt x="185738" y="237173"/>
                      <a:pt x="185738" y="237173"/>
                    </a:cubicBezTo>
                    <a:cubicBezTo>
                      <a:pt x="186690" y="236220"/>
                      <a:pt x="186690" y="235267"/>
                      <a:pt x="187642" y="234315"/>
                    </a:cubicBezTo>
                    <a:cubicBezTo>
                      <a:pt x="187642" y="234315"/>
                      <a:pt x="187642" y="234315"/>
                      <a:pt x="187642" y="234315"/>
                    </a:cubicBezTo>
                    <a:cubicBezTo>
                      <a:pt x="186690" y="234315"/>
                      <a:pt x="186690" y="235267"/>
                      <a:pt x="185738" y="236220"/>
                    </a:cubicBezTo>
                    <a:cubicBezTo>
                      <a:pt x="184785" y="236220"/>
                      <a:pt x="183833" y="236220"/>
                      <a:pt x="184785" y="235267"/>
                    </a:cubicBezTo>
                    <a:cubicBezTo>
                      <a:pt x="184785" y="235267"/>
                      <a:pt x="185738" y="234315"/>
                      <a:pt x="185738" y="234315"/>
                    </a:cubicBezTo>
                    <a:cubicBezTo>
                      <a:pt x="185738" y="234315"/>
                      <a:pt x="185738" y="234315"/>
                      <a:pt x="185738" y="234315"/>
                    </a:cubicBezTo>
                    <a:cubicBezTo>
                      <a:pt x="186690" y="233363"/>
                      <a:pt x="187642" y="232410"/>
                      <a:pt x="188595" y="231458"/>
                    </a:cubicBezTo>
                    <a:cubicBezTo>
                      <a:pt x="189548" y="231458"/>
                      <a:pt x="189548" y="230505"/>
                      <a:pt x="190500" y="230505"/>
                    </a:cubicBezTo>
                    <a:cubicBezTo>
                      <a:pt x="190500" y="230505"/>
                      <a:pt x="190500" y="230505"/>
                      <a:pt x="190500" y="230505"/>
                    </a:cubicBezTo>
                    <a:cubicBezTo>
                      <a:pt x="190500" y="230505"/>
                      <a:pt x="191453" y="229553"/>
                      <a:pt x="191453" y="229553"/>
                    </a:cubicBezTo>
                    <a:cubicBezTo>
                      <a:pt x="191453" y="229553"/>
                      <a:pt x="191453" y="229553"/>
                      <a:pt x="191453" y="229553"/>
                    </a:cubicBezTo>
                    <a:cubicBezTo>
                      <a:pt x="196215" y="224790"/>
                      <a:pt x="204788" y="224790"/>
                      <a:pt x="211455" y="221933"/>
                    </a:cubicBezTo>
                    <a:cubicBezTo>
                      <a:pt x="214313" y="220980"/>
                      <a:pt x="217170" y="222885"/>
                      <a:pt x="220028" y="221933"/>
                    </a:cubicBezTo>
                    <a:cubicBezTo>
                      <a:pt x="221933" y="221933"/>
                      <a:pt x="222885" y="221933"/>
                      <a:pt x="224790" y="222885"/>
                    </a:cubicBezTo>
                    <a:cubicBezTo>
                      <a:pt x="215265" y="222885"/>
                      <a:pt x="211455" y="225742"/>
                      <a:pt x="206692" y="228600"/>
                    </a:cubicBezTo>
                    <a:moveTo>
                      <a:pt x="217170" y="193358"/>
                    </a:moveTo>
                    <a:cubicBezTo>
                      <a:pt x="216217" y="192405"/>
                      <a:pt x="219075" y="193358"/>
                      <a:pt x="219075" y="192405"/>
                    </a:cubicBezTo>
                    <a:lnTo>
                      <a:pt x="215265" y="192405"/>
                    </a:lnTo>
                    <a:cubicBezTo>
                      <a:pt x="214313" y="192405"/>
                      <a:pt x="214313" y="191453"/>
                      <a:pt x="214313" y="191453"/>
                    </a:cubicBezTo>
                    <a:cubicBezTo>
                      <a:pt x="211455" y="192405"/>
                      <a:pt x="208598" y="193358"/>
                      <a:pt x="205740" y="193358"/>
                    </a:cubicBezTo>
                    <a:cubicBezTo>
                      <a:pt x="201930" y="194310"/>
                      <a:pt x="199073" y="197167"/>
                      <a:pt x="195263" y="198120"/>
                    </a:cubicBezTo>
                    <a:cubicBezTo>
                      <a:pt x="189548" y="200025"/>
                      <a:pt x="184785" y="204788"/>
                      <a:pt x="179070" y="206692"/>
                    </a:cubicBezTo>
                    <a:cubicBezTo>
                      <a:pt x="178117" y="206692"/>
                      <a:pt x="178117" y="205740"/>
                      <a:pt x="178117" y="205740"/>
                    </a:cubicBezTo>
                    <a:cubicBezTo>
                      <a:pt x="179070" y="203835"/>
                      <a:pt x="180975" y="203835"/>
                      <a:pt x="181928" y="201930"/>
                    </a:cubicBezTo>
                    <a:cubicBezTo>
                      <a:pt x="181928" y="200978"/>
                      <a:pt x="181928" y="200978"/>
                      <a:pt x="180975" y="200978"/>
                    </a:cubicBezTo>
                    <a:cubicBezTo>
                      <a:pt x="184785" y="195263"/>
                      <a:pt x="190500" y="192405"/>
                      <a:pt x="196215" y="187642"/>
                    </a:cubicBezTo>
                    <a:lnTo>
                      <a:pt x="196215" y="185738"/>
                    </a:lnTo>
                    <a:cubicBezTo>
                      <a:pt x="198120" y="183833"/>
                      <a:pt x="200025" y="182880"/>
                      <a:pt x="200978" y="180023"/>
                    </a:cubicBezTo>
                    <a:cubicBezTo>
                      <a:pt x="201930" y="178117"/>
                      <a:pt x="203835" y="176213"/>
                      <a:pt x="205740" y="175260"/>
                    </a:cubicBezTo>
                    <a:cubicBezTo>
                      <a:pt x="204788" y="174308"/>
                      <a:pt x="203835" y="174308"/>
                      <a:pt x="203835" y="173355"/>
                    </a:cubicBezTo>
                    <a:cubicBezTo>
                      <a:pt x="201930" y="173355"/>
                      <a:pt x="200025" y="174308"/>
                      <a:pt x="198120" y="172403"/>
                    </a:cubicBezTo>
                    <a:cubicBezTo>
                      <a:pt x="199073" y="171450"/>
                      <a:pt x="200025" y="170498"/>
                      <a:pt x="200978" y="170498"/>
                    </a:cubicBezTo>
                    <a:cubicBezTo>
                      <a:pt x="200978" y="170498"/>
                      <a:pt x="200025" y="170498"/>
                      <a:pt x="200025" y="169545"/>
                    </a:cubicBezTo>
                    <a:cubicBezTo>
                      <a:pt x="199073" y="168592"/>
                      <a:pt x="200978" y="167640"/>
                      <a:pt x="202883" y="166688"/>
                    </a:cubicBezTo>
                    <a:cubicBezTo>
                      <a:pt x="204788" y="165735"/>
                      <a:pt x="207645" y="165735"/>
                      <a:pt x="208598" y="164783"/>
                    </a:cubicBezTo>
                    <a:cubicBezTo>
                      <a:pt x="204788" y="163830"/>
                      <a:pt x="200978" y="165735"/>
                      <a:pt x="197167" y="163830"/>
                    </a:cubicBezTo>
                    <a:cubicBezTo>
                      <a:pt x="200025" y="157163"/>
                      <a:pt x="203835" y="151448"/>
                      <a:pt x="209550" y="148590"/>
                    </a:cubicBezTo>
                    <a:cubicBezTo>
                      <a:pt x="210503" y="148590"/>
                      <a:pt x="211455" y="148590"/>
                      <a:pt x="211455" y="149542"/>
                    </a:cubicBezTo>
                    <a:cubicBezTo>
                      <a:pt x="211455" y="152400"/>
                      <a:pt x="209550" y="154305"/>
                      <a:pt x="207645" y="154305"/>
                    </a:cubicBezTo>
                    <a:cubicBezTo>
                      <a:pt x="211455" y="155258"/>
                      <a:pt x="216217" y="155258"/>
                      <a:pt x="220028" y="157163"/>
                    </a:cubicBezTo>
                    <a:cubicBezTo>
                      <a:pt x="219075" y="158115"/>
                      <a:pt x="218123" y="158115"/>
                      <a:pt x="218123" y="158115"/>
                    </a:cubicBezTo>
                    <a:cubicBezTo>
                      <a:pt x="220980" y="160020"/>
                      <a:pt x="223838" y="159067"/>
                      <a:pt x="226695" y="160973"/>
                    </a:cubicBezTo>
                    <a:cubicBezTo>
                      <a:pt x="224790" y="162878"/>
                      <a:pt x="223838" y="160973"/>
                      <a:pt x="221933" y="160973"/>
                    </a:cubicBezTo>
                    <a:cubicBezTo>
                      <a:pt x="238125" y="165735"/>
                      <a:pt x="254317" y="169545"/>
                      <a:pt x="267653" y="179070"/>
                    </a:cubicBezTo>
                    <a:cubicBezTo>
                      <a:pt x="256223" y="184785"/>
                      <a:pt x="244792" y="187642"/>
                      <a:pt x="232410" y="189548"/>
                    </a:cubicBezTo>
                    <a:cubicBezTo>
                      <a:pt x="230505" y="189548"/>
                      <a:pt x="229553" y="189548"/>
                      <a:pt x="228600" y="188595"/>
                    </a:cubicBezTo>
                    <a:cubicBezTo>
                      <a:pt x="228600" y="189548"/>
                      <a:pt x="228600" y="190500"/>
                      <a:pt x="227648" y="190500"/>
                    </a:cubicBezTo>
                    <a:cubicBezTo>
                      <a:pt x="225742" y="190500"/>
                      <a:pt x="223838" y="190500"/>
                      <a:pt x="222885" y="191453"/>
                    </a:cubicBezTo>
                    <a:cubicBezTo>
                      <a:pt x="221933" y="194310"/>
                      <a:pt x="219075" y="194310"/>
                      <a:pt x="217170" y="193358"/>
                    </a:cubicBezTo>
                  </a:path>
                </a:pathLst>
              </a:custGeom>
              <a:solidFill>
                <a:srgbClr val="0000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7" name="Forme libre : forme 16">
                <a:extLst>
                  <a:ext uri="{FF2B5EF4-FFF2-40B4-BE49-F238E27FC236}">
                    <a16:creationId xmlns:a16="http://schemas.microsoft.com/office/drawing/2014/main" id="{41FC6F51-0348-4282-861C-87E9A6355D24}"/>
                  </a:ext>
                </a:extLst>
              </p:cNvPr>
              <p:cNvSpPr/>
              <p:nvPr/>
            </p:nvSpPr>
            <p:spPr>
              <a:xfrm>
                <a:off x="687476" y="269557"/>
                <a:ext cx="327888" cy="269557"/>
              </a:xfrm>
              <a:custGeom>
                <a:avLst/>
                <a:gdLst>
                  <a:gd name="connsiteX0" fmla="*/ 325031 w 327888"/>
                  <a:gd name="connsiteY0" fmla="*/ 0 h 269557"/>
                  <a:gd name="connsiteX1" fmla="*/ 34519 w 327888"/>
                  <a:gd name="connsiteY1" fmla="*/ 0 h 269557"/>
                  <a:gd name="connsiteX2" fmla="*/ 37376 w 327888"/>
                  <a:gd name="connsiteY2" fmla="*/ 953 h 269557"/>
                  <a:gd name="connsiteX3" fmla="*/ 44996 w 327888"/>
                  <a:gd name="connsiteY3" fmla="*/ 4763 h 269557"/>
                  <a:gd name="connsiteX4" fmla="*/ 54521 w 327888"/>
                  <a:gd name="connsiteY4" fmla="*/ 13335 h 269557"/>
                  <a:gd name="connsiteX5" fmla="*/ 56426 w 327888"/>
                  <a:gd name="connsiteY5" fmla="*/ 20003 h 269557"/>
                  <a:gd name="connsiteX6" fmla="*/ 52616 w 327888"/>
                  <a:gd name="connsiteY6" fmla="*/ 27623 h 269557"/>
                  <a:gd name="connsiteX7" fmla="*/ 42139 w 327888"/>
                  <a:gd name="connsiteY7" fmla="*/ 28575 h 269557"/>
                  <a:gd name="connsiteX8" fmla="*/ 36424 w 327888"/>
                  <a:gd name="connsiteY8" fmla="*/ 27623 h 269557"/>
                  <a:gd name="connsiteX9" fmla="*/ 56426 w 327888"/>
                  <a:gd name="connsiteY9" fmla="*/ 40957 h 269557"/>
                  <a:gd name="connsiteX10" fmla="*/ 61189 w 327888"/>
                  <a:gd name="connsiteY10" fmla="*/ 42863 h 269557"/>
                  <a:gd name="connsiteX11" fmla="*/ 62141 w 327888"/>
                  <a:gd name="connsiteY11" fmla="*/ 44768 h 269557"/>
                  <a:gd name="connsiteX12" fmla="*/ 60236 w 327888"/>
                  <a:gd name="connsiteY12" fmla="*/ 47625 h 269557"/>
                  <a:gd name="connsiteX13" fmla="*/ 62141 w 327888"/>
                  <a:gd name="connsiteY13" fmla="*/ 47625 h 269557"/>
                  <a:gd name="connsiteX14" fmla="*/ 67856 w 327888"/>
                  <a:gd name="connsiteY14" fmla="*/ 42863 h 269557"/>
                  <a:gd name="connsiteX15" fmla="*/ 69761 w 327888"/>
                  <a:gd name="connsiteY15" fmla="*/ 50482 h 269557"/>
                  <a:gd name="connsiteX16" fmla="*/ 64046 w 327888"/>
                  <a:gd name="connsiteY16" fmla="*/ 55245 h 269557"/>
                  <a:gd name="connsiteX17" fmla="*/ 64046 w 327888"/>
                  <a:gd name="connsiteY17" fmla="*/ 59055 h 269557"/>
                  <a:gd name="connsiteX18" fmla="*/ 66904 w 327888"/>
                  <a:gd name="connsiteY18" fmla="*/ 64770 h 269557"/>
                  <a:gd name="connsiteX19" fmla="*/ 70714 w 327888"/>
                  <a:gd name="connsiteY19" fmla="*/ 76200 h 269557"/>
                  <a:gd name="connsiteX20" fmla="*/ 74524 w 327888"/>
                  <a:gd name="connsiteY20" fmla="*/ 99060 h 269557"/>
                  <a:gd name="connsiteX21" fmla="*/ 73571 w 327888"/>
                  <a:gd name="connsiteY21" fmla="*/ 110490 h 269557"/>
                  <a:gd name="connsiteX22" fmla="*/ 79286 w 327888"/>
                  <a:gd name="connsiteY22" fmla="*/ 120968 h 269557"/>
                  <a:gd name="connsiteX23" fmla="*/ 85001 w 327888"/>
                  <a:gd name="connsiteY23" fmla="*/ 129540 h 269557"/>
                  <a:gd name="connsiteX24" fmla="*/ 90716 w 327888"/>
                  <a:gd name="connsiteY24" fmla="*/ 145733 h 269557"/>
                  <a:gd name="connsiteX25" fmla="*/ 80239 w 327888"/>
                  <a:gd name="connsiteY25" fmla="*/ 150495 h 269557"/>
                  <a:gd name="connsiteX26" fmla="*/ 81191 w 327888"/>
                  <a:gd name="connsiteY26" fmla="*/ 160020 h 269557"/>
                  <a:gd name="connsiteX27" fmla="*/ 74524 w 327888"/>
                  <a:gd name="connsiteY27" fmla="*/ 169545 h 269557"/>
                  <a:gd name="connsiteX28" fmla="*/ 78334 w 327888"/>
                  <a:gd name="connsiteY28" fmla="*/ 171450 h 269557"/>
                  <a:gd name="connsiteX29" fmla="*/ 80239 w 327888"/>
                  <a:gd name="connsiteY29" fmla="*/ 178118 h 269557"/>
                  <a:gd name="connsiteX30" fmla="*/ 75476 w 327888"/>
                  <a:gd name="connsiteY30" fmla="*/ 187643 h 269557"/>
                  <a:gd name="connsiteX31" fmla="*/ 74524 w 327888"/>
                  <a:gd name="connsiteY31" fmla="*/ 199073 h 269557"/>
                  <a:gd name="connsiteX32" fmla="*/ 64999 w 327888"/>
                  <a:gd name="connsiteY32" fmla="*/ 206693 h 269557"/>
                  <a:gd name="connsiteX33" fmla="*/ 55474 w 327888"/>
                  <a:gd name="connsiteY33" fmla="*/ 207645 h 269557"/>
                  <a:gd name="connsiteX34" fmla="*/ 49759 w 327888"/>
                  <a:gd name="connsiteY34" fmla="*/ 206693 h 269557"/>
                  <a:gd name="connsiteX35" fmla="*/ 24041 w 327888"/>
                  <a:gd name="connsiteY35" fmla="*/ 202883 h 269557"/>
                  <a:gd name="connsiteX36" fmla="*/ 17374 w 327888"/>
                  <a:gd name="connsiteY36" fmla="*/ 204788 h 269557"/>
                  <a:gd name="connsiteX37" fmla="*/ 11659 w 327888"/>
                  <a:gd name="connsiteY37" fmla="*/ 210503 h 269557"/>
                  <a:gd name="connsiteX38" fmla="*/ 11659 w 327888"/>
                  <a:gd name="connsiteY38" fmla="*/ 210503 h 269557"/>
                  <a:gd name="connsiteX39" fmla="*/ 10706 w 327888"/>
                  <a:gd name="connsiteY39" fmla="*/ 211455 h 269557"/>
                  <a:gd name="connsiteX40" fmla="*/ 9754 w 327888"/>
                  <a:gd name="connsiteY40" fmla="*/ 212408 h 269557"/>
                  <a:gd name="connsiteX41" fmla="*/ 9754 w 327888"/>
                  <a:gd name="connsiteY41" fmla="*/ 213360 h 269557"/>
                  <a:gd name="connsiteX42" fmla="*/ 5944 w 327888"/>
                  <a:gd name="connsiteY42" fmla="*/ 219075 h 269557"/>
                  <a:gd name="connsiteX43" fmla="*/ 5944 w 327888"/>
                  <a:gd name="connsiteY43" fmla="*/ 219075 h 269557"/>
                  <a:gd name="connsiteX44" fmla="*/ 5944 w 327888"/>
                  <a:gd name="connsiteY44" fmla="*/ 220028 h 269557"/>
                  <a:gd name="connsiteX45" fmla="*/ 2134 w 327888"/>
                  <a:gd name="connsiteY45" fmla="*/ 229553 h 269557"/>
                  <a:gd name="connsiteX46" fmla="*/ 3086 w 327888"/>
                  <a:gd name="connsiteY46" fmla="*/ 253365 h 269557"/>
                  <a:gd name="connsiteX47" fmla="*/ 30709 w 327888"/>
                  <a:gd name="connsiteY47" fmla="*/ 263843 h 269557"/>
                  <a:gd name="connsiteX48" fmla="*/ 43091 w 327888"/>
                  <a:gd name="connsiteY48" fmla="*/ 269558 h 269557"/>
                  <a:gd name="connsiteX49" fmla="*/ 327889 w 327888"/>
                  <a:gd name="connsiteY49" fmla="*/ 269558 h 269557"/>
                  <a:gd name="connsiteX50" fmla="*/ 327889 w 327888"/>
                  <a:gd name="connsiteY50" fmla="*/ 0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327888" h="269557">
                    <a:moveTo>
                      <a:pt x="325031" y="0"/>
                    </a:moveTo>
                    <a:lnTo>
                      <a:pt x="34519" y="0"/>
                    </a:lnTo>
                    <a:cubicBezTo>
                      <a:pt x="34519" y="0"/>
                      <a:pt x="35471" y="0"/>
                      <a:pt x="37376" y="953"/>
                    </a:cubicBezTo>
                    <a:cubicBezTo>
                      <a:pt x="39281" y="1905"/>
                      <a:pt x="43091" y="3810"/>
                      <a:pt x="44996" y="4763"/>
                    </a:cubicBezTo>
                    <a:cubicBezTo>
                      <a:pt x="48806" y="6668"/>
                      <a:pt x="52616" y="9525"/>
                      <a:pt x="54521" y="13335"/>
                    </a:cubicBezTo>
                    <a:cubicBezTo>
                      <a:pt x="55474" y="15240"/>
                      <a:pt x="57379" y="18098"/>
                      <a:pt x="56426" y="20003"/>
                    </a:cubicBezTo>
                    <a:cubicBezTo>
                      <a:pt x="55474" y="22860"/>
                      <a:pt x="54521" y="26670"/>
                      <a:pt x="52616" y="27623"/>
                    </a:cubicBezTo>
                    <a:cubicBezTo>
                      <a:pt x="49759" y="29528"/>
                      <a:pt x="45949" y="29528"/>
                      <a:pt x="42139" y="28575"/>
                    </a:cubicBezTo>
                    <a:cubicBezTo>
                      <a:pt x="40234" y="28575"/>
                      <a:pt x="38329" y="27623"/>
                      <a:pt x="36424" y="27623"/>
                    </a:cubicBezTo>
                    <a:cubicBezTo>
                      <a:pt x="44044" y="30480"/>
                      <a:pt x="51664" y="34290"/>
                      <a:pt x="56426" y="40957"/>
                    </a:cubicBezTo>
                    <a:cubicBezTo>
                      <a:pt x="57379" y="41910"/>
                      <a:pt x="59284" y="42863"/>
                      <a:pt x="61189" y="42863"/>
                    </a:cubicBezTo>
                    <a:cubicBezTo>
                      <a:pt x="62141" y="42863"/>
                      <a:pt x="62141" y="43815"/>
                      <a:pt x="62141" y="44768"/>
                    </a:cubicBezTo>
                    <a:cubicBezTo>
                      <a:pt x="61189" y="45720"/>
                      <a:pt x="60236" y="46673"/>
                      <a:pt x="60236" y="47625"/>
                    </a:cubicBezTo>
                    <a:lnTo>
                      <a:pt x="62141" y="47625"/>
                    </a:lnTo>
                    <a:cubicBezTo>
                      <a:pt x="64999" y="46673"/>
                      <a:pt x="64046" y="41910"/>
                      <a:pt x="67856" y="42863"/>
                    </a:cubicBezTo>
                    <a:cubicBezTo>
                      <a:pt x="70714" y="44768"/>
                      <a:pt x="71666" y="47625"/>
                      <a:pt x="69761" y="50482"/>
                    </a:cubicBezTo>
                    <a:cubicBezTo>
                      <a:pt x="67856" y="52388"/>
                      <a:pt x="65951" y="54293"/>
                      <a:pt x="64046" y="55245"/>
                    </a:cubicBezTo>
                    <a:cubicBezTo>
                      <a:pt x="63094" y="56198"/>
                      <a:pt x="63094" y="58103"/>
                      <a:pt x="64046" y="59055"/>
                    </a:cubicBezTo>
                    <a:cubicBezTo>
                      <a:pt x="65951" y="60960"/>
                      <a:pt x="65951" y="62865"/>
                      <a:pt x="66904" y="64770"/>
                    </a:cubicBezTo>
                    <a:cubicBezTo>
                      <a:pt x="68809" y="68580"/>
                      <a:pt x="68809" y="72390"/>
                      <a:pt x="70714" y="76200"/>
                    </a:cubicBezTo>
                    <a:cubicBezTo>
                      <a:pt x="72619" y="83820"/>
                      <a:pt x="74524" y="91440"/>
                      <a:pt x="74524" y="99060"/>
                    </a:cubicBezTo>
                    <a:cubicBezTo>
                      <a:pt x="74524" y="102870"/>
                      <a:pt x="72619" y="106680"/>
                      <a:pt x="73571" y="110490"/>
                    </a:cubicBezTo>
                    <a:cubicBezTo>
                      <a:pt x="74524" y="114300"/>
                      <a:pt x="77381" y="118110"/>
                      <a:pt x="79286" y="120968"/>
                    </a:cubicBezTo>
                    <a:cubicBezTo>
                      <a:pt x="81191" y="123825"/>
                      <a:pt x="83096" y="125730"/>
                      <a:pt x="85001" y="129540"/>
                    </a:cubicBezTo>
                    <a:cubicBezTo>
                      <a:pt x="87859" y="134303"/>
                      <a:pt x="93574" y="140018"/>
                      <a:pt x="90716" y="145733"/>
                    </a:cubicBezTo>
                    <a:cubicBezTo>
                      <a:pt x="88811" y="149543"/>
                      <a:pt x="83096" y="148590"/>
                      <a:pt x="80239" y="150495"/>
                    </a:cubicBezTo>
                    <a:cubicBezTo>
                      <a:pt x="77381" y="153353"/>
                      <a:pt x="79286" y="157163"/>
                      <a:pt x="81191" y="160020"/>
                    </a:cubicBezTo>
                    <a:cubicBezTo>
                      <a:pt x="84049" y="164783"/>
                      <a:pt x="78334" y="167640"/>
                      <a:pt x="74524" y="169545"/>
                    </a:cubicBezTo>
                    <a:cubicBezTo>
                      <a:pt x="75476" y="171450"/>
                      <a:pt x="77381" y="170498"/>
                      <a:pt x="78334" y="171450"/>
                    </a:cubicBezTo>
                    <a:cubicBezTo>
                      <a:pt x="79286" y="174308"/>
                      <a:pt x="81191" y="175260"/>
                      <a:pt x="80239" y="178118"/>
                    </a:cubicBezTo>
                    <a:cubicBezTo>
                      <a:pt x="78334" y="180975"/>
                      <a:pt x="71666" y="182880"/>
                      <a:pt x="75476" y="187643"/>
                    </a:cubicBezTo>
                    <a:cubicBezTo>
                      <a:pt x="77381" y="191453"/>
                      <a:pt x="76429" y="195263"/>
                      <a:pt x="74524" y="199073"/>
                    </a:cubicBezTo>
                    <a:cubicBezTo>
                      <a:pt x="72619" y="203835"/>
                      <a:pt x="68809" y="205740"/>
                      <a:pt x="64999" y="206693"/>
                    </a:cubicBezTo>
                    <a:cubicBezTo>
                      <a:pt x="62141" y="207645"/>
                      <a:pt x="58331" y="207645"/>
                      <a:pt x="55474" y="207645"/>
                    </a:cubicBezTo>
                    <a:cubicBezTo>
                      <a:pt x="51664" y="206693"/>
                      <a:pt x="50711" y="206693"/>
                      <a:pt x="49759" y="206693"/>
                    </a:cubicBezTo>
                    <a:cubicBezTo>
                      <a:pt x="41186" y="205740"/>
                      <a:pt x="32614" y="202883"/>
                      <a:pt x="24041" y="202883"/>
                    </a:cubicBezTo>
                    <a:cubicBezTo>
                      <a:pt x="21184" y="203835"/>
                      <a:pt x="19279" y="203835"/>
                      <a:pt x="17374" y="204788"/>
                    </a:cubicBezTo>
                    <a:cubicBezTo>
                      <a:pt x="15469" y="206693"/>
                      <a:pt x="12611" y="208598"/>
                      <a:pt x="11659" y="210503"/>
                    </a:cubicBezTo>
                    <a:cubicBezTo>
                      <a:pt x="11659" y="210503"/>
                      <a:pt x="11659" y="210503"/>
                      <a:pt x="11659" y="210503"/>
                    </a:cubicBezTo>
                    <a:cubicBezTo>
                      <a:pt x="11659" y="210503"/>
                      <a:pt x="10706" y="211455"/>
                      <a:pt x="10706" y="211455"/>
                    </a:cubicBezTo>
                    <a:cubicBezTo>
                      <a:pt x="10706" y="211455"/>
                      <a:pt x="10706" y="212408"/>
                      <a:pt x="9754" y="212408"/>
                    </a:cubicBezTo>
                    <a:cubicBezTo>
                      <a:pt x="9754" y="212408"/>
                      <a:pt x="9754" y="212408"/>
                      <a:pt x="9754" y="213360"/>
                    </a:cubicBezTo>
                    <a:cubicBezTo>
                      <a:pt x="7849" y="215265"/>
                      <a:pt x="6896" y="217170"/>
                      <a:pt x="5944" y="219075"/>
                    </a:cubicBezTo>
                    <a:cubicBezTo>
                      <a:pt x="5944" y="219075"/>
                      <a:pt x="5944" y="219075"/>
                      <a:pt x="5944" y="219075"/>
                    </a:cubicBezTo>
                    <a:cubicBezTo>
                      <a:pt x="5944" y="219075"/>
                      <a:pt x="5944" y="220028"/>
                      <a:pt x="5944" y="220028"/>
                    </a:cubicBezTo>
                    <a:cubicBezTo>
                      <a:pt x="4039" y="222885"/>
                      <a:pt x="3086" y="226695"/>
                      <a:pt x="2134" y="229553"/>
                    </a:cubicBezTo>
                    <a:cubicBezTo>
                      <a:pt x="-1676" y="240983"/>
                      <a:pt x="229" y="251460"/>
                      <a:pt x="3086" y="253365"/>
                    </a:cubicBezTo>
                    <a:cubicBezTo>
                      <a:pt x="4039" y="254318"/>
                      <a:pt x="20231" y="259080"/>
                      <a:pt x="30709" y="263843"/>
                    </a:cubicBezTo>
                    <a:cubicBezTo>
                      <a:pt x="36424" y="265748"/>
                      <a:pt x="39281" y="267653"/>
                      <a:pt x="43091" y="269558"/>
                    </a:cubicBezTo>
                    <a:lnTo>
                      <a:pt x="327889" y="269558"/>
                    </a:lnTo>
                    <a:lnTo>
                      <a:pt x="327889" y="0"/>
                    </a:lnTo>
                    <a:close/>
                  </a:path>
                </a:pathLst>
              </a:custGeom>
              <a:solidFill>
                <a:srgbClr val="E1000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8" name="Forme libre : forme 17">
                <a:extLst>
                  <a:ext uri="{FF2B5EF4-FFF2-40B4-BE49-F238E27FC236}">
                    <a16:creationId xmlns:a16="http://schemas.microsoft.com/office/drawing/2014/main" id="{C721A0DA-2CD2-4A93-9D0C-C1DEBB82B2D7}"/>
                  </a:ext>
                </a:extLst>
              </p:cNvPr>
              <p:cNvSpPr/>
              <p:nvPr/>
            </p:nvSpPr>
            <p:spPr>
              <a:xfrm>
                <a:off x="717232" y="362507"/>
                <a:ext cx="33524" cy="30636"/>
              </a:xfrm>
              <a:custGeom>
                <a:avLst/>
                <a:gdLst>
                  <a:gd name="connsiteX0" fmla="*/ 21907 w 33524"/>
                  <a:gd name="connsiteY0" fmla="*/ 6110 h 30636"/>
                  <a:gd name="connsiteX1" fmla="*/ 26670 w 33524"/>
                  <a:gd name="connsiteY1" fmla="*/ 8015 h 30636"/>
                  <a:gd name="connsiteX2" fmla="*/ 16192 w 33524"/>
                  <a:gd name="connsiteY2" fmla="*/ 17540 h 30636"/>
                  <a:gd name="connsiteX3" fmla="*/ 14288 w 33524"/>
                  <a:gd name="connsiteY3" fmla="*/ 17540 h 30636"/>
                  <a:gd name="connsiteX4" fmla="*/ 11430 w 33524"/>
                  <a:gd name="connsiteY4" fmla="*/ 21350 h 30636"/>
                  <a:gd name="connsiteX5" fmla="*/ 6667 w 33524"/>
                  <a:gd name="connsiteY5" fmla="*/ 22302 h 30636"/>
                  <a:gd name="connsiteX6" fmla="*/ 14288 w 33524"/>
                  <a:gd name="connsiteY6" fmla="*/ 25160 h 30636"/>
                  <a:gd name="connsiteX7" fmla="*/ 16192 w 33524"/>
                  <a:gd name="connsiteY7" fmla="*/ 27065 h 30636"/>
                  <a:gd name="connsiteX8" fmla="*/ 17145 w 33524"/>
                  <a:gd name="connsiteY8" fmla="*/ 26112 h 30636"/>
                  <a:gd name="connsiteX9" fmla="*/ 18097 w 33524"/>
                  <a:gd name="connsiteY9" fmla="*/ 27065 h 30636"/>
                  <a:gd name="connsiteX10" fmla="*/ 18097 w 33524"/>
                  <a:gd name="connsiteY10" fmla="*/ 28017 h 30636"/>
                  <a:gd name="connsiteX11" fmla="*/ 12382 w 33524"/>
                  <a:gd name="connsiteY11" fmla="*/ 29922 h 30636"/>
                  <a:gd name="connsiteX12" fmla="*/ 23813 w 33524"/>
                  <a:gd name="connsiteY12" fmla="*/ 29922 h 30636"/>
                  <a:gd name="connsiteX13" fmla="*/ 25717 w 33524"/>
                  <a:gd name="connsiteY13" fmla="*/ 21350 h 30636"/>
                  <a:gd name="connsiteX14" fmla="*/ 24765 w 33524"/>
                  <a:gd name="connsiteY14" fmla="*/ 19445 h 30636"/>
                  <a:gd name="connsiteX15" fmla="*/ 27622 w 33524"/>
                  <a:gd name="connsiteY15" fmla="*/ 16587 h 30636"/>
                  <a:gd name="connsiteX16" fmla="*/ 30480 w 33524"/>
                  <a:gd name="connsiteY16" fmla="*/ 14682 h 30636"/>
                  <a:gd name="connsiteX17" fmla="*/ 28575 w 33524"/>
                  <a:gd name="connsiteY17" fmla="*/ 11825 h 30636"/>
                  <a:gd name="connsiteX18" fmla="*/ 33338 w 33524"/>
                  <a:gd name="connsiteY18" fmla="*/ 3252 h 30636"/>
                  <a:gd name="connsiteX19" fmla="*/ 25717 w 33524"/>
                  <a:gd name="connsiteY19" fmla="*/ 395 h 30636"/>
                  <a:gd name="connsiteX20" fmla="*/ 17145 w 33524"/>
                  <a:gd name="connsiteY20" fmla="*/ 1347 h 30636"/>
                  <a:gd name="connsiteX21" fmla="*/ 9525 w 33524"/>
                  <a:gd name="connsiteY21" fmla="*/ 3252 h 30636"/>
                  <a:gd name="connsiteX22" fmla="*/ 0 w 33524"/>
                  <a:gd name="connsiteY22" fmla="*/ 8015 h 30636"/>
                  <a:gd name="connsiteX23" fmla="*/ 11430 w 33524"/>
                  <a:gd name="connsiteY23" fmla="*/ 5157 h 30636"/>
                  <a:gd name="connsiteX24" fmla="*/ 21907 w 33524"/>
                  <a:gd name="connsiteY24" fmla="*/ 6110 h 3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3524" h="30636">
                    <a:moveTo>
                      <a:pt x="21907" y="6110"/>
                    </a:moveTo>
                    <a:cubicBezTo>
                      <a:pt x="23813" y="7062"/>
                      <a:pt x="26670" y="7062"/>
                      <a:pt x="26670" y="8015"/>
                    </a:cubicBezTo>
                    <a:cubicBezTo>
                      <a:pt x="25717" y="11825"/>
                      <a:pt x="20002" y="12777"/>
                      <a:pt x="16192" y="17540"/>
                    </a:cubicBezTo>
                    <a:lnTo>
                      <a:pt x="14288" y="17540"/>
                    </a:lnTo>
                    <a:cubicBezTo>
                      <a:pt x="12382" y="18492"/>
                      <a:pt x="13335" y="21350"/>
                      <a:pt x="11430" y="21350"/>
                    </a:cubicBezTo>
                    <a:cubicBezTo>
                      <a:pt x="9525" y="20397"/>
                      <a:pt x="8572" y="21350"/>
                      <a:pt x="6667" y="22302"/>
                    </a:cubicBezTo>
                    <a:cubicBezTo>
                      <a:pt x="8572" y="24207"/>
                      <a:pt x="11430" y="26112"/>
                      <a:pt x="14288" y="25160"/>
                    </a:cubicBezTo>
                    <a:cubicBezTo>
                      <a:pt x="15240" y="25160"/>
                      <a:pt x="16192" y="26112"/>
                      <a:pt x="16192" y="27065"/>
                    </a:cubicBezTo>
                    <a:cubicBezTo>
                      <a:pt x="16192" y="27065"/>
                      <a:pt x="17145" y="27065"/>
                      <a:pt x="17145" y="26112"/>
                    </a:cubicBezTo>
                    <a:cubicBezTo>
                      <a:pt x="18097" y="26112"/>
                      <a:pt x="18097" y="26112"/>
                      <a:pt x="18097" y="27065"/>
                    </a:cubicBezTo>
                    <a:lnTo>
                      <a:pt x="18097" y="28017"/>
                    </a:lnTo>
                    <a:cubicBezTo>
                      <a:pt x="16192" y="29922"/>
                      <a:pt x="14288" y="28970"/>
                      <a:pt x="12382" y="29922"/>
                    </a:cubicBezTo>
                    <a:cubicBezTo>
                      <a:pt x="16192" y="30875"/>
                      <a:pt x="20955" y="30875"/>
                      <a:pt x="23813" y="29922"/>
                    </a:cubicBezTo>
                    <a:cubicBezTo>
                      <a:pt x="26670" y="28970"/>
                      <a:pt x="23813" y="24207"/>
                      <a:pt x="25717" y="21350"/>
                    </a:cubicBezTo>
                    <a:cubicBezTo>
                      <a:pt x="24765" y="21350"/>
                      <a:pt x="25717" y="19445"/>
                      <a:pt x="24765" y="19445"/>
                    </a:cubicBezTo>
                    <a:cubicBezTo>
                      <a:pt x="25717" y="18492"/>
                      <a:pt x="26670" y="16587"/>
                      <a:pt x="27622" y="16587"/>
                    </a:cubicBezTo>
                    <a:cubicBezTo>
                      <a:pt x="28575" y="16587"/>
                      <a:pt x="30480" y="15635"/>
                      <a:pt x="30480" y="14682"/>
                    </a:cubicBezTo>
                    <a:cubicBezTo>
                      <a:pt x="30480" y="13730"/>
                      <a:pt x="28575" y="12777"/>
                      <a:pt x="28575" y="11825"/>
                    </a:cubicBezTo>
                    <a:cubicBezTo>
                      <a:pt x="31432" y="9920"/>
                      <a:pt x="34290" y="7062"/>
                      <a:pt x="33338" y="3252"/>
                    </a:cubicBezTo>
                    <a:cubicBezTo>
                      <a:pt x="32385" y="1347"/>
                      <a:pt x="28575" y="1347"/>
                      <a:pt x="25717" y="395"/>
                    </a:cubicBezTo>
                    <a:cubicBezTo>
                      <a:pt x="22860" y="-558"/>
                      <a:pt x="20002" y="395"/>
                      <a:pt x="17145" y="1347"/>
                    </a:cubicBezTo>
                    <a:cubicBezTo>
                      <a:pt x="14288" y="1347"/>
                      <a:pt x="12382" y="3252"/>
                      <a:pt x="9525" y="3252"/>
                    </a:cubicBezTo>
                    <a:cubicBezTo>
                      <a:pt x="5715" y="4205"/>
                      <a:pt x="2857" y="6110"/>
                      <a:pt x="0" y="8015"/>
                    </a:cubicBezTo>
                    <a:cubicBezTo>
                      <a:pt x="3810" y="6110"/>
                      <a:pt x="7620" y="6110"/>
                      <a:pt x="11430" y="5157"/>
                    </a:cubicBezTo>
                    <a:cubicBezTo>
                      <a:pt x="16192" y="6110"/>
                      <a:pt x="19050" y="5157"/>
                      <a:pt x="21907" y="6110"/>
                    </a:cubicBezTo>
                  </a:path>
                </a:pathLst>
              </a:custGeom>
              <a:solidFill>
                <a:srgbClr val="9C9B9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  <p:sp>
        <p:nvSpPr>
          <p:cNvPr id="31" name="Titre 1">
            <a:extLst>
              <a:ext uri="{FF2B5EF4-FFF2-40B4-BE49-F238E27FC236}">
                <a16:creationId xmlns:a16="http://schemas.microsoft.com/office/drawing/2014/main" id="{B798DD63-88D7-4D98-8CBC-A6C469B47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8163" y="1043684"/>
            <a:ext cx="11115675" cy="5274315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bg1"/>
            </a:solidFill>
          </a:ln>
        </p:spPr>
        <p:txBody>
          <a:bodyPr lIns="0" bIns="360000" anchor="ctr" anchorCtr="0"/>
          <a:lstStyle>
            <a:lvl1pPr marL="0" indent="0">
              <a:buFont typeface="+mj-lt"/>
              <a:buNone/>
              <a:defRPr sz="44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N°. Titre</a:t>
            </a:r>
          </a:p>
        </p:txBody>
      </p: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CEC170AE-291A-4368-8AA9-201269AED348}"/>
              </a:ext>
            </a:extLst>
          </p:cNvPr>
          <p:cNvGrpSpPr/>
          <p:nvPr userDrawn="1"/>
        </p:nvGrpSpPr>
        <p:grpSpPr>
          <a:xfrm>
            <a:off x="10061357" y="512156"/>
            <a:ext cx="1592481" cy="198907"/>
            <a:chOff x="10061357" y="512156"/>
            <a:chExt cx="1592481" cy="198907"/>
          </a:xfrm>
        </p:grpSpPr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C39679EB-EF3D-4154-95A5-3688B66C79E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189201" y="540544"/>
              <a:ext cx="464637" cy="170519"/>
            </a:xfrm>
            <a:custGeom>
              <a:avLst/>
              <a:gdLst>
                <a:gd name="connsiteX0" fmla="*/ 0 w 464637"/>
                <a:gd name="connsiteY0" fmla="*/ 0 h 170519"/>
                <a:gd name="connsiteX1" fmla="*/ 0 w 464637"/>
                <a:gd name="connsiteY1" fmla="*/ 82673 h 170519"/>
                <a:gd name="connsiteX2" fmla="*/ 381965 w 464637"/>
                <a:gd name="connsiteY2" fmla="*/ 82673 h 170519"/>
                <a:gd name="connsiteX3" fmla="*/ 381965 w 464637"/>
                <a:gd name="connsiteY3" fmla="*/ 170520 h 170519"/>
                <a:gd name="connsiteX4" fmla="*/ 464638 w 464637"/>
                <a:gd name="connsiteY4" fmla="*/ 170520 h 170519"/>
                <a:gd name="connsiteX5" fmla="*/ 464638 w 464637"/>
                <a:gd name="connsiteY5" fmla="*/ 0 h 170519"/>
                <a:gd name="connsiteX6" fmla="*/ 0 w 464637"/>
                <a:gd name="connsiteY6" fmla="*/ 0 h 170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4637" h="170519">
                  <a:moveTo>
                    <a:pt x="0" y="0"/>
                  </a:moveTo>
                  <a:lnTo>
                    <a:pt x="0" y="82673"/>
                  </a:lnTo>
                  <a:lnTo>
                    <a:pt x="381965" y="82673"/>
                  </a:lnTo>
                  <a:lnTo>
                    <a:pt x="381965" y="170520"/>
                  </a:lnTo>
                  <a:lnTo>
                    <a:pt x="464638" y="170520"/>
                  </a:lnTo>
                  <a:lnTo>
                    <a:pt x="46463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" name="ZoneTexte 20">
              <a:extLst>
                <a:ext uri="{FF2B5EF4-FFF2-40B4-BE49-F238E27FC236}">
                  <a16:creationId xmlns:a16="http://schemas.microsoft.com/office/drawing/2014/main" id="{0EF3265D-3945-4A76-97F2-A9A6DE6D4106}"/>
                </a:ext>
              </a:extLst>
            </p:cNvPr>
            <p:cNvSpPr txBox="1"/>
            <p:nvPr userDrawn="1"/>
          </p:nvSpPr>
          <p:spPr>
            <a:xfrm>
              <a:off x="10061357" y="512156"/>
              <a:ext cx="1102866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fr-FR" sz="900" b="1" cap="all" baseline="0" dirty="0">
                  <a:solidFill>
                    <a:schemeClr val="accent1"/>
                  </a:solidFill>
                </a:rPr>
                <a:t>Investir l’aveni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59018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Diapositive de titr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C:\Users\zineb_glila\Desktop\Clients en cours\ADEME\Cover5-gris.jpg"/>
          <p:cNvPicPr>
            <a:picLocks noChangeAspect="1" noChangeArrowheads="1"/>
          </p:cNvPicPr>
          <p:nvPr userDrawn="1"/>
        </p:nvPicPr>
        <p:blipFill>
          <a:blip r:embed="rId5" cstate="print"/>
          <a:srcRect t="24550"/>
          <a:stretch>
            <a:fillRect/>
          </a:stretch>
        </p:blipFill>
        <p:spPr bwMode="auto">
          <a:xfrm>
            <a:off x="0" y="1683781"/>
            <a:ext cx="12192000" cy="5174343"/>
          </a:xfrm>
          <a:prstGeom prst="rect">
            <a:avLst/>
          </a:prstGeom>
          <a:noFill/>
        </p:spPr>
      </p:pic>
      <p:sp>
        <p:nvSpPr>
          <p:cNvPr id="6" name="Freeform 8"/>
          <p:cNvSpPr>
            <a:spLocks/>
          </p:cNvSpPr>
          <p:nvPr userDrawn="1"/>
        </p:nvSpPr>
        <p:spPr bwMode="auto">
          <a:xfrm>
            <a:off x="96" y="4899492"/>
            <a:ext cx="12191999" cy="1957427"/>
          </a:xfrm>
          <a:custGeom>
            <a:avLst/>
            <a:gdLst>
              <a:gd name="connsiteX0" fmla="*/ 0 w 10000"/>
              <a:gd name="connsiteY0" fmla="*/ 3307 h 10363"/>
              <a:gd name="connsiteX1" fmla="*/ 0 w 10000"/>
              <a:gd name="connsiteY1" fmla="*/ 10000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20 w 10000"/>
              <a:gd name="connsiteY2" fmla="*/ 10363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597 h 10653"/>
              <a:gd name="connsiteX1" fmla="*/ 0 w 10000"/>
              <a:gd name="connsiteY1" fmla="*/ 10653 h 10653"/>
              <a:gd name="connsiteX2" fmla="*/ 420 w 10000"/>
              <a:gd name="connsiteY2" fmla="*/ 10653 h 10653"/>
              <a:gd name="connsiteX3" fmla="*/ 10000 w 10000"/>
              <a:gd name="connsiteY3" fmla="*/ 10653 h 10653"/>
              <a:gd name="connsiteX4" fmla="*/ 10000 w 10000"/>
              <a:gd name="connsiteY4" fmla="*/ 0 h 10653"/>
              <a:gd name="connsiteX5" fmla="*/ 0 w 10000"/>
              <a:gd name="connsiteY5" fmla="*/ 3597 h 10653"/>
              <a:gd name="connsiteX0" fmla="*/ 0 w 10008"/>
              <a:gd name="connsiteY0" fmla="*/ 2602 h 10653"/>
              <a:gd name="connsiteX1" fmla="*/ 8 w 10008"/>
              <a:gd name="connsiteY1" fmla="*/ 10653 h 10653"/>
              <a:gd name="connsiteX2" fmla="*/ 428 w 10008"/>
              <a:gd name="connsiteY2" fmla="*/ 10653 h 10653"/>
              <a:gd name="connsiteX3" fmla="*/ 10008 w 10008"/>
              <a:gd name="connsiteY3" fmla="*/ 10653 h 10653"/>
              <a:gd name="connsiteX4" fmla="*/ 10008 w 10008"/>
              <a:gd name="connsiteY4" fmla="*/ 0 h 10653"/>
              <a:gd name="connsiteX5" fmla="*/ 0 w 10008"/>
              <a:gd name="connsiteY5" fmla="*/ 2602 h 10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653">
                <a:moveTo>
                  <a:pt x="0" y="2602"/>
                </a:moveTo>
                <a:cubicBezTo>
                  <a:pt x="3" y="5286"/>
                  <a:pt x="5" y="7969"/>
                  <a:pt x="8" y="10653"/>
                </a:cubicBezTo>
                <a:lnTo>
                  <a:pt x="428" y="10653"/>
                </a:lnTo>
                <a:lnTo>
                  <a:pt x="10008" y="10653"/>
                </a:lnTo>
                <a:lnTo>
                  <a:pt x="10008" y="0"/>
                </a:lnTo>
                <a:lnTo>
                  <a:pt x="0" y="260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 dirty="0">
              <a:solidFill>
                <a:srgbClr val="40404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35047" y="410029"/>
            <a:ext cx="8402036" cy="488950"/>
          </a:xfrm>
        </p:spPr>
        <p:txBody>
          <a:bodyPr lIns="0" tIns="0" rIns="0" bIns="0" anchor="b">
            <a:noAutofit/>
          </a:bodyPr>
          <a:lstStyle>
            <a:lvl1pPr algn="l"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35047" y="899102"/>
            <a:ext cx="8402036" cy="39052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4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sp>
        <p:nvSpPr>
          <p:cNvPr id="16" name="Freeform 15"/>
          <p:cNvSpPr/>
          <p:nvPr userDrawn="1"/>
        </p:nvSpPr>
        <p:spPr>
          <a:xfrm>
            <a:off x="0" y="4823460"/>
            <a:ext cx="12192000" cy="739140"/>
          </a:xfrm>
          <a:custGeom>
            <a:avLst/>
            <a:gdLst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7391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883140 w 9906000"/>
              <a:gd name="connsiteY2" fmla="*/ 1295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89716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28773 h 739140"/>
              <a:gd name="connsiteX3" fmla="*/ 0 w 9906000"/>
              <a:gd name="connsiteY3" fmla="*/ 739140 h 739140"/>
              <a:gd name="connsiteX4" fmla="*/ 0 w 9906000"/>
              <a:gd name="connsiteY4" fmla="*/ 0 h 73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6000" h="739140">
                <a:moveTo>
                  <a:pt x="0" y="0"/>
                </a:moveTo>
                <a:lnTo>
                  <a:pt x="9906000" y="0"/>
                </a:lnTo>
                <a:lnTo>
                  <a:pt x="9906000" y="128773"/>
                </a:lnTo>
                <a:lnTo>
                  <a:pt x="0" y="739140"/>
                </a:lnTo>
                <a:lnTo>
                  <a:pt x="0" y="0"/>
                </a:lnTo>
                <a:close/>
              </a:path>
            </a:pathLst>
          </a:custGeom>
          <a:solidFill>
            <a:srgbClr val="EF4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prstClr val="white"/>
              </a:solidFill>
            </a:endParaRPr>
          </a:p>
        </p:txBody>
      </p:sp>
      <p:pic>
        <p:nvPicPr>
          <p:cNvPr id="10" name="Image 9" descr="Le Programme d&amp;#39;investissements d&amp;#39;avenir | Gouvernement.fr"/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4377" y="5601908"/>
            <a:ext cx="907979" cy="687278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Image 11" descr="ADEME Agence de la transition énergetique"/>
          <p:cNvPicPr/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9391" y="5593942"/>
            <a:ext cx="799202" cy="718421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764BCCE4-9674-E34F-AE62-F6429200F520}"/>
              </a:ext>
            </a:extLst>
          </p:cNvPr>
          <p:cNvPicPr/>
          <p:nvPr userDrawn="1"/>
        </p:nvPicPr>
        <p:blipFill rotWithShape="1">
          <a:blip r:embed="rId8"/>
          <a:srcRect l="20661" t="8787" r="67040" b="70778"/>
          <a:stretch/>
        </p:blipFill>
        <p:spPr>
          <a:xfrm>
            <a:off x="7846607" y="5587832"/>
            <a:ext cx="1049446" cy="742311"/>
          </a:xfrm>
          <a:prstGeom prst="rect">
            <a:avLst/>
          </a:prstGeom>
        </p:spPr>
      </p:pic>
      <p:pic>
        <p:nvPicPr>
          <p:cNvPr id="14" name="Picture 653" descr="Afficher l’image source"/>
          <p:cNvPicPr>
            <a:picLocks noChangeAspect="1" noChangeArrowheads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3709" y="5781677"/>
            <a:ext cx="1293446" cy="327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1225377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7293080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A52FDD7-76B5-4B8E-A008-DBC75B8F4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CBAA649-0F9E-429E-AB9E-6666D2264527}" type="datetime1">
              <a:rPr lang="fr-FR" smtClean="0"/>
              <a:t>22/11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02BE54F-4953-4F0A-AA2E-99A3D6292F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COMEX – 9 avril 2021 - POUR INFORMATION</a:t>
            </a:r>
            <a:endParaRPr lang="fr-FR">
              <a:solidFill>
                <a:schemeClr val="tx1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35E73AA-FFC7-4E68-A1E5-2653FA5B5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3598" y="6511056"/>
            <a:ext cx="650240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C02D038-4989-45BB-AD16-38E0E231338A}" type="slidenum">
              <a:rPr lang="fr-FR" smtClean="0"/>
              <a:pPr/>
              <a:t>‹N°›</a:t>
            </a:fld>
            <a:endParaRPr lang="fr-FR" dirty="0"/>
          </a:p>
        </p:txBody>
      </p:sp>
      <p:grpSp>
        <p:nvGrpSpPr>
          <p:cNvPr id="11" name="Graphique 2">
            <a:extLst>
              <a:ext uri="{FF2B5EF4-FFF2-40B4-BE49-F238E27FC236}">
                <a16:creationId xmlns:a16="http://schemas.microsoft.com/office/drawing/2014/main" id="{889398C8-CCDA-460C-8D6D-66F796CDB51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40000" y="270000"/>
            <a:ext cx="432404" cy="504000"/>
            <a:chOff x="269557" y="269557"/>
            <a:chExt cx="1311592" cy="1528762"/>
          </a:xfrm>
        </p:grpSpPr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B68CE830-96CE-42DC-A43C-3F0242DFFD10}"/>
                </a:ext>
              </a:extLst>
            </p:cNvPr>
            <p:cNvSpPr/>
            <p:nvPr/>
          </p:nvSpPr>
          <p:spPr>
            <a:xfrm>
              <a:off x="269557" y="1304925"/>
              <a:ext cx="693419" cy="493395"/>
            </a:xfrm>
            <a:custGeom>
              <a:avLst/>
              <a:gdLst>
                <a:gd name="connsiteX0" fmla="*/ 659130 w 693419"/>
                <a:gd name="connsiteY0" fmla="*/ 422910 h 493395"/>
                <a:gd name="connsiteX1" fmla="*/ 666750 w 693419"/>
                <a:gd name="connsiteY1" fmla="*/ 437197 h 493395"/>
                <a:gd name="connsiteX2" fmla="*/ 641033 w 693419"/>
                <a:gd name="connsiteY2" fmla="*/ 442913 h 493395"/>
                <a:gd name="connsiteX3" fmla="*/ 659130 w 693419"/>
                <a:gd name="connsiteY3" fmla="*/ 422910 h 493395"/>
                <a:gd name="connsiteX4" fmla="*/ 673418 w 693419"/>
                <a:gd name="connsiteY4" fmla="*/ 464820 h 493395"/>
                <a:gd name="connsiteX5" fmla="*/ 668655 w 693419"/>
                <a:gd name="connsiteY5" fmla="*/ 464820 h 493395"/>
                <a:gd name="connsiteX6" fmla="*/ 648653 w 693419"/>
                <a:gd name="connsiteY6" fmla="*/ 478155 h 493395"/>
                <a:gd name="connsiteX7" fmla="*/ 638175 w 693419"/>
                <a:gd name="connsiteY7" fmla="*/ 464820 h 493395"/>
                <a:gd name="connsiteX8" fmla="*/ 639128 w 693419"/>
                <a:gd name="connsiteY8" fmla="*/ 453390 h 493395"/>
                <a:gd name="connsiteX9" fmla="*/ 680085 w 693419"/>
                <a:gd name="connsiteY9" fmla="*/ 440055 h 493395"/>
                <a:gd name="connsiteX10" fmla="*/ 666750 w 693419"/>
                <a:gd name="connsiteY10" fmla="*/ 412433 h 493395"/>
                <a:gd name="connsiteX11" fmla="*/ 624840 w 693419"/>
                <a:gd name="connsiteY11" fmla="*/ 473392 h 493395"/>
                <a:gd name="connsiteX12" fmla="*/ 640080 w 693419"/>
                <a:gd name="connsiteY12" fmla="*/ 493395 h 493395"/>
                <a:gd name="connsiteX13" fmla="*/ 673418 w 693419"/>
                <a:gd name="connsiteY13" fmla="*/ 464820 h 493395"/>
                <a:gd name="connsiteX14" fmla="*/ 664845 w 693419"/>
                <a:gd name="connsiteY14" fmla="*/ 404813 h 493395"/>
                <a:gd name="connsiteX15" fmla="*/ 693420 w 693419"/>
                <a:gd name="connsiteY15" fmla="*/ 378142 h 493395"/>
                <a:gd name="connsiteX16" fmla="*/ 693420 w 693419"/>
                <a:gd name="connsiteY16" fmla="*/ 375285 h 493395"/>
                <a:gd name="connsiteX17" fmla="*/ 678180 w 693419"/>
                <a:gd name="connsiteY17" fmla="*/ 375285 h 493395"/>
                <a:gd name="connsiteX18" fmla="*/ 660083 w 693419"/>
                <a:gd name="connsiteY18" fmla="*/ 405765 h 493395"/>
                <a:gd name="connsiteX19" fmla="*/ 664845 w 693419"/>
                <a:gd name="connsiteY19" fmla="*/ 405765 h 493395"/>
                <a:gd name="connsiteX20" fmla="*/ 576263 w 693419"/>
                <a:gd name="connsiteY20" fmla="*/ 423863 h 493395"/>
                <a:gd name="connsiteX21" fmla="*/ 589598 w 693419"/>
                <a:gd name="connsiteY21" fmla="*/ 423863 h 493395"/>
                <a:gd name="connsiteX22" fmla="*/ 567690 w 693419"/>
                <a:gd name="connsiteY22" fmla="*/ 482917 h 493395"/>
                <a:gd name="connsiteX23" fmla="*/ 573405 w 693419"/>
                <a:gd name="connsiteY23" fmla="*/ 493395 h 493395"/>
                <a:gd name="connsiteX24" fmla="*/ 612458 w 693419"/>
                <a:gd name="connsiteY24" fmla="*/ 464820 h 493395"/>
                <a:gd name="connsiteX25" fmla="*/ 608648 w 693419"/>
                <a:gd name="connsiteY25" fmla="*/ 464820 h 493395"/>
                <a:gd name="connsiteX26" fmla="*/ 583883 w 693419"/>
                <a:gd name="connsiteY26" fmla="*/ 480060 h 493395"/>
                <a:gd name="connsiteX27" fmla="*/ 603885 w 693419"/>
                <a:gd name="connsiteY27" fmla="*/ 424815 h 493395"/>
                <a:gd name="connsiteX28" fmla="*/ 623888 w 693419"/>
                <a:gd name="connsiteY28" fmla="*/ 424815 h 493395"/>
                <a:gd name="connsiteX29" fmla="*/ 626745 w 693419"/>
                <a:gd name="connsiteY29" fmla="*/ 416242 h 493395"/>
                <a:gd name="connsiteX30" fmla="*/ 606743 w 693419"/>
                <a:gd name="connsiteY30" fmla="*/ 416242 h 493395"/>
                <a:gd name="connsiteX31" fmla="*/ 614363 w 693419"/>
                <a:gd name="connsiteY31" fmla="*/ 395288 h 493395"/>
                <a:gd name="connsiteX32" fmla="*/ 606743 w 693419"/>
                <a:gd name="connsiteY32" fmla="*/ 395288 h 493395"/>
                <a:gd name="connsiteX33" fmla="*/ 592455 w 693419"/>
                <a:gd name="connsiteY33" fmla="*/ 416242 h 493395"/>
                <a:gd name="connsiteX34" fmla="*/ 575310 w 693419"/>
                <a:gd name="connsiteY34" fmla="*/ 418147 h 493395"/>
                <a:gd name="connsiteX35" fmla="*/ 575310 w 693419"/>
                <a:gd name="connsiteY35" fmla="*/ 423863 h 493395"/>
                <a:gd name="connsiteX36" fmla="*/ 558165 w 693419"/>
                <a:gd name="connsiteY36" fmla="*/ 421005 h 493395"/>
                <a:gd name="connsiteX37" fmla="*/ 553403 w 693419"/>
                <a:gd name="connsiteY37" fmla="*/ 412433 h 493395"/>
                <a:gd name="connsiteX38" fmla="*/ 521970 w 693419"/>
                <a:gd name="connsiteY38" fmla="*/ 438150 h 493395"/>
                <a:gd name="connsiteX39" fmla="*/ 525780 w 693419"/>
                <a:gd name="connsiteY39" fmla="*/ 438150 h 493395"/>
                <a:gd name="connsiteX40" fmla="*/ 541973 w 693419"/>
                <a:gd name="connsiteY40" fmla="*/ 425767 h 493395"/>
                <a:gd name="connsiteX41" fmla="*/ 519113 w 693419"/>
                <a:gd name="connsiteY41" fmla="*/ 484822 h 493395"/>
                <a:gd name="connsiteX42" fmla="*/ 523875 w 693419"/>
                <a:gd name="connsiteY42" fmla="*/ 493395 h 493395"/>
                <a:gd name="connsiteX43" fmla="*/ 554355 w 693419"/>
                <a:gd name="connsiteY43" fmla="*/ 467678 h 493395"/>
                <a:gd name="connsiteX44" fmla="*/ 550545 w 693419"/>
                <a:gd name="connsiteY44" fmla="*/ 467678 h 493395"/>
                <a:gd name="connsiteX45" fmla="*/ 534353 w 693419"/>
                <a:gd name="connsiteY45" fmla="*/ 480060 h 493395"/>
                <a:gd name="connsiteX46" fmla="*/ 558165 w 693419"/>
                <a:gd name="connsiteY46" fmla="*/ 421005 h 493395"/>
                <a:gd name="connsiteX47" fmla="*/ 561975 w 693419"/>
                <a:gd name="connsiteY47" fmla="*/ 391478 h 493395"/>
                <a:gd name="connsiteX48" fmla="*/ 571500 w 693419"/>
                <a:gd name="connsiteY48" fmla="*/ 381953 h 493395"/>
                <a:gd name="connsiteX49" fmla="*/ 561975 w 693419"/>
                <a:gd name="connsiteY49" fmla="*/ 372428 h 493395"/>
                <a:gd name="connsiteX50" fmla="*/ 552450 w 693419"/>
                <a:gd name="connsiteY50" fmla="*/ 381953 h 493395"/>
                <a:gd name="connsiteX51" fmla="*/ 561975 w 693419"/>
                <a:gd name="connsiteY51" fmla="*/ 391478 h 493395"/>
                <a:gd name="connsiteX52" fmla="*/ 431483 w 693419"/>
                <a:gd name="connsiteY52" fmla="*/ 481965 h 493395"/>
                <a:gd name="connsiteX53" fmla="*/ 438150 w 693419"/>
                <a:gd name="connsiteY53" fmla="*/ 493395 h 493395"/>
                <a:gd name="connsiteX54" fmla="*/ 445770 w 693419"/>
                <a:gd name="connsiteY54" fmla="*/ 487680 h 493395"/>
                <a:gd name="connsiteX55" fmla="*/ 461963 w 693419"/>
                <a:gd name="connsiteY55" fmla="*/ 445770 h 493395"/>
                <a:gd name="connsiteX56" fmla="*/ 490538 w 693419"/>
                <a:gd name="connsiteY56" fmla="*/ 427672 h 493395"/>
                <a:gd name="connsiteX57" fmla="*/ 491490 w 693419"/>
                <a:gd name="connsiteY57" fmla="*/ 436245 h 493395"/>
                <a:gd name="connsiteX58" fmla="*/ 467678 w 693419"/>
                <a:gd name="connsiteY58" fmla="*/ 482917 h 493395"/>
                <a:gd name="connsiteX59" fmla="*/ 473393 w 693419"/>
                <a:gd name="connsiteY59" fmla="*/ 493395 h 493395"/>
                <a:gd name="connsiteX60" fmla="*/ 504825 w 693419"/>
                <a:gd name="connsiteY60" fmla="*/ 467678 h 493395"/>
                <a:gd name="connsiteX61" fmla="*/ 501015 w 693419"/>
                <a:gd name="connsiteY61" fmla="*/ 467678 h 493395"/>
                <a:gd name="connsiteX62" fmla="*/ 484822 w 693419"/>
                <a:gd name="connsiteY62" fmla="*/ 480060 h 493395"/>
                <a:gd name="connsiteX63" fmla="*/ 505778 w 693419"/>
                <a:gd name="connsiteY63" fmla="*/ 438150 h 493395"/>
                <a:gd name="connsiteX64" fmla="*/ 509588 w 693419"/>
                <a:gd name="connsiteY64" fmla="*/ 423863 h 493395"/>
                <a:gd name="connsiteX65" fmla="*/ 498158 w 693419"/>
                <a:gd name="connsiteY65" fmla="*/ 412433 h 493395"/>
                <a:gd name="connsiteX66" fmla="*/ 464820 w 693419"/>
                <a:gd name="connsiteY66" fmla="*/ 438150 h 493395"/>
                <a:gd name="connsiteX67" fmla="*/ 464820 w 693419"/>
                <a:gd name="connsiteY67" fmla="*/ 426720 h 493395"/>
                <a:gd name="connsiteX68" fmla="*/ 455295 w 693419"/>
                <a:gd name="connsiteY68" fmla="*/ 411480 h 493395"/>
                <a:gd name="connsiteX69" fmla="*/ 442913 w 693419"/>
                <a:gd name="connsiteY69" fmla="*/ 421005 h 493395"/>
                <a:gd name="connsiteX70" fmla="*/ 442913 w 693419"/>
                <a:gd name="connsiteY70" fmla="*/ 422910 h 493395"/>
                <a:gd name="connsiteX71" fmla="*/ 448628 w 693419"/>
                <a:gd name="connsiteY71" fmla="*/ 445770 h 493395"/>
                <a:gd name="connsiteX72" fmla="*/ 431483 w 693419"/>
                <a:gd name="connsiteY72" fmla="*/ 481965 h 493395"/>
                <a:gd name="connsiteX73" fmla="*/ 431483 w 693419"/>
                <a:gd name="connsiteY73" fmla="*/ 430530 h 493395"/>
                <a:gd name="connsiteX74" fmla="*/ 425768 w 693419"/>
                <a:gd name="connsiteY74" fmla="*/ 412433 h 493395"/>
                <a:gd name="connsiteX75" fmla="*/ 405765 w 693419"/>
                <a:gd name="connsiteY75" fmla="*/ 438150 h 493395"/>
                <a:gd name="connsiteX76" fmla="*/ 405765 w 693419"/>
                <a:gd name="connsiteY76" fmla="*/ 426720 h 493395"/>
                <a:gd name="connsiteX77" fmla="*/ 396240 w 693419"/>
                <a:gd name="connsiteY77" fmla="*/ 411480 h 493395"/>
                <a:gd name="connsiteX78" fmla="*/ 374333 w 693419"/>
                <a:gd name="connsiteY78" fmla="*/ 437197 h 493395"/>
                <a:gd name="connsiteX79" fmla="*/ 378143 w 693419"/>
                <a:gd name="connsiteY79" fmla="*/ 437197 h 493395"/>
                <a:gd name="connsiteX80" fmla="*/ 388620 w 693419"/>
                <a:gd name="connsiteY80" fmla="*/ 427672 h 493395"/>
                <a:gd name="connsiteX81" fmla="*/ 388620 w 693419"/>
                <a:gd name="connsiteY81" fmla="*/ 445770 h 493395"/>
                <a:gd name="connsiteX82" fmla="*/ 372428 w 693419"/>
                <a:gd name="connsiteY82" fmla="*/ 481013 h 493395"/>
                <a:gd name="connsiteX83" fmla="*/ 379095 w 693419"/>
                <a:gd name="connsiteY83" fmla="*/ 492442 h 493395"/>
                <a:gd name="connsiteX84" fmla="*/ 386715 w 693419"/>
                <a:gd name="connsiteY84" fmla="*/ 486728 h 493395"/>
                <a:gd name="connsiteX85" fmla="*/ 402908 w 693419"/>
                <a:gd name="connsiteY85" fmla="*/ 444817 h 493395"/>
                <a:gd name="connsiteX86" fmla="*/ 416243 w 693419"/>
                <a:gd name="connsiteY86" fmla="*/ 429578 h 493395"/>
                <a:gd name="connsiteX87" fmla="*/ 431483 w 693419"/>
                <a:gd name="connsiteY87" fmla="*/ 429578 h 493395"/>
                <a:gd name="connsiteX88" fmla="*/ 340043 w 693419"/>
                <a:gd name="connsiteY88" fmla="*/ 422910 h 493395"/>
                <a:gd name="connsiteX89" fmla="*/ 347663 w 693419"/>
                <a:gd name="connsiteY89" fmla="*/ 437197 h 493395"/>
                <a:gd name="connsiteX90" fmla="*/ 321945 w 693419"/>
                <a:gd name="connsiteY90" fmla="*/ 442913 h 493395"/>
                <a:gd name="connsiteX91" fmla="*/ 340043 w 693419"/>
                <a:gd name="connsiteY91" fmla="*/ 422910 h 493395"/>
                <a:gd name="connsiteX92" fmla="*/ 354330 w 693419"/>
                <a:gd name="connsiteY92" fmla="*/ 464820 h 493395"/>
                <a:gd name="connsiteX93" fmla="*/ 349568 w 693419"/>
                <a:gd name="connsiteY93" fmla="*/ 464820 h 493395"/>
                <a:gd name="connsiteX94" fmla="*/ 329565 w 693419"/>
                <a:gd name="connsiteY94" fmla="*/ 478155 h 493395"/>
                <a:gd name="connsiteX95" fmla="*/ 319088 w 693419"/>
                <a:gd name="connsiteY95" fmla="*/ 464820 h 493395"/>
                <a:gd name="connsiteX96" fmla="*/ 320040 w 693419"/>
                <a:gd name="connsiteY96" fmla="*/ 453390 h 493395"/>
                <a:gd name="connsiteX97" fmla="*/ 360997 w 693419"/>
                <a:gd name="connsiteY97" fmla="*/ 440055 h 493395"/>
                <a:gd name="connsiteX98" fmla="*/ 347663 w 693419"/>
                <a:gd name="connsiteY98" fmla="*/ 412433 h 493395"/>
                <a:gd name="connsiteX99" fmla="*/ 305753 w 693419"/>
                <a:gd name="connsiteY99" fmla="*/ 473392 h 493395"/>
                <a:gd name="connsiteX100" fmla="*/ 320993 w 693419"/>
                <a:gd name="connsiteY100" fmla="*/ 493395 h 493395"/>
                <a:gd name="connsiteX101" fmla="*/ 354330 w 693419"/>
                <a:gd name="connsiteY101" fmla="*/ 464820 h 493395"/>
                <a:gd name="connsiteX102" fmla="*/ 257175 w 693419"/>
                <a:gd name="connsiteY102" fmla="*/ 423863 h 493395"/>
                <a:gd name="connsiteX103" fmla="*/ 270510 w 693419"/>
                <a:gd name="connsiteY103" fmla="*/ 423863 h 493395"/>
                <a:gd name="connsiteX104" fmla="*/ 248603 w 693419"/>
                <a:gd name="connsiteY104" fmla="*/ 482917 h 493395"/>
                <a:gd name="connsiteX105" fmla="*/ 254318 w 693419"/>
                <a:gd name="connsiteY105" fmla="*/ 493395 h 493395"/>
                <a:gd name="connsiteX106" fmla="*/ 293370 w 693419"/>
                <a:gd name="connsiteY106" fmla="*/ 464820 h 493395"/>
                <a:gd name="connsiteX107" fmla="*/ 289560 w 693419"/>
                <a:gd name="connsiteY107" fmla="*/ 464820 h 493395"/>
                <a:gd name="connsiteX108" fmla="*/ 264795 w 693419"/>
                <a:gd name="connsiteY108" fmla="*/ 480060 h 493395"/>
                <a:gd name="connsiteX109" fmla="*/ 284798 w 693419"/>
                <a:gd name="connsiteY109" fmla="*/ 424815 h 493395"/>
                <a:gd name="connsiteX110" fmla="*/ 304800 w 693419"/>
                <a:gd name="connsiteY110" fmla="*/ 424815 h 493395"/>
                <a:gd name="connsiteX111" fmla="*/ 307658 w 693419"/>
                <a:gd name="connsiteY111" fmla="*/ 416242 h 493395"/>
                <a:gd name="connsiteX112" fmla="*/ 287655 w 693419"/>
                <a:gd name="connsiteY112" fmla="*/ 416242 h 493395"/>
                <a:gd name="connsiteX113" fmla="*/ 295275 w 693419"/>
                <a:gd name="connsiteY113" fmla="*/ 395288 h 493395"/>
                <a:gd name="connsiteX114" fmla="*/ 287655 w 693419"/>
                <a:gd name="connsiteY114" fmla="*/ 395288 h 493395"/>
                <a:gd name="connsiteX115" fmla="*/ 273368 w 693419"/>
                <a:gd name="connsiteY115" fmla="*/ 416242 h 493395"/>
                <a:gd name="connsiteX116" fmla="*/ 256223 w 693419"/>
                <a:gd name="connsiteY116" fmla="*/ 418147 h 493395"/>
                <a:gd name="connsiteX117" fmla="*/ 256223 w 693419"/>
                <a:gd name="connsiteY117" fmla="*/ 423863 h 493395"/>
                <a:gd name="connsiteX118" fmla="*/ 181928 w 693419"/>
                <a:gd name="connsiteY118" fmla="*/ 469583 h 493395"/>
                <a:gd name="connsiteX119" fmla="*/ 213360 w 693419"/>
                <a:gd name="connsiteY119" fmla="*/ 426720 h 493395"/>
                <a:gd name="connsiteX120" fmla="*/ 220028 w 693419"/>
                <a:gd name="connsiteY120" fmla="*/ 427672 h 493395"/>
                <a:gd name="connsiteX121" fmla="*/ 208598 w 693419"/>
                <a:gd name="connsiteY121" fmla="*/ 459105 h 493395"/>
                <a:gd name="connsiteX122" fmla="*/ 186690 w 693419"/>
                <a:gd name="connsiteY122" fmla="*/ 477203 h 493395"/>
                <a:gd name="connsiteX123" fmla="*/ 181928 w 693419"/>
                <a:gd name="connsiteY123" fmla="*/ 469583 h 493395"/>
                <a:gd name="connsiteX124" fmla="*/ 244793 w 693419"/>
                <a:gd name="connsiteY124" fmla="*/ 408622 h 493395"/>
                <a:gd name="connsiteX125" fmla="*/ 238125 w 693419"/>
                <a:gd name="connsiteY125" fmla="*/ 408622 h 493395"/>
                <a:gd name="connsiteX126" fmla="*/ 231458 w 693419"/>
                <a:gd name="connsiteY126" fmla="*/ 415290 h 493395"/>
                <a:gd name="connsiteX127" fmla="*/ 229553 w 693419"/>
                <a:gd name="connsiteY127" fmla="*/ 415290 h 493395"/>
                <a:gd name="connsiteX128" fmla="*/ 166688 w 693419"/>
                <a:gd name="connsiteY128" fmla="*/ 481013 h 493395"/>
                <a:gd name="connsiteX129" fmla="*/ 179070 w 693419"/>
                <a:gd name="connsiteY129" fmla="*/ 493395 h 493395"/>
                <a:gd name="connsiteX130" fmla="*/ 205740 w 693419"/>
                <a:gd name="connsiteY130" fmla="*/ 467678 h 493395"/>
                <a:gd name="connsiteX131" fmla="*/ 205740 w 693419"/>
                <a:gd name="connsiteY131" fmla="*/ 472440 h 493395"/>
                <a:gd name="connsiteX132" fmla="*/ 216218 w 693419"/>
                <a:gd name="connsiteY132" fmla="*/ 493395 h 493395"/>
                <a:gd name="connsiteX133" fmla="*/ 238125 w 693419"/>
                <a:gd name="connsiteY133" fmla="*/ 467678 h 493395"/>
                <a:gd name="connsiteX134" fmla="*/ 234315 w 693419"/>
                <a:gd name="connsiteY134" fmla="*/ 467678 h 493395"/>
                <a:gd name="connsiteX135" fmla="*/ 223838 w 693419"/>
                <a:gd name="connsiteY135" fmla="*/ 477203 h 493395"/>
                <a:gd name="connsiteX136" fmla="*/ 223838 w 693419"/>
                <a:gd name="connsiteY136" fmla="*/ 459105 h 493395"/>
                <a:gd name="connsiteX137" fmla="*/ 244793 w 693419"/>
                <a:gd name="connsiteY137" fmla="*/ 408622 h 493395"/>
                <a:gd name="connsiteX138" fmla="*/ 172403 w 693419"/>
                <a:gd name="connsiteY138" fmla="*/ 430530 h 493395"/>
                <a:gd name="connsiteX139" fmla="*/ 166688 w 693419"/>
                <a:gd name="connsiteY139" fmla="*/ 412433 h 493395"/>
                <a:gd name="connsiteX140" fmla="*/ 146685 w 693419"/>
                <a:gd name="connsiteY140" fmla="*/ 438150 h 493395"/>
                <a:gd name="connsiteX141" fmla="*/ 146685 w 693419"/>
                <a:gd name="connsiteY141" fmla="*/ 426720 h 493395"/>
                <a:gd name="connsiteX142" fmla="*/ 137160 w 693419"/>
                <a:gd name="connsiteY142" fmla="*/ 411480 h 493395"/>
                <a:gd name="connsiteX143" fmla="*/ 115253 w 693419"/>
                <a:gd name="connsiteY143" fmla="*/ 437197 h 493395"/>
                <a:gd name="connsiteX144" fmla="*/ 119063 w 693419"/>
                <a:gd name="connsiteY144" fmla="*/ 437197 h 493395"/>
                <a:gd name="connsiteX145" fmla="*/ 129540 w 693419"/>
                <a:gd name="connsiteY145" fmla="*/ 427672 h 493395"/>
                <a:gd name="connsiteX146" fmla="*/ 129540 w 693419"/>
                <a:gd name="connsiteY146" fmla="*/ 445770 h 493395"/>
                <a:gd name="connsiteX147" fmla="*/ 113348 w 693419"/>
                <a:gd name="connsiteY147" fmla="*/ 481013 h 493395"/>
                <a:gd name="connsiteX148" fmla="*/ 120015 w 693419"/>
                <a:gd name="connsiteY148" fmla="*/ 492442 h 493395"/>
                <a:gd name="connsiteX149" fmla="*/ 127635 w 693419"/>
                <a:gd name="connsiteY149" fmla="*/ 486728 h 493395"/>
                <a:gd name="connsiteX150" fmla="*/ 143828 w 693419"/>
                <a:gd name="connsiteY150" fmla="*/ 444817 h 493395"/>
                <a:gd name="connsiteX151" fmla="*/ 157163 w 693419"/>
                <a:gd name="connsiteY151" fmla="*/ 429578 h 493395"/>
                <a:gd name="connsiteX152" fmla="*/ 172403 w 693419"/>
                <a:gd name="connsiteY152" fmla="*/ 429578 h 493395"/>
                <a:gd name="connsiteX153" fmla="*/ 59055 w 693419"/>
                <a:gd name="connsiteY153" fmla="*/ 489585 h 493395"/>
                <a:gd name="connsiteX154" fmla="*/ 60960 w 693419"/>
                <a:gd name="connsiteY154" fmla="*/ 484822 h 493395"/>
                <a:gd name="connsiteX155" fmla="*/ 46673 w 693419"/>
                <a:gd name="connsiteY155" fmla="*/ 460058 h 493395"/>
                <a:gd name="connsiteX156" fmla="*/ 54293 w 693419"/>
                <a:gd name="connsiteY156" fmla="*/ 438150 h 493395"/>
                <a:gd name="connsiteX157" fmla="*/ 76200 w 693419"/>
                <a:gd name="connsiteY157" fmla="*/ 438150 h 493395"/>
                <a:gd name="connsiteX158" fmla="*/ 84773 w 693419"/>
                <a:gd name="connsiteY158" fmla="*/ 452438 h 493395"/>
                <a:gd name="connsiteX159" fmla="*/ 90488 w 693419"/>
                <a:gd name="connsiteY159" fmla="*/ 452438 h 493395"/>
                <a:gd name="connsiteX160" fmla="*/ 103823 w 693419"/>
                <a:gd name="connsiteY160" fmla="*/ 416242 h 493395"/>
                <a:gd name="connsiteX161" fmla="*/ 98107 w 693419"/>
                <a:gd name="connsiteY161" fmla="*/ 416242 h 493395"/>
                <a:gd name="connsiteX162" fmla="*/ 79057 w 693419"/>
                <a:gd name="connsiteY162" fmla="*/ 430530 h 493395"/>
                <a:gd name="connsiteX163" fmla="*/ 57150 w 693419"/>
                <a:gd name="connsiteY163" fmla="*/ 430530 h 493395"/>
                <a:gd name="connsiteX164" fmla="*/ 68580 w 693419"/>
                <a:gd name="connsiteY164" fmla="*/ 399097 h 493395"/>
                <a:gd name="connsiteX165" fmla="*/ 87630 w 693419"/>
                <a:gd name="connsiteY165" fmla="*/ 386715 h 493395"/>
                <a:gd name="connsiteX166" fmla="*/ 97155 w 693419"/>
                <a:gd name="connsiteY166" fmla="*/ 386715 h 493395"/>
                <a:gd name="connsiteX167" fmla="*/ 112395 w 693419"/>
                <a:gd name="connsiteY167" fmla="*/ 404813 h 493395"/>
                <a:gd name="connsiteX168" fmla="*/ 118110 w 693419"/>
                <a:gd name="connsiteY168" fmla="*/ 404813 h 493395"/>
                <a:gd name="connsiteX169" fmla="*/ 122873 w 693419"/>
                <a:gd name="connsiteY169" fmla="*/ 380047 h 493395"/>
                <a:gd name="connsiteX170" fmla="*/ 40957 w 693419"/>
                <a:gd name="connsiteY170" fmla="*/ 380047 h 493395"/>
                <a:gd name="connsiteX171" fmla="*/ 39053 w 693419"/>
                <a:gd name="connsiteY171" fmla="*/ 384810 h 493395"/>
                <a:gd name="connsiteX172" fmla="*/ 48578 w 693419"/>
                <a:gd name="connsiteY172" fmla="*/ 409575 h 493395"/>
                <a:gd name="connsiteX173" fmla="*/ 30480 w 693419"/>
                <a:gd name="connsiteY173" fmla="*/ 458153 h 493395"/>
                <a:gd name="connsiteX174" fmla="*/ 1905 w 693419"/>
                <a:gd name="connsiteY174" fmla="*/ 482917 h 493395"/>
                <a:gd name="connsiteX175" fmla="*/ 953 w 693419"/>
                <a:gd name="connsiteY175" fmla="*/ 487680 h 493395"/>
                <a:gd name="connsiteX176" fmla="*/ 59055 w 693419"/>
                <a:gd name="connsiteY176" fmla="*/ 487680 h 493395"/>
                <a:gd name="connsiteX177" fmla="*/ 460058 w 693419"/>
                <a:gd name="connsiteY177" fmla="*/ 238125 h 493395"/>
                <a:gd name="connsiteX178" fmla="*/ 467678 w 693419"/>
                <a:gd name="connsiteY178" fmla="*/ 252413 h 493395"/>
                <a:gd name="connsiteX179" fmla="*/ 441960 w 693419"/>
                <a:gd name="connsiteY179" fmla="*/ 258128 h 493395"/>
                <a:gd name="connsiteX180" fmla="*/ 460058 w 693419"/>
                <a:gd name="connsiteY180" fmla="*/ 238125 h 493395"/>
                <a:gd name="connsiteX181" fmla="*/ 474345 w 693419"/>
                <a:gd name="connsiteY181" fmla="*/ 279083 h 493395"/>
                <a:gd name="connsiteX182" fmla="*/ 469583 w 693419"/>
                <a:gd name="connsiteY182" fmla="*/ 279083 h 493395"/>
                <a:gd name="connsiteX183" fmla="*/ 449580 w 693419"/>
                <a:gd name="connsiteY183" fmla="*/ 292417 h 493395"/>
                <a:gd name="connsiteX184" fmla="*/ 439103 w 693419"/>
                <a:gd name="connsiteY184" fmla="*/ 279083 h 493395"/>
                <a:gd name="connsiteX185" fmla="*/ 440055 w 693419"/>
                <a:gd name="connsiteY185" fmla="*/ 267653 h 493395"/>
                <a:gd name="connsiteX186" fmla="*/ 481013 w 693419"/>
                <a:gd name="connsiteY186" fmla="*/ 254317 h 493395"/>
                <a:gd name="connsiteX187" fmla="*/ 467678 w 693419"/>
                <a:gd name="connsiteY187" fmla="*/ 226695 h 493395"/>
                <a:gd name="connsiteX188" fmla="*/ 425768 w 693419"/>
                <a:gd name="connsiteY188" fmla="*/ 287655 h 493395"/>
                <a:gd name="connsiteX189" fmla="*/ 441008 w 693419"/>
                <a:gd name="connsiteY189" fmla="*/ 307658 h 493395"/>
                <a:gd name="connsiteX190" fmla="*/ 474345 w 693419"/>
                <a:gd name="connsiteY190" fmla="*/ 279083 h 493395"/>
                <a:gd name="connsiteX191" fmla="*/ 466725 w 693419"/>
                <a:gd name="connsiteY191" fmla="*/ 219075 h 493395"/>
                <a:gd name="connsiteX192" fmla="*/ 495300 w 693419"/>
                <a:gd name="connsiteY192" fmla="*/ 192405 h 493395"/>
                <a:gd name="connsiteX193" fmla="*/ 495300 w 693419"/>
                <a:gd name="connsiteY193" fmla="*/ 189547 h 493395"/>
                <a:gd name="connsiteX194" fmla="*/ 480060 w 693419"/>
                <a:gd name="connsiteY194" fmla="*/ 189547 h 493395"/>
                <a:gd name="connsiteX195" fmla="*/ 461963 w 693419"/>
                <a:gd name="connsiteY195" fmla="*/ 220028 h 493395"/>
                <a:gd name="connsiteX196" fmla="*/ 466725 w 693419"/>
                <a:gd name="connsiteY196" fmla="*/ 220028 h 493395"/>
                <a:gd name="connsiteX197" fmla="*/ 378143 w 693419"/>
                <a:gd name="connsiteY197" fmla="*/ 238125 h 493395"/>
                <a:gd name="connsiteX198" fmla="*/ 391478 w 693419"/>
                <a:gd name="connsiteY198" fmla="*/ 238125 h 493395"/>
                <a:gd name="connsiteX199" fmla="*/ 369570 w 693419"/>
                <a:gd name="connsiteY199" fmla="*/ 297180 h 493395"/>
                <a:gd name="connsiteX200" fmla="*/ 375285 w 693419"/>
                <a:gd name="connsiteY200" fmla="*/ 307658 h 493395"/>
                <a:gd name="connsiteX201" fmla="*/ 414338 w 693419"/>
                <a:gd name="connsiteY201" fmla="*/ 279083 h 493395"/>
                <a:gd name="connsiteX202" fmla="*/ 410528 w 693419"/>
                <a:gd name="connsiteY202" fmla="*/ 279083 h 493395"/>
                <a:gd name="connsiteX203" fmla="*/ 385763 w 693419"/>
                <a:gd name="connsiteY203" fmla="*/ 294322 h 493395"/>
                <a:gd name="connsiteX204" fmla="*/ 405765 w 693419"/>
                <a:gd name="connsiteY204" fmla="*/ 239078 h 493395"/>
                <a:gd name="connsiteX205" fmla="*/ 425768 w 693419"/>
                <a:gd name="connsiteY205" fmla="*/ 239078 h 493395"/>
                <a:gd name="connsiteX206" fmla="*/ 428625 w 693419"/>
                <a:gd name="connsiteY206" fmla="*/ 230505 h 493395"/>
                <a:gd name="connsiteX207" fmla="*/ 408622 w 693419"/>
                <a:gd name="connsiteY207" fmla="*/ 230505 h 493395"/>
                <a:gd name="connsiteX208" fmla="*/ 416243 w 693419"/>
                <a:gd name="connsiteY208" fmla="*/ 209550 h 493395"/>
                <a:gd name="connsiteX209" fmla="*/ 408622 w 693419"/>
                <a:gd name="connsiteY209" fmla="*/ 209550 h 493395"/>
                <a:gd name="connsiteX210" fmla="*/ 394335 w 693419"/>
                <a:gd name="connsiteY210" fmla="*/ 230505 h 493395"/>
                <a:gd name="connsiteX211" fmla="*/ 377190 w 693419"/>
                <a:gd name="connsiteY211" fmla="*/ 232410 h 493395"/>
                <a:gd name="connsiteX212" fmla="*/ 377190 w 693419"/>
                <a:gd name="connsiteY212" fmla="*/ 238125 h 493395"/>
                <a:gd name="connsiteX213" fmla="*/ 359093 w 693419"/>
                <a:gd name="connsiteY213" fmla="*/ 235267 h 493395"/>
                <a:gd name="connsiteX214" fmla="*/ 354330 w 693419"/>
                <a:gd name="connsiteY214" fmla="*/ 226695 h 493395"/>
                <a:gd name="connsiteX215" fmla="*/ 322898 w 693419"/>
                <a:gd name="connsiteY215" fmla="*/ 252413 h 493395"/>
                <a:gd name="connsiteX216" fmla="*/ 326708 w 693419"/>
                <a:gd name="connsiteY216" fmla="*/ 252413 h 493395"/>
                <a:gd name="connsiteX217" fmla="*/ 342900 w 693419"/>
                <a:gd name="connsiteY217" fmla="*/ 240030 h 493395"/>
                <a:gd name="connsiteX218" fmla="*/ 320040 w 693419"/>
                <a:gd name="connsiteY218" fmla="*/ 299085 h 493395"/>
                <a:gd name="connsiteX219" fmla="*/ 324803 w 693419"/>
                <a:gd name="connsiteY219" fmla="*/ 307658 h 493395"/>
                <a:gd name="connsiteX220" fmla="*/ 355283 w 693419"/>
                <a:gd name="connsiteY220" fmla="*/ 281940 h 493395"/>
                <a:gd name="connsiteX221" fmla="*/ 351472 w 693419"/>
                <a:gd name="connsiteY221" fmla="*/ 281940 h 493395"/>
                <a:gd name="connsiteX222" fmla="*/ 335280 w 693419"/>
                <a:gd name="connsiteY222" fmla="*/ 294322 h 493395"/>
                <a:gd name="connsiteX223" fmla="*/ 359093 w 693419"/>
                <a:gd name="connsiteY223" fmla="*/ 235267 h 493395"/>
                <a:gd name="connsiteX224" fmla="*/ 363855 w 693419"/>
                <a:gd name="connsiteY224" fmla="*/ 205740 h 493395"/>
                <a:gd name="connsiteX225" fmla="*/ 373380 w 693419"/>
                <a:gd name="connsiteY225" fmla="*/ 196215 h 493395"/>
                <a:gd name="connsiteX226" fmla="*/ 363855 w 693419"/>
                <a:gd name="connsiteY226" fmla="*/ 186690 h 493395"/>
                <a:gd name="connsiteX227" fmla="*/ 354330 w 693419"/>
                <a:gd name="connsiteY227" fmla="*/ 196215 h 493395"/>
                <a:gd name="connsiteX228" fmla="*/ 363855 w 693419"/>
                <a:gd name="connsiteY228" fmla="*/ 205740 h 493395"/>
                <a:gd name="connsiteX229" fmla="*/ 284798 w 693419"/>
                <a:gd name="connsiteY229" fmla="*/ 294322 h 493395"/>
                <a:gd name="connsiteX230" fmla="*/ 325755 w 693419"/>
                <a:gd name="connsiteY230" fmla="*/ 185738 h 493395"/>
                <a:gd name="connsiteX231" fmla="*/ 324803 w 693419"/>
                <a:gd name="connsiteY231" fmla="*/ 183833 h 493395"/>
                <a:gd name="connsiteX232" fmla="*/ 299085 w 693419"/>
                <a:gd name="connsiteY232" fmla="*/ 186690 h 493395"/>
                <a:gd name="connsiteX233" fmla="*/ 299085 w 693419"/>
                <a:gd name="connsiteY233" fmla="*/ 189547 h 493395"/>
                <a:gd name="connsiteX234" fmla="*/ 303848 w 693419"/>
                <a:gd name="connsiteY234" fmla="*/ 193358 h 493395"/>
                <a:gd name="connsiteX235" fmla="*/ 302895 w 693419"/>
                <a:gd name="connsiteY235" fmla="*/ 211455 h 493395"/>
                <a:gd name="connsiteX236" fmla="*/ 270510 w 693419"/>
                <a:gd name="connsiteY236" fmla="*/ 296228 h 493395"/>
                <a:gd name="connsiteX237" fmla="*/ 276225 w 693419"/>
                <a:gd name="connsiteY237" fmla="*/ 306705 h 493395"/>
                <a:gd name="connsiteX238" fmla="*/ 306705 w 693419"/>
                <a:gd name="connsiteY238" fmla="*/ 280988 h 493395"/>
                <a:gd name="connsiteX239" fmla="*/ 302895 w 693419"/>
                <a:gd name="connsiteY239" fmla="*/ 280988 h 493395"/>
                <a:gd name="connsiteX240" fmla="*/ 284798 w 693419"/>
                <a:gd name="connsiteY240" fmla="*/ 294322 h 493395"/>
                <a:gd name="connsiteX241" fmla="*/ 205740 w 693419"/>
                <a:gd name="connsiteY241" fmla="*/ 284797 h 493395"/>
                <a:gd name="connsiteX242" fmla="*/ 237173 w 693419"/>
                <a:gd name="connsiteY242" fmla="*/ 241935 h 493395"/>
                <a:gd name="connsiteX243" fmla="*/ 243840 w 693419"/>
                <a:gd name="connsiteY243" fmla="*/ 242888 h 493395"/>
                <a:gd name="connsiteX244" fmla="*/ 232410 w 693419"/>
                <a:gd name="connsiteY244" fmla="*/ 274320 h 493395"/>
                <a:gd name="connsiteX245" fmla="*/ 210503 w 693419"/>
                <a:gd name="connsiteY245" fmla="*/ 292417 h 493395"/>
                <a:gd name="connsiteX246" fmla="*/ 205740 w 693419"/>
                <a:gd name="connsiteY246" fmla="*/ 284797 h 493395"/>
                <a:gd name="connsiteX247" fmla="*/ 268605 w 693419"/>
                <a:gd name="connsiteY247" fmla="*/ 223838 h 493395"/>
                <a:gd name="connsiteX248" fmla="*/ 261938 w 693419"/>
                <a:gd name="connsiteY248" fmla="*/ 223838 h 493395"/>
                <a:gd name="connsiteX249" fmla="*/ 255270 w 693419"/>
                <a:gd name="connsiteY249" fmla="*/ 230505 h 493395"/>
                <a:gd name="connsiteX250" fmla="*/ 253365 w 693419"/>
                <a:gd name="connsiteY250" fmla="*/ 230505 h 493395"/>
                <a:gd name="connsiteX251" fmla="*/ 190500 w 693419"/>
                <a:gd name="connsiteY251" fmla="*/ 296228 h 493395"/>
                <a:gd name="connsiteX252" fmla="*/ 202883 w 693419"/>
                <a:gd name="connsiteY252" fmla="*/ 308610 h 493395"/>
                <a:gd name="connsiteX253" fmla="*/ 229553 w 693419"/>
                <a:gd name="connsiteY253" fmla="*/ 282892 h 493395"/>
                <a:gd name="connsiteX254" fmla="*/ 229553 w 693419"/>
                <a:gd name="connsiteY254" fmla="*/ 287655 h 493395"/>
                <a:gd name="connsiteX255" fmla="*/ 240030 w 693419"/>
                <a:gd name="connsiteY255" fmla="*/ 308610 h 493395"/>
                <a:gd name="connsiteX256" fmla="*/ 261938 w 693419"/>
                <a:gd name="connsiteY256" fmla="*/ 282892 h 493395"/>
                <a:gd name="connsiteX257" fmla="*/ 258128 w 693419"/>
                <a:gd name="connsiteY257" fmla="*/ 282892 h 493395"/>
                <a:gd name="connsiteX258" fmla="*/ 247650 w 693419"/>
                <a:gd name="connsiteY258" fmla="*/ 292417 h 493395"/>
                <a:gd name="connsiteX259" fmla="*/ 247650 w 693419"/>
                <a:gd name="connsiteY259" fmla="*/ 274320 h 493395"/>
                <a:gd name="connsiteX260" fmla="*/ 268605 w 693419"/>
                <a:gd name="connsiteY260" fmla="*/ 223838 h 493395"/>
                <a:gd name="connsiteX261" fmla="*/ 117157 w 693419"/>
                <a:gd name="connsiteY261" fmla="*/ 321945 h 493395"/>
                <a:gd name="connsiteX262" fmla="*/ 135255 w 693419"/>
                <a:gd name="connsiteY262" fmla="*/ 304800 h 493395"/>
                <a:gd name="connsiteX263" fmla="*/ 151448 w 693419"/>
                <a:gd name="connsiteY263" fmla="*/ 310515 h 493395"/>
                <a:gd name="connsiteX264" fmla="*/ 166688 w 693419"/>
                <a:gd name="connsiteY264" fmla="*/ 319088 h 493395"/>
                <a:gd name="connsiteX265" fmla="*/ 137160 w 693419"/>
                <a:gd name="connsiteY265" fmla="*/ 331470 h 493395"/>
                <a:gd name="connsiteX266" fmla="*/ 117157 w 693419"/>
                <a:gd name="connsiteY266" fmla="*/ 321945 h 493395"/>
                <a:gd name="connsiteX267" fmla="*/ 147638 w 693419"/>
                <a:gd name="connsiteY267" fmla="*/ 274320 h 493395"/>
                <a:gd name="connsiteX268" fmla="*/ 140970 w 693419"/>
                <a:gd name="connsiteY268" fmla="*/ 265747 h 493395"/>
                <a:gd name="connsiteX269" fmla="*/ 159068 w 693419"/>
                <a:gd name="connsiteY269" fmla="*/ 233363 h 493395"/>
                <a:gd name="connsiteX270" fmla="*/ 165735 w 693419"/>
                <a:gd name="connsiteY270" fmla="*/ 241935 h 493395"/>
                <a:gd name="connsiteX271" fmla="*/ 147638 w 693419"/>
                <a:gd name="connsiteY271" fmla="*/ 274320 h 493395"/>
                <a:gd name="connsiteX272" fmla="*/ 180023 w 693419"/>
                <a:gd name="connsiteY272" fmla="*/ 314325 h 493395"/>
                <a:gd name="connsiteX273" fmla="*/ 158115 w 693419"/>
                <a:gd name="connsiteY273" fmla="*/ 297180 h 493395"/>
                <a:gd name="connsiteX274" fmla="*/ 140970 w 693419"/>
                <a:gd name="connsiteY274" fmla="*/ 288608 h 493395"/>
                <a:gd name="connsiteX275" fmla="*/ 148590 w 693419"/>
                <a:gd name="connsiteY275" fmla="*/ 279083 h 493395"/>
                <a:gd name="connsiteX276" fmla="*/ 180975 w 693419"/>
                <a:gd name="connsiteY276" fmla="*/ 245745 h 493395"/>
                <a:gd name="connsiteX277" fmla="*/ 179070 w 693419"/>
                <a:gd name="connsiteY277" fmla="*/ 237172 h 493395"/>
                <a:gd name="connsiteX278" fmla="*/ 195263 w 693419"/>
                <a:gd name="connsiteY278" fmla="*/ 237172 h 493395"/>
                <a:gd name="connsiteX279" fmla="*/ 198120 w 693419"/>
                <a:gd name="connsiteY279" fmla="*/ 228600 h 493395"/>
                <a:gd name="connsiteX280" fmla="*/ 172403 w 693419"/>
                <a:gd name="connsiteY280" fmla="*/ 228600 h 493395"/>
                <a:gd name="connsiteX281" fmla="*/ 161925 w 693419"/>
                <a:gd name="connsiteY281" fmla="*/ 225742 h 493395"/>
                <a:gd name="connsiteX282" fmla="*/ 127635 w 693419"/>
                <a:gd name="connsiteY282" fmla="*/ 258128 h 493395"/>
                <a:gd name="connsiteX283" fmla="*/ 143828 w 693419"/>
                <a:gd name="connsiteY283" fmla="*/ 278130 h 493395"/>
                <a:gd name="connsiteX284" fmla="*/ 128588 w 693419"/>
                <a:gd name="connsiteY284" fmla="*/ 293370 h 493395"/>
                <a:gd name="connsiteX285" fmla="*/ 132398 w 693419"/>
                <a:gd name="connsiteY285" fmla="*/ 300990 h 493395"/>
                <a:gd name="connsiteX286" fmla="*/ 100965 w 693419"/>
                <a:gd name="connsiteY286" fmla="*/ 325755 h 493395"/>
                <a:gd name="connsiteX287" fmla="*/ 130493 w 693419"/>
                <a:gd name="connsiteY287" fmla="*/ 340042 h 493395"/>
                <a:gd name="connsiteX288" fmla="*/ 180023 w 693419"/>
                <a:gd name="connsiteY288" fmla="*/ 314325 h 493395"/>
                <a:gd name="connsiteX289" fmla="*/ 76200 w 693419"/>
                <a:gd name="connsiteY289" fmla="*/ 251460 h 493395"/>
                <a:gd name="connsiteX290" fmla="*/ 84773 w 693419"/>
                <a:gd name="connsiteY290" fmla="*/ 265747 h 493395"/>
                <a:gd name="connsiteX291" fmla="*/ 90488 w 693419"/>
                <a:gd name="connsiteY291" fmla="*/ 265747 h 493395"/>
                <a:gd name="connsiteX292" fmla="*/ 103823 w 693419"/>
                <a:gd name="connsiteY292" fmla="*/ 229553 h 493395"/>
                <a:gd name="connsiteX293" fmla="*/ 98107 w 693419"/>
                <a:gd name="connsiteY293" fmla="*/ 229553 h 493395"/>
                <a:gd name="connsiteX294" fmla="*/ 79057 w 693419"/>
                <a:gd name="connsiteY294" fmla="*/ 243840 h 493395"/>
                <a:gd name="connsiteX295" fmla="*/ 57150 w 693419"/>
                <a:gd name="connsiteY295" fmla="*/ 243840 h 493395"/>
                <a:gd name="connsiteX296" fmla="*/ 67628 w 693419"/>
                <a:gd name="connsiteY296" fmla="*/ 214313 h 493395"/>
                <a:gd name="connsiteX297" fmla="*/ 86678 w 693419"/>
                <a:gd name="connsiteY297" fmla="*/ 202883 h 493395"/>
                <a:gd name="connsiteX298" fmla="*/ 96203 w 693419"/>
                <a:gd name="connsiteY298" fmla="*/ 202883 h 493395"/>
                <a:gd name="connsiteX299" fmla="*/ 111443 w 693419"/>
                <a:gd name="connsiteY299" fmla="*/ 220028 h 493395"/>
                <a:gd name="connsiteX300" fmla="*/ 117157 w 693419"/>
                <a:gd name="connsiteY300" fmla="*/ 220028 h 493395"/>
                <a:gd name="connsiteX301" fmla="*/ 121920 w 693419"/>
                <a:gd name="connsiteY301" fmla="*/ 195263 h 493395"/>
                <a:gd name="connsiteX302" fmla="*/ 40005 w 693419"/>
                <a:gd name="connsiteY302" fmla="*/ 195263 h 493395"/>
                <a:gd name="connsiteX303" fmla="*/ 38100 w 693419"/>
                <a:gd name="connsiteY303" fmla="*/ 200025 h 493395"/>
                <a:gd name="connsiteX304" fmla="*/ 47625 w 693419"/>
                <a:gd name="connsiteY304" fmla="*/ 224790 h 493395"/>
                <a:gd name="connsiteX305" fmla="*/ 29528 w 693419"/>
                <a:gd name="connsiteY305" fmla="*/ 273367 h 493395"/>
                <a:gd name="connsiteX306" fmla="*/ 953 w 693419"/>
                <a:gd name="connsiteY306" fmla="*/ 298133 h 493395"/>
                <a:gd name="connsiteX307" fmla="*/ 0 w 693419"/>
                <a:gd name="connsiteY307" fmla="*/ 302895 h 493395"/>
                <a:gd name="connsiteX308" fmla="*/ 91440 w 693419"/>
                <a:gd name="connsiteY308" fmla="*/ 302895 h 493395"/>
                <a:gd name="connsiteX309" fmla="*/ 107632 w 693419"/>
                <a:gd name="connsiteY309" fmla="*/ 277178 h 493395"/>
                <a:gd name="connsiteX310" fmla="*/ 101918 w 693419"/>
                <a:gd name="connsiteY310" fmla="*/ 277178 h 493395"/>
                <a:gd name="connsiteX311" fmla="*/ 60007 w 693419"/>
                <a:gd name="connsiteY311" fmla="*/ 296228 h 493395"/>
                <a:gd name="connsiteX312" fmla="*/ 45720 w 693419"/>
                <a:gd name="connsiteY312" fmla="*/ 273367 h 493395"/>
                <a:gd name="connsiteX313" fmla="*/ 54293 w 693419"/>
                <a:gd name="connsiteY313" fmla="*/ 249555 h 493395"/>
                <a:gd name="connsiteX314" fmla="*/ 76200 w 693419"/>
                <a:gd name="connsiteY314" fmla="*/ 249555 h 493395"/>
                <a:gd name="connsiteX315" fmla="*/ 88582 w 693419"/>
                <a:gd name="connsiteY315" fmla="*/ 188595 h 493395"/>
                <a:gd name="connsiteX316" fmla="*/ 117157 w 693419"/>
                <a:gd name="connsiteY316" fmla="*/ 168592 h 493395"/>
                <a:gd name="connsiteX317" fmla="*/ 117157 w 693419"/>
                <a:gd name="connsiteY317" fmla="*/ 165735 h 493395"/>
                <a:gd name="connsiteX318" fmla="*/ 100013 w 693419"/>
                <a:gd name="connsiteY318" fmla="*/ 165735 h 493395"/>
                <a:gd name="connsiteX319" fmla="*/ 83820 w 693419"/>
                <a:gd name="connsiteY319" fmla="*/ 188595 h 493395"/>
                <a:gd name="connsiteX320" fmla="*/ 88582 w 693419"/>
                <a:gd name="connsiteY320" fmla="*/ 188595 h 493395"/>
                <a:gd name="connsiteX321" fmla="*/ 450533 w 693419"/>
                <a:gd name="connsiteY321" fmla="*/ 52388 h 493395"/>
                <a:gd name="connsiteX322" fmla="*/ 458153 w 693419"/>
                <a:gd name="connsiteY322" fmla="*/ 66675 h 493395"/>
                <a:gd name="connsiteX323" fmla="*/ 432435 w 693419"/>
                <a:gd name="connsiteY323" fmla="*/ 72390 h 493395"/>
                <a:gd name="connsiteX324" fmla="*/ 450533 w 693419"/>
                <a:gd name="connsiteY324" fmla="*/ 52388 h 493395"/>
                <a:gd name="connsiteX325" fmla="*/ 464820 w 693419"/>
                <a:gd name="connsiteY325" fmla="*/ 93345 h 493395"/>
                <a:gd name="connsiteX326" fmla="*/ 460058 w 693419"/>
                <a:gd name="connsiteY326" fmla="*/ 93345 h 493395"/>
                <a:gd name="connsiteX327" fmla="*/ 440055 w 693419"/>
                <a:gd name="connsiteY327" fmla="*/ 106680 h 493395"/>
                <a:gd name="connsiteX328" fmla="*/ 429578 w 693419"/>
                <a:gd name="connsiteY328" fmla="*/ 93345 h 493395"/>
                <a:gd name="connsiteX329" fmla="*/ 430530 w 693419"/>
                <a:gd name="connsiteY329" fmla="*/ 81915 h 493395"/>
                <a:gd name="connsiteX330" fmla="*/ 471488 w 693419"/>
                <a:gd name="connsiteY330" fmla="*/ 68580 h 493395"/>
                <a:gd name="connsiteX331" fmla="*/ 458153 w 693419"/>
                <a:gd name="connsiteY331" fmla="*/ 40958 h 493395"/>
                <a:gd name="connsiteX332" fmla="*/ 416243 w 693419"/>
                <a:gd name="connsiteY332" fmla="*/ 101917 h 493395"/>
                <a:gd name="connsiteX333" fmla="*/ 431483 w 693419"/>
                <a:gd name="connsiteY333" fmla="*/ 121920 h 493395"/>
                <a:gd name="connsiteX334" fmla="*/ 464820 w 693419"/>
                <a:gd name="connsiteY334" fmla="*/ 93345 h 493395"/>
                <a:gd name="connsiteX335" fmla="*/ 457200 w 693419"/>
                <a:gd name="connsiteY335" fmla="*/ 33338 h 493395"/>
                <a:gd name="connsiteX336" fmla="*/ 485775 w 693419"/>
                <a:gd name="connsiteY336" fmla="*/ 6667 h 493395"/>
                <a:gd name="connsiteX337" fmla="*/ 485775 w 693419"/>
                <a:gd name="connsiteY337" fmla="*/ 3810 h 493395"/>
                <a:gd name="connsiteX338" fmla="*/ 470535 w 693419"/>
                <a:gd name="connsiteY338" fmla="*/ 3810 h 493395"/>
                <a:gd name="connsiteX339" fmla="*/ 452438 w 693419"/>
                <a:gd name="connsiteY339" fmla="*/ 34290 h 493395"/>
                <a:gd name="connsiteX340" fmla="*/ 457200 w 693419"/>
                <a:gd name="connsiteY340" fmla="*/ 34290 h 493395"/>
                <a:gd name="connsiteX341" fmla="*/ 371475 w 693419"/>
                <a:gd name="connsiteY341" fmla="*/ 52388 h 493395"/>
                <a:gd name="connsiteX342" fmla="*/ 381953 w 693419"/>
                <a:gd name="connsiteY342" fmla="*/ 52388 h 493395"/>
                <a:gd name="connsiteX343" fmla="*/ 360045 w 693419"/>
                <a:gd name="connsiteY343" fmla="*/ 111442 h 493395"/>
                <a:gd name="connsiteX344" fmla="*/ 365760 w 693419"/>
                <a:gd name="connsiteY344" fmla="*/ 121920 h 493395"/>
                <a:gd name="connsiteX345" fmla="*/ 404813 w 693419"/>
                <a:gd name="connsiteY345" fmla="*/ 93345 h 493395"/>
                <a:gd name="connsiteX346" fmla="*/ 401003 w 693419"/>
                <a:gd name="connsiteY346" fmla="*/ 93345 h 493395"/>
                <a:gd name="connsiteX347" fmla="*/ 376238 w 693419"/>
                <a:gd name="connsiteY347" fmla="*/ 108585 h 493395"/>
                <a:gd name="connsiteX348" fmla="*/ 396240 w 693419"/>
                <a:gd name="connsiteY348" fmla="*/ 53340 h 493395"/>
                <a:gd name="connsiteX349" fmla="*/ 416243 w 693419"/>
                <a:gd name="connsiteY349" fmla="*/ 53340 h 493395"/>
                <a:gd name="connsiteX350" fmla="*/ 419100 w 693419"/>
                <a:gd name="connsiteY350" fmla="*/ 44767 h 493395"/>
                <a:gd name="connsiteX351" fmla="*/ 399097 w 693419"/>
                <a:gd name="connsiteY351" fmla="*/ 44767 h 493395"/>
                <a:gd name="connsiteX352" fmla="*/ 406718 w 693419"/>
                <a:gd name="connsiteY352" fmla="*/ 23813 h 493395"/>
                <a:gd name="connsiteX353" fmla="*/ 399097 w 693419"/>
                <a:gd name="connsiteY353" fmla="*/ 23813 h 493395"/>
                <a:gd name="connsiteX354" fmla="*/ 384810 w 693419"/>
                <a:gd name="connsiteY354" fmla="*/ 44767 h 493395"/>
                <a:gd name="connsiteX355" fmla="*/ 370522 w 693419"/>
                <a:gd name="connsiteY355" fmla="*/ 46672 h 493395"/>
                <a:gd name="connsiteX356" fmla="*/ 370522 w 693419"/>
                <a:gd name="connsiteY356" fmla="*/ 52388 h 493395"/>
                <a:gd name="connsiteX357" fmla="*/ 360997 w 693419"/>
                <a:gd name="connsiteY357" fmla="*/ 59055 h 493395"/>
                <a:gd name="connsiteX358" fmla="*/ 355283 w 693419"/>
                <a:gd name="connsiteY358" fmla="*/ 40958 h 493395"/>
                <a:gd name="connsiteX359" fmla="*/ 335280 w 693419"/>
                <a:gd name="connsiteY359" fmla="*/ 66675 h 493395"/>
                <a:gd name="connsiteX360" fmla="*/ 335280 w 693419"/>
                <a:gd name="connsiteY360" fmla="*/ 55245 h 493395"/>
                <a:gd name="connsiteX361" fmla="*/ 325755 w 693419"/>
                <a:gd name="connsiteY361" fmla="*/ 40005 h 493395"/>
                <a:gd name="connsiteX362" fmla="*/ 303848 w 693419"/>
                <a:gd name="connsiteY362" fmla="*/ 65722 h 493395"/>
                <a:gd name="connsiteX363" fmla="*/ 307658 w 693419"/>
                <a:gd name="connsiteY363" fmla="*/ 65722 h 493395"/>
                <a:gd name="connsiteX364" fmla="*/ 318135 w 693419"/>
                <a:gd name="connsiteY364" fmla="*/ 56197 h 493395"/>
                <a:gd name="connsiteX365" fmla="*/ 318135 w 693419"/>
                <a:gd name="connsiteY365" fmla="*/ 74295 h 493395"/>
                <a:gd name="connsiteX366" fmla="*/ 301943 w 693419"/>
                <a:gd name="connsiteY366" fmla="*/ 109538 h 493395"/>
                <a:gd name="connsiteX367" fmla="*/ 308610 w 693419"/>
                <a:gd name="connsiteY367" fmla="*/ 120967 h 493395"/>
                <a:gd name="connsiteX368" fmla="*/ 316230 w 693419"/>
                <a:gd name="connsiteY368" fmla="*/ 115253 h 493395"/>
                <a:gd name="connsiteX369" fmla="*/ 332423 w 693419"/>
                <a:gd name="connsiteY369" fmla="*/ 73342 h 493395"/>
                <a:gd name="connsiteX370" fmla="*/ 345758 w 693419"/>
                <a:gd name="connsiteY370" fmla="*/ 58103 h 493395"/>
                <a:gd name="connsiteX371" fmla="*/ 360997 w 693419"/>
                <a:gd name="connsiteY371" fmla="*/ 58103 h 493395"/>
                <a:gd name="connsiteX372" fmla="*/ 269558 w 693419"/>
                <a:gd name="connsiteY372" fmla="*/ 52388 h 493395"/>
                <a:gd name="connsiteX373" fmla="*/ 277178 w 693419"/>
                <a:gd name="connsiteY373" fmla="*/ 66675 h 493395"/>
                <a:gd name="connsiteX374" fmla="*/ 251460 w 693419"/>
                <a:gd name="connsiteY374" fmla="*/ 72390 h 493395"/>
                <a:gd name="connsiteX375" fmla="*/ 269558 w 693419"/>
                <a:gd name="connsiteY375" fmla="*/ 52388 h 493395"/>
                <a:gd name="connsiteX376" fmla="*/ 283845 w 693419"/>
                <a:gd name="connsiteY376" fmla="*/ 93345 h 493395"/>
                <a:gd name="connsiteX377" fmla="*/ 279083 w 693419"/>
                <a:gd name="connsiteY377" fmla="*/ 93345 h 493395"/>
                <a:gd name="connsiteX378" fmla="*/ 259080 w 693419"/>
                <a:gd name="connsiteY378" fmla="*/ 106680 h 493395"/>
                <a:gd name="connsiteX379" fmla="*/ 248603 w 693419"/>
                <a:gd name="connsiteY379" fmla="*/ 93345 h 493395"/>
                <a:gd name="connsiteX380" fmla="*/ 249555 w 693419"/>
                <a:gd name="connsiteY380" fmla="*/ 81915 h 493395"/>
                <a:gd name="connsiteX381" fmla="*/ 290513 w 693419"/>
                <a:gd name="connsiteY381" fmla="*/ 68580 h 493395"/>
                <a:gd name="connsiteX382" fmla="*/ 277178 w 693419"/>
                <a:gd name="connsiteY382" fmla="*/ 40958 h 493395"/>
                <a:gd name="connsiteX383" fmla="*/ 235268 w 693419"/>
                <a:gd name="connsiteY383" fmla="*/ 101917 h 493395"/>
                <a:gd name="connsiteX384" fmla="*/ 250508 w 693419"/>
                <a:gd name="connsiteY384" fmla="*/ 121920 h 493395"/>
                <a:gd name="connsiteX385" fmla="*/ 283845 w 693419"/>
                <a:gd name="connsiteY385" fmla="*/ 93345 h 493395"/>
                <a:gd name="connsiteX386" fmla="*/ 182880 w 693419"/>
                <a:gd name="connsiteY386" fmla="*/ 110490 h 493395"/>
                <a:gd name="connsiteX387" fmla="*/ 173355 w 693419"/>
                <a:gd name="connsiteY387" fmla="*/ 103822 h 493395"/>
                <a:gd name="connsiteX388" fmla="*/ 177165 w 693419"/>
                <a:gd name="connsiteY388" fmla="*/ 92392 h 493395"/>
                <a:gd name="connsiteX389" fmla="*/ 183833 w 693419"/>
                <a:gd name="connsiteY389" fmla="*/ 74295 h 493395"/>
                <a:gd name="connsiteX390" fmla="*/ 207645 w 693419"/>
                <a:gd name="connsiteY390" fmla="*/ 57150 h 493395"/>
                <a:gd name="connsiteX391" fmla="*/ 214313 w 693419"/>
                <a:gd name="connsiteY391" fmla="*/ 64770 h 493395"/>
                <a:gd name="connsiteX392" fmla="*/ 182880 w 693419"/>
                <a:gd name="connsiteY392" fmla="*/ 110490 h 493395"/>
                <a:gd name="connsiteX393" fmla="*/ 230505 w 693419"/>
                <a:gd name="connsiteY393" fmla="*/ 58103 h 493395"/>
                <a:gd name="connsiteX394" fmla="*/ 218123 w 693419"/>
                <a:gd name="connsiteY394" fmla="*/ 41910 h 493395"/>
                <a:gd name="connsiteX395" fmla="*/ 188595 w 693419"/>
                <a:gd name="connsiteY395" fmla="*/ 66675 h 493395"/>
                <a:gd name="connsiteX396" fmla="*/ 213360 w 693419"/>
                <a:gd name="connsiteY396" fmla="*/ 1905 h 493395"/>
                <a:gd name="connsiteX397" fmla="*/ 212408 w 693419"/>
                <a:gd name="connsiteY397" fmla="*/ 0 h 493395"/>
                <a:gd name="connsiteX398" fmla="*/ 186690 w 693419"/>
                <a:gd name="connsiteY398" fmla="*/ 2858 h 493395"/>
                <a:gd name="connsiteX399" fmla="*/ 186690 w 693419"/>
                <a:gd name="connsiteY399" fmla="*/ 5715 h 493395"/>
                <a:gd name="connsiteX400" fmla="*/ 191453 w 693419"/>
                <a:gd name="connsiteY400" fmla="*/ 9525 h 493395"/>
                <a:gd name="connsiteX401" fmla="*/ 190500 w 693419"/>
                <a:gd name="connsiteY401" fmla="*/ 27622 h 493395"/>
                <a:gd name="connsiteX402" fmla="*/ 163830 w 693419"/>
                <a:gd name="connsiteY402" fmla="*/ 96203 h 493395"/>
                <a:gd name="connsiteX403" fmla="*/ 159068 w 693419"/>
                <a:gd name="connsiteY403" fmla="*/ 108585 h 493395"/>
                <a:gd name="connsiteX404" fmla="*/ 177165 w 693419"/>
                <a:gd name="connsiteY404" fmla="*/ 121920 h 493395"/>
                <a:gd name="connsiteX405" fmla="*/ 230505 w 693419"/>
                <a:gd name="connsiteY405" fmla="*/ 58103 h 493395"/>
                <a:gd name="connsiteX406" fmla="*/ 149543 w 693419"/>
                <a:gd name="connsiteY406" fmla="*/ 49530 h 493395"/>
                <a:gd name="connsiteX407" fmla="*/ 144780 w 693419"/>
                <a:gd name="connsiteY407" fmla="*/ 40958 h 493395"/>
                <a:gd name="connsiteX408" fmla="*/ 113348 w 693419"/>
                <a:gd name="connsiteY408" fmla="*/ 66675 h 493395"/>
                <a:gd name="connsiteX409" fmla="*/ 117157 w 693419"/>
                <a:gd name="connsiteY409" fmla="*/ 66675 h 493395"/>
                <a:gd name="connsiteX410" fmla="*/ 133350 w 693419"/>
                <a:gd name="connsiteY410" fmla="*/ 54292 h 493395"/>
                <a:gd name="connsiteX411" fmla="*/ 110490 w 693419"/>
                <a:gd name="connsiteY411" fmla="*/ 113347 h 493395"/>
                <a:gd name="connsiteX412" fmla="*/ 115253 w 693419"/>
                <a:gd name="connsiteY412" fmla="*/ 121920 h 493395"/>
                <a:gd name="connsiteX413" fmla="*/ 145733 w 693419"/>
                <a:gd name="connsiteY413" fmla="*/ 96203 h 493395"/>
                <a:gd name="connsiteX414" fmla="*/ 141923 w 693419"/>
                <a:gd name="connsiteY414" fmla="*/ 96203 h 493395"/>
                <a:gd name="connsiteX415" fmla="*/ 125730 w 693419"/>
                <a:gd name="connsiteY415" fmla="*/ 108585 h 493395"/>
                <a:gd name="connsiteX416" fmla="*/ 149543 w 693419"/>
                <a:gd name="connsiteY416" fmla="*/ 49530 h 493395"/>
                <a:gd name="connsiteX417" fmla="*/ 153353 w 693419"/>
                <a:gd name="connsiteY417" fmla="*/ 20003 h 493395"/>
                <a:gd name="connsiteX418" fmla="*/ 162878 w 693419"/>
                <a:gd name="connsiteY418" fmla="*/ 10478 h 493395"/>
                <a:gd name="connsiteX419" fmla="*/ 153353 w 693419"/>
                <a:gd name="connsiteY419" fmla="*/ 953 h 493395"/>
                <a:gd name="connsiteX420" fmla="*/ 143828 w 693419"/>
                <a:gd name="connsiteY420" fmla="*/ 10478 h 493395"/>
                <a:gd name="connsiteX421" fmla="*/ 153353 w 693419"/>
                <a:gd name="connsiteY421" fmla="*/ 20003 h 493395"/>
                <a:gd name="connsiteX422" fmla="*/ 93345 w 693419"/>
                <a:gd name="connsiteY422" fmla="*/ 10478 h 493395"/>
                <a:gd name="connsiteX423" fmla="*/ 39053 w 693419"/>
                <a:gd name="connsiteY423" fmla="*/ 10478 h 493395"/>
                <a:gd name="connsiteX424" fmla="*/ 37148 w 693419"/>
                <a:gd name="connsiteY424" fmla="*/ 15240 h 493395"/>
                <a:gd name="connsiteX425" fmla="*/ 46673 w 693419"/>
                <a:gd name="connsiteY425" fmla="*/ 40005 h 493395"/>
                <a:gd name="connsiteX426" fmla="*/ 29528 w 693419"/>
                <a:gd name="connsiteY426" fmla="*/ 88583 h 493395"/>
                <a:gd name="connsiteX427" fmla="*/ 953 w 693419"/>
                <a:gd name="connsiteY427" fmla="*/ 113347 h 493395"/>
                <a:gd name="connsiteX428" fmla="*/ 0 w 693419"/>
                <a:gd name="connsiteY428" fmla="*/ 118110 h 493395"/>
                <a:gd name="connsiteX429" fmla="*/ 82868 w 693419"/>
                <a:gd name="connsiteY429" fmla="*/ 118110 h 493395"/>
                <a:gd name="connsiteX430" fmla="*/ 100965 w 693419"/>
                <a:gd name="connsiteY430" fmla="*/ 86678 h 493395"/>
                <a:gd name="connsiteX431" fmla="*/ 94298 w 693419"/>
                <a:gd name="connsiteY431" fmla="*/ 86678 h 493395"/>
                <a:gd name="connsiteX432" fmla="*/ 54293 w 693419"/>
                <a:gd name="connsiteY432" fmla="*/ 111442 h 493395"/>
                <a:gd name="connsiteX433" fmla="*/ 46673 w 693419"/>
                <a:gd name="connsiteY433" fmla="*/ 88583 h 493395"/>
                <a:gd name="connsiteX434" fmla="*/ 63818 w 693419"/>
                <a:gd name="connsiteY434" fmla="*/ 40005 h 493395"/>
                <a:gd name="connsiteX435" fmla="*/ 92393 w 693419"/>
                <a:gd name="connsiteY435" fmla="*/ 15240 h 493395"/>
                <a:gd name="connsiteX436" fmla="*/ 93345 w 693419"/>
                <a:gd name="connsiteY436" fmla="*/ 10478 h 49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</a:cxnLst>
              <a:rect l="l" t="t" r="r" b="b"/>
              <a:pathLst>
                <a:path w="693419" h="493395">
                  <a:moveTo>
                    <a:pt x="659130" y="422910"/>
                  </a:moveTo>
                  <a:cubicBezTo>
                    <a:pt x="664845" y="422910"/>
                    <a:pt x="669608" y="426720"/>
                    <a:pt x="666750" y="437197"/>
                  </a:cubicBezTo>
                  <a:lnTo>
                    <a:pt x="641033" y="442913"/>
                  </a:lnTo>
                  <a:cubicBezTo>
                    <a:pt x="645795" y="432435"/>
                    <a:pt x="653415" y="422910"/>
                    <a:pt x="659130" y="422910"/>
                  </a:cubicBezTo>
                  <a:moveTo>
                    <a:pt x="673418" y="464820"/>
                  </a:moveTo>
                  <a:lnTo>
                    <a:pt x="668655" y="464820"/>
                  </a:lnTo>
                  <a:cubicBezTo>
                    <a:pt x="661988" y="472440"/>
                    <a:pt x="655320" y="478155"/>
                    <a:pt x="648653" y="478155"/>
                  </a:cubicBezTo>
                  <a:cubicBezTo>
                    <a:pt x="641985" y="478155"/>
                    <a:pt x="638175" y="474345"/>
                    <a:pt x="638175" y="464820"/>
                  </a:cubicBezTo>
                  <a:cubicBezTo>
                    <a:pt x="638175" y="461010"/>
                    <a:pt x="638175" y="457200"/>
                    <a:pt x="639128" y="453390"/>
                  </a:cubicBezTo>
                  <a:lnTo>
                    <a:pt x="680085" y="440055"/>
                  </a:lnTo>
                  <a:cubicBezTo>
                    <a:pt x="687705" y="421005"/>
                    <a:pt x="678180" y="412433"/>
                    <a:pt x="666750" y="412433"/>
                  </a:cubicBezTo>
                  <a:cubicBezTo>
                    <a:pt x="647700" y="412433"/>
                    <a:pt x="624840" y="444817"/>
                    <a:pt x="624840" y="473392"/>
                  </a:cubicBezTo>
                  <a:cubicBezTo>
                    <a:pt x="624840" y="485775"/>
                    <a:pt x="630555" y="493395"/>
                    <a:pt x="640080" y="493395"/>
                  </a:cubicBezTo>
                  <a:cubicBezTo>
                    <a:pt x="652463" y="493395"/>
                    <a:pt x="663893" y="481965"/>
                    <a:pt x="673418" y="464820"/>
                  </a:cubicBezTo>
                  <a:moveTo>
                    <a:pt x="664845" y="404813"/>
                  </a:moveTo>
                  <a:lnTo>
                    <a:pt x="693420" y="378142"/>
                  </a:lnTo>
                  <a:lnTo>
                    <a:pt x="693420" y="375285"/>
                  </a:lnTo>
                  <a:lnTo>
                    <a:pt x="678180" y="375285"/>
                  </a:lnTo>
                  <a:lnTo>
                    <a:pt x="660083" y="405765"/>
                  </a:lnTo>
                  <a:lnTo>
                    <a:pt x="664845" y="405765"/>
                  </a:lnTo>
                  <a:close/>
                  <a:moveTo>
                    <a:pt x="576263" y="423863"/>
                  </a:moveTo>
                  <a:lnTo>
                    <a:pt x="589598" y="423863"/>
                  </a:lnTo>
                  <a:lnTo>
                    <a:pt x="567690" y="482917"/>
                  </a:lnTo>
                  <a:cubicBezTo>
                    <a:pt x="565785" y="487680"/>
                    <a:pt x="568643" y="493395"/>
                    <a:pt x="573405" y="493395"/>
                  </a:cubicBezTo>
                  <a:cubicBezTo>
                    <a:pt x="585788" y="493395"/>
                    <a:pt x="605790" y="481013"/>
                    <a:pt x="612458" y="464820"/>
                  </a:cubicBezTo>
                  <a:lnTo>
                    <a:pt x="608648" y="464820"/>
                  </a:lnTo>
                  <a:cubicBezTo>
                    <a:pt x="602933" y="470535"/>
                    <a:pt x="592455" y="478155"/>
                    <a:pt x="583883" y="480060"/>
                  </a:cubicBezTo>
                  <a:lnTo>
                    <a:pt x="603885" y="424815"/>
                  </a:lnTo>
                  <a:lnTo>
                    <a:pt x="623888" y="424815"/>
                  </a:lnTo>
                  <a:lnTo>
                    <a:pt x="626745" y="416242"/>
                  </a:lnTo>
                  <a:lnTo>
                    <a:pt x="606743" y="416242"/>
                  </a:lnTo>
                  <a:lnTo>
                    <a:pt x="614363" y="395288"/>
                  </a:lnTo>
                  <a:lnTo>
                    <a:pt x="606743" y="395288"/>
                  </a:lnTo>
                  <a:lnTo>
                    <a:pt x="592455" y="416242"/>
                  </a:lnTo>
                  <a:lnTo>
                    <a:pt x="575310" y="418147"/>
                  </a:lnTo>
                  <a:lnTo>
                    <a:pt x="575310" y="423863"/>
                  </a:lnTo>
                  <a:close/>
                  <a:moveTo>
                    <a:pt x="558165" y="421005"/>
                  </a:moveTo>
                  <a:cubicBezTo>
                    <a:pt x="560070" y="415290"/>
                    <a:pt x="556260" y="412433"/>
                    <a:pt x="553403" y="412433"/>
                  </a:cubicBezTo>
                  <a:cubicBezTo>
                    <a:pt x="541973" y="412433"/>
                    <a:pt x="527685" y="422910"/>
                    <a:pt x="521970" y="438150"/>
                  </a:cubicBezTo>
                  <a:lnTo>
                    <a:pt x="525780" y="438150"/>
                  </a:lnTo>
                  <a:cubicBezTo>
                    <a:pt x="529590" y="432435"/>
                    <a:pt x="536258" y="426720"/>
                    <a:pt x="541973" y="425767"/>
                  </a:cubicBezTo>
                  <a:lnTo>
                    <a:pt x="519113" y="484822"/>
                  </a:lnTo>
                  <a:cubicBezTo>
                    <a:pt x="517208" y="490538"/>
                    <a:pt x="521018" y="493395"/>
                    <a:pt x="523875" y="493395"/>
                  </a:cubicBezTo>
                  <a:cubicBezTo>
                    <a:pt x="535305" y="493395"/>
                    <a:pt x="548640" y="482917"/>
                    <a:pt x="554355" y="467678"/>
                  </a:cubicBezTo>
                  <a:lnTo>
                    <a:pt x="550545" y="467678"/>
                  </a:lnTo>
                  <a:cubicBezTo>
                    <a:pt x="546735" y="473392"/>
                    <a:pt x="540068" y="479108"/>
                    <a:pt x="534353" y="480060"/>
                  </a:cubicBezTo>
                  <a:lnTo>
                    <a:pt x="558165" y="421005"/>
                  </a:lnTo>
                  <a:close/>
                  <a:moveTo>
                    <a:pt x="561975" y="391478"/>
                  </a:moveTo>
                  <a:cubicBezTo>
                    <a:pt x="567690" y="391478"/>
                    <a:pt x="571500" y="386715"/>
                    <a:pt x="571500" y="381953"/>
                  </a:cubicBezTo>
                  <a:cubicBezTo>
                    <a:pt x="571500" y="376238"/>
                    <a:pt x="566738" y="372428"/>
                    <a:pt x="561975" y="372428"/>
                  </a:cubicBezTo>
                  <a:cubicBezTo>
                    <a:pt x="556260" y="372428"/>
                    <a:pt x="552450" y="377190"/>
                    <a:pt x="552450" y="381953"/>
                  </a:cubicBezTo>
                  <a:cubicBezTo>
                    <a:pt x="552450" y="386715"/>
                    <a:pt x="556260" y="391478"/>
                    <a:pt x="561975" y="391478"/>
                  </a:cubicBezTo>
                  <a:moveTo>
                    <a:pt x="431483" y="481965"/>
                  </a:moveTo>
                  <a:cubicBezTo>
                    <a:pt x="428625" y="488633"/>
                    <a:pt x="431483" y="493395"/>
                    <a:pt x="438150" y="493395"/>
                  </a:cubicBezTo>
                  <a:cubicBezTo>
                    <a:pt x="441960" y="493395"/>
                    <a:pt x="443865" y="492442"/>
                    <a:pt x="445770" y="487680"/>
                  </a:cubicBezTo>
                  <a:lnTo>
                    <a:pt x="461963" y="445770"/>
                  </a:lnTo>
                  <a:cubicBezTo>
                    <a:pt x="469583" y="437197"/>
                    <a:pt x="483870" y="427672"/>
                    <a:pt x="490538" y="427672"/>
                  </a:cubicBezTo>
                  <a:cubicBezTo>
                    <a:pt x="495300" y="427672"/>
                    <a:pt x="494347" y="431483"/>
                    <a:pt x="491490" y="436245"/>
                  </a:cubicBezTo>
                  <a:lnTo>
                    <a:pt x="467678" y="482917"/>
                  </a:lnTo>
                  <a:cubicBezTo>
                    <a:pt x="465772" y="487680"/>
                    <a:pt x="468630" y="493395"/>
                    <a:pt x="473393" y="493395"/>
                  </a:cubicBezTo>
                  <a:cubicBezTo>
                    <a:pt x="484822" y="493395"/>
                    <a:pt x="499110" y="482917"/>
                    <a:pt x="504825" y="467678"/>
                  </a:cubicBezTo>
                  <a:lnTo>
                    <a:pt x="501015" y="467678"/>
                  </a:lnTo>
                  <a:cubicBezTo>
                    <a:pt x="497205" y="473392"/>
                    <a:pt x="490538" y="479108"/>
                    <a:pt x="484822" y="480060"/>
                  </a:cubicBezTo>
                  <a:lnTo>
                    <a:pt x="505778" y="438150"/>
                  </a:lnTo>
                  <a:cubicBezTo>
                    <a:pt x="508635" y="432435"/>
                    <a:pt x="509588" y="427672"/>
                    <a:pt x="509588" y="423863"/>
                  </a:cubicBezTo>
                  <a:cubicBezTo>
                    <a:pt x="509588" y="417195"/>
                    <a:pt x="505778" y="412433"/>
                    <a:pt x="498158" y="412433"/>
                  </a:cubicBezTo>
                  <a:cubicBezTo>
                    <a:pt x="487680" y="412433"/>
                    <a:pt x="477203" y="423863"/>
                    <a:pt x="464820" y="438150"/>
                  </a:cubicBezTo>
                  <a:lnTo>
                    <a:pt x="464820" y="426720"/>
                  </a:lnTo>
                  <a:cubicBezTo>
                    <a:pt x="464820" y="419100"/>
                    <a:pt x="461963" y="411480"/>
                    <a:pt x="455295" y="411480"/>
                  </a:cubicBezTo>
                  <a:cubicBezTo>
                    <a:pt x="450533" y="411480"/>
                    <a:pt x="446722" y="415290"/>
                    <a:pt x="442913" y="421005"/>
                  </a:cubicBezTo>
                  <a:lnTo>
                    <a:pt x="442913" y="422910"/>
                  </a:lnTo>
                  <a:cubicBezTo>
                    <a:pt x="450533" y="422910"/>
                    <a:pt x="454343" y="434340"/>
                    <a:pt x="448628" y="445770"/>
                  </a:cubicBezTo>
                  <a:lnTo>
                    <a:pt x="431483" y="481965"/>
                  </a:lnTo>
                  <a:close/>
                  <a:moveTo>
                    <a:pt x="431483" y="430530"/>
                  </a:moveTo>
                  <a:cubicBezTo>
                    <a:pt x="434340" y="421005"/>
                    <a:pt x="432435" y="412433"/>
                    <a:pt x="425768" y="412433"/>
                  </a:cubicBezTo>
                  <a:cubicBezTo>
                    <a:pt x="417195" y="412433"/>
                    <a:pt x="414338" y="419100"/>
                    <a:pt x="405765" y="438150"/>
                  </a:cubicBezTo>
                  <a:lnTo>
                    <a:pt x="405765" y="426720"/>
                  </a:lnTo>
                  <a:cubicBezTo>
                    <a:pt x="405765" y="419100"/>
                    <a:pt x="402908" y="411480"/>
                    <a:pt x="396240" y="411480"/>
                  </a:cubicBezTo>
                  <a:cubicBezTo>
                    <a:pt x="387668" y="411480"/>
                    <a:pt x="380047" y="424815"/>
                    <a:pt x="374333" y="437197"/>
                  </a:cubicBezTo>
                  <a:lnTo>
                    <a:pt x="378143" y="437197"/>
                  </a:lnTo>
                  <a:cubicBezTo>
                    <a:pt x="381953" y="431483"/>
                    <a:pt x="385763" y="427672"/>
                    <a:pt x="388620" y="427672"/>
                  </a:cubicBezTo>
                  <a:cubicBezTo>
                    <a:pt x="392430" y="427672"/>
                    <a:pt x="394335" y="433388"/>
                    <a:pt x="388620" y="445770"/>
                  </a:cubicBezTo>
                  <a:lnTo>
                    <a:pt x="372428" y="481013"/>
                  </a:lnTo>
                  <a:cubicBezTo>
                    <a:pt x="369570" y="487680"/>
                    <a:pt x="372428" y="492442"/>
                    <a:pt x="379095" y="492442"/>
                  </a:cubicBezTo>
                  <a:cubicBezTo>
                    <a:pt x="382905" y="492442"/>
                    <a:pt x="384810" y="491490"/>
                    <a:pt x="386715" y="486728"/>
                  </a:cubicBezTo>
                  <a:lnTo>
                    <a:pt x="402908" y="444817"/>
                  </a:lnTo>
                  <a:cubicBezTo>
                    <a:pt x="407670" y="439103"/>
                    <a:pt x="411480" y="434340"/>
                    <a:pt x="416243" y="429578"/>
                  </a:cubicBezTo>
                  <a:lnTo>
                    <a:pt x="431483" y="429578"/>
                  </a:lnTo>
                  <a:close/>
                  <a:moveTo>
                    <a:pt x="340043" y="422910"/>
                  </a:moveTo>
                  <a:cubicBezTo>
                    <a:pt x="345758" y="422910"/>
                    <a:pt x="350520" y="426720"/>
                    <a:pt x="347663" y="437197"/>
                  </a:cubicBezTo>
                  <a:lnTo>
                    <a:pt x="321945" y="442913"/>
                  </a:lnTo>
                  <a:cubicBezTo>
                    <a:pt x="326708" y="432435"/>
                    <a:pt x="334328" y="422910"/>
                    <a:pt x="340043" y="422910"/>
                  </a:cubicBezTo>
                  <a:moveTo>
                    <a:pt x="354330" y="464820"/>
                  </a:moveTo>
                  <a:lnTo>
                    <a:pt x="349568" y="464820"/>
                  </a:lnTo>
                  <a:cubicBezTo>
                    <a:pt x="342900" y="472440"/>
                    <a:pt x="336233" y="478155"/>
                    <a:pt x="329565" y="478155"/>
                  </a:cubicBezTo>
                  <a:cubicBezTo>
                    <a:pt x="322898" y="478155"/>
                    <a:pt x="319088" y="474345"/>
                    <a:pt x="319088" y="464820"/>
                  </a:cubicBezTo>
                  <a:cubicBezTo>
                    <a:pt x="319088" y="461010"/>
                    <a:pt x="319088" y="457200"/>
                    <a:pt x="320040" y="453390"/>
                  </a:cubicBezTo>
                  <a:lnTo>
                    <a:pt x="360997" y="440055"/>
                  </a:lnTo>
                  <a:cubicBezTo>
                    <a:pt x="368618" y="421005"/>
                    <a:pt x="359093" y="412433"/>
                    <a:pt x="347663" y="412433"/>
                  </a:cubicBezTo>
                  <a:cubicBezTo>
                    <a:pt x="328613" y="412433"/>
                    <a:pt x="305753" y="444817"/>
                    <a:pt x="305753" y="473392"/>
                  </a:cubicBezTo>
                  <a:cubicBezTo>
                    <a:pt x="305753" y="485775"/>
                    <a:pt x="311468" y="493395"/>
                    <a:pt x="320993" y="493395"/>
                  </a:cubicBezTo>
                  <a:cubicBezTo>
                    <a:pt x="333375" y="493395"/>
                    <a:pt x="344805" y="481965"/>
                    <a:pt x="354330" y="464820"/>
                  </a:cubicBezTo>
                  <a:moveTo>
                    <a:pt x="257175" y="423863"/>
                  </a:moveTo>
                  <a:lnTo>
                    <a:pt x="270510" y="423863"/>
                  </a:lnTo>
                  <a:lnTo>
                    <a:pt x="248603" y="482917"/>
                  </a:lnTo>
                  <a:cubicBezTo>
                    <a:pt x="246698" y="487680"/>
                    <a:pt x="249555" y="493395"/>
                    <a:pt x="254318" y="493395"/>
                  </a:cubicBezTo>
                  <a:cubicBezTo>
                    <a:pt x="266700" y="493395"/>
                    <a:pt x="286703" y="481013"/>
                    <a:pt x="293370" y="464820"/>
                  </a:cubicBezTo>
                  <a:lnTo>
                    <a:pt x="289560" y="464820"/>
                  </a:lnTo>
                  <a:cubicBezTo>
                    <a:pt x="283845" y="470535"/>
                    <a:pt x="273368" y="478155"/>
                    <a:pt x="264795" y="480060"/>
                  </a:cubicBezTo>
                  <a:lnTo>
                    <a:pt x="284798" y="424815"/>
                  </a:lnTo>
                  <a:lnTo>
                    <a:pt x="304800" y="424815"/>
                  </a:lnTo>
                  <a:lnTo>
                    <a:pt x="307658" y="416242"/>
                  </a:lnTo>
                  <a:lnTo>
                    <a:pt x="287655" y="416242"/>
                  </a:lnTo>
                  <a:lnTo>
                    <a:pt x="295275" y="395288"/>
                  </a:lnTo>
                  <a:lnTo>
                    <a:pt x="287655" y="395288"/>
                  </a:lnTo>
                  <a:lnTo>
                    <a:pt x="273368" y="416242"/>
                  </a:lnTo>
                  <a:lnTo>
                    <a:pt x="256223" y="418147"/>
                  </a:lnTo>
                  <a:lnTo>
                    <a:pt x="256223" y="423863"/>
                  </a:lnTo>
                  <a:close/>
                  <a:moveTo>
                    <a:pt x="181928" y="469583"/>
                  </a:moveTo>
                  <a:cubicBezTo>
                    <a:pt x="181928" y="451485"/>
                    <a:pt x="201930" y="426720"/>
                    <a:pt x="213360" y="426720"/>
                  </a:cubicBezTo>
                  <a:cubicBezTo>
                    <a:pt x="216218" y="426720"/>
                    <a:pt x="218123" y="426720"/>
                    <a:pt x="220028" y="427672"/>
                  </a:cubicBezTo>
                  <a:lnTo>
                    <a:pt x="208598" y="459105"/>
                  </a:lnTo>
                  <a:cubicBezTo>
                    <a:pt x="201930" y="467678"/>
                    <a:pt x="191453" y="477203"/>
                    <a:pt x="186690" y="477203"/>
                  </a:cubicBezTo>
                  <a:cubicBezTo>
                    <a:pt x="183833" y="478155"/>
                    <a:pt x="181928" y="475297"/>
                    <a:pt x="181928" y="469583"/>
                  </a:cubicBezTo>
                  <a:moveTo>
                    <a:pt x="244793" y="408622"/>
                  </a:moveTo>
                  <a:lnTo>
                    <a:pt x="238125" y="408622"/>
                  </a:lnTo>
                  <a:lnTo>
                    <a:pt x="231458" y="415290"/>
                  </a:lnTo>
                  <a:lnTo>
                    <a:pt x="229553" y="415290"/>
                  </a:lnTo>
                  <a:cubicBezTo>
                    <a:pt x="195263" y="415290"/>
                    <a:pt x="166688" y="453390"/>
                    <a:pt x="166688" y="481013"/>
                  </a:cubicBezTo>
                  <a:cubicBezTo>
                    <a:pt x="166688" y="488633"/>
                    <a:pt x="171450" y="493395"/>
                    <a:pt x="179070" y="493395"/>
                  </a:cubicBezTo>
                  <a:cubicBezTo>
                    <a:pt x="187643" y="493395"/>
                    <a:pt x="196215" y="481013"/>
                    <a:pt x="205740" y="467678"/>
                  </a:cubicBezTo>
                  <a:lnTo>
                    <a:pt x="205740" y="472440"/>
                  </a:lnTo>
                  <a:cubicBezTo>
                    <a:pt x="204788" y="485775"/>
                    <a:pt x="208598" y="493395"/>
                    <a:pt x="216218" y="493395"/>
                  </a:cubicBezTo>
                  <a:cubicBezTo>
                    <a:pt x="224790" y="493395"/>
                    <a:pt x="232410" y="480060"/>
                    <a:pt x="238125" y="467678"/>
                  </a:cubicBezTo>
                  <a:lnTo>
                    <a:pt x="234315" y="467678"/>
                  </a:lnTo>
                  <a:cubicBezTo>
                    <a:pt x="230505" y="473392"/>
                    <a:pt x="226695" y="477203"/>
                    <a:pt x="223838" y="477203"/>
                  </a:cubicBezTo>
                  <a:cubicBezTo>
                    <a:pt x="220980" y="477203"/>
                    <a:pt x="218123" y="471488"/>
                    <a:pt x="223838" y="459105"/>
                  </a:cubicBezTo>
                  <a:lnTo>
                    <a:pt x="244793" y="408622"/>
                  </a:lnTo>
                  <a:close/>
                  <a:moveTo>
                    <a:pt x="172403" y="430530"/>
                  </a:moveTo>
                  <a:cubicBezTo>
                    <a:pt x="175260" y="421005"/>
                    <a:pt x="173355" y="412433"/>
                    <a:pt x="166688" y="412433"/>
                  </a:cubicBezTo>
                  <a:cubicBezTo>
                    <a:pt x="158115" y="412433"/>
                    <a:pt x="155258" y="419100"/>
                    <a:pt x="146685" y="438150"/>
                  </a:cubicBezTo>
                  <a:lnTo>
                    <a:pt x="146685" y="426720"/>
                  </a:lnTo>
                  <a:cubicBezTo>
                    <a:pt x="146685" y="419100"/>
                    <a:pt x="143828" y="411480"/>
                    <a:pt x="137160" y="411480"/>
                  </a:cubicBezTo>
                  <a:cubicBezTo>
                    <a:pt x="128588" y="411480"/>
                    <a:pt x="120968" y="424815"/>
                    <a:pt x="115253" y="437197"/>
                  </a:cubicBezTo>
                  <a:lnTo>
                    <a:pt x="119063" y="437197"/>
                  </a:lnTo>
                  <a:cubicBezTo>
                    <a:pt x="122873" y="431483"/>
                    <a:pt x="126682" y="427672"/>
                    <a:pt x="129540" y="427672"/>
                  </a:cubicBezTo>
                  <a:cubicBezTo>
                    <a:pt x="133350" y="427672"/>
                    <a:pt x="135255" y="433388"/>
                    <a:pt x="129540" y="445770"/>
                  </a:cubicBezTo>
                  <a:lnTo>
                    <a:pt x="113348" y="481013"/>
                  </a:lnTo>
                  <a:cubicBezTo>
                    <a:pt x="110490" y="487680"/>
                    <a:pt x="113348" y="492442"/>
                    <a:pt x="120015" y="492442"/>
                  </a:cubicBezTo>
                  <a:cubicBezTo>
                    <a:pt x="123825" y="492442"/>
                    <a:pt x="125730" y="491490"/>
                    <a:pt x="127635" y="486728"/>
                  </a:cubicBezTo>
                  <a:lnTo>
                    <a:pt x="143828" y="444817"/>
                  </a:lnTo>
                  <a:cubicBezTo>
                    <a:pt x="148590" y="439103"/>
                    <a:pt x="152400" y="434340"/>
                    <a:pt x="157163" y="429578"/>
                  </a:cubicBezTo>
                  <a:lnTo>
                    <a:pt x="172403" y="429578"/>
                  </a:lnTo>
                  <a:close/>
                  <a:moveTo>
                    <a:pt x="59055" y="489585"/>
                  </a:moveTo>
                  <a:lnTo>
                    <a:pt x="60960" y="484822"/>
                  </a:lnTo>
                  <a:cubicBezTo>
                    <a:pt x="40957" y="481013"/>
                    <a:pt x="39053" y="481013"/>
                    <a:pt x="46673" y="460058"/>
                  </a:cubicBezTo>
                  <a:lnTo>
                    <a:pt x="54293" y="438150"/>
                  </a:lnTo>
                  <a:lnTo>
                    <a:pt x="76200" y="438150"/>
                  </a:lnTo>
                  <a:cubicBezTo>
                    <a:pt x="85725" y="438150"/>
                    <a:pt x="85725" y="441960"/>
                    <a:pt x="84773" y="452438"/>
                  </a:cubicBezTo>
                  <a:lnTo>
                    <a:pt x="90488" y="452438"/>
                  </a:lnTo>
                  <a:lnTo>
                    <a:pt x="103823" y="416242"/>
                  </a:lnTo>
                  <a:lnTo>
                    <a:pt x="98107" y="416242"/>
                  </a:lnTo>
                  <a:cubicBezTo>
                    <a:pt x="93345" y="424815"/>
                    <a:pt x="89535" y="430530"/>
                    <a:pt x="79057" y="430530"/>
                  </a:cubicBezTo>
                  <a:lnTo>
                    <a:pt x="57150" y="430530"/>
                  </a:lnTo>
                  <a:lnTo>
                    <a:pt x="68580" y="399097"/>
                  </a:lnTo>
                  <a:cubicBezTo>
                    <a:pt x="72390" y="389572"/>
                    <a:pt x="74295" y="386715"/>
                    <a:pt x="87630" y="386715"/>
                  </a:cubicBezTo>
                  <a:lnTo>
                    <a:pt x="97155" y="386715"/>
                  </a:lnTo>
                  <a:cubicBezTo>
                    <a:pt x="110490" y="386715"/>
                    <a:pt x="112395" y="390525"/>
                    <a:pt x="112395" y="404813"/>
                  </a:cubicBezTo>
                  <a:lnTo>
                    <a:pt x="118110" y="404813"/>
                  </a:lnTo>
                  <a:lnTo>
                    <a:pt x="122873" y="380047"/>
                  </a:lnTo>
                  <a:lnTo>
                    <a:pt x="40957" y="380047"/>
                  </a:lnTo>
                  <a:lnTo>
                    <a:pt x="39053" y="384810"/>
                  </a:lnTo>
                  <a:cubicBezTo>
                    <a:pt x="55245" y="387667"/>
                    <a:pt x="56198" y="389572"/>
                    <a:pt x="48578" y="409575"/>
                  </a:cubicBezTo>
                  <a:lnTo>
                    <a:pt x="30480" y="458153"/>
                  </a:lnTo>
                  <a:cubicBezTo>
                    <a:pt x="22860" y="478155"/>
                    <a:pt x="20003" y="480060"/>
                    <a:pt x="1905" y="482917"/>
                  </a:cubicBezTo>
                  <a:lnTo>
                    <a:pt x="953" y="487680"/>
                  </a:lnTo>
                  <a:lnTo>
                    <a:pt x="59055" y="487680"/>
                  </a:lnTo>
                  <a:close/>
                  <a:moveTo>
                    <a:pt x="460058" y="238125"/>
                  </a:moveTo>
                  <a:cubicBezTo>
                    <a:pt x="465772" y="238125"/>
                    <a:pt x="470535" y="241935"/>
                    <a:pt x="467678" y="252413"/>
                  </a:cubicBezTo>
                  <a:lnTo>
                    <a:pt x="441960" y="258128"/>
                  </a:lnTo>
                  <a:cubicBezTo>
                    <a:pt x="446722" y="246697"/>
                    <a:pt x="454343" y="238125"/>
                    <a:pt x="460058" y="238125"/>
                  </a:cubicBezTo>
                  <a:moveTo>
                    <a:pt x="474345" y="279083"/>
                  </a:moveTo>
                  <a:lnTo>
                    <a:pt x="469583" y="279083"/>
                  </a:lnTo>
                  <a:cubicBezTo>
                    <a:pt x="462915" y="286703"/>
                    <a:pt x="456247" y="292417"/>
                    <a:pt x="449580" y="292417"/>
                  </a:cubicBezTo>
                  <a:cubicBezTo>
                    <a:pt x="442913" y="292417"/>
                    <a:pt x="439103" y="288608"/>
                    <a:pt x="439103" y="279083"/>
                  </a:cubicBezTo>
                  <a:cubicBezTo>
                    <a:pt x="439103" y="275272"/>
                    <a:pt x="439103" y="271463"/>
                    <a:pt x="440055" y="267653"/>
                  </a:cubicBezTo>
                  <a:lnTo>
                    <a:pt x="481013" y="254317"/>
                  </a:lnTo>
                  <a:cubicBezTo>
                    <a:pt x="488633" y="235267"/>
                    <a:pt x="479108" y="226695"/>
                    <a:pt x="467678" y="226695"/>
                  </a:cubicBezTo>
                  <a:cubicBezTo>
                    <a:pt x="448628" y="226695"/>
                    <a:pt x="425768" y="259080"/>
                    <a:pt x="425768" y="287655"/>
                  </a:cubicBezTo>
                  <a:cubicBezTo>
                    <a:pt x="425768" y="300038"/>
                    <a:pt x="431483" y="307658"/>
                    <a:pt x="441008" y="307658"/>
                  </a:cubicBezTo>
                  <a:cubicBezTo>
                    <a:pt x="453390" y="307658"/>
                    <a:pt x="464820" y="297180"/>
                    <a:pt x="474345" y="279083"/>
                  </a:cubicBezTo>
                  <a:moveTo>
                    <a:pt x="466725" y="219075"/>
                  </a:moveTo>
                  <a:lnTo>
                    <a:pt x="495300" y="192405"/>
                  </a:lnTo>
                  <a:lnTo>
                    <a:pt x="495300" y="189547"/>
                  </a:lnTo>
                  <a:lnTo>
                    <a:pt x="480060" y="189547"/>
                  </a:lnTo>
                  <a:lnTo>
                    <a:pt x="461963" y="220028"/>
                  </a:lnTo>
                  <a:lnTo>
                    <a:pt x="466725" y="220028"/>
                  </a:lnTo>
                  <a:close/>
                  <a:moveTo>
                    <a:pt x="378143" y="238125"/>
                  </a:moveTo>
                  <a:lnTo>
                    <a:pt x="391478" y="238125"/>
                  </a:lnTo>
                  <a:lnTo>
                    <a:pt x="369570" y="297180"/>
                  </a:lnTo>
                  <a:cubicBezTo>
                    <a:pt x="367665" y="301942"/>
                    <a:pt x="370522" y="307658"/>
                    <a:pt x="375285" y="307658"/>
                  </a:cubicBezTo>
                  <a:cubicBezTo>
                    <a:pt x="387668" y="307658"/>
                    <a:pt x="407670" y="295275"/>
                    <a:pt x="414338" y="279083"/>
                  </a:cubicBezTo>
                  <a:lnTo>
                    <a:pt x="410528" y="279083"/>
                  </a:lnTo>
                  <a:cubicBezTo>
                    <a:pt x="404813" y="284797"/>
                    <a:pt x="394335" y="292417"/>
                    <a:pt x="385763" y="294322"/>
                  </a:cubicBezTo>
                  <a:lnTo>
                    <a:pt x="405765" y="239078"/>
                  </a:lnTo>
                  <a:lnTo>
                    <a:pt x="425768" y="239078"/>
                  </a:lnTo>
                  <a:lnTo>
                    <a:pt x="428625" y="230505"/>
                  </a:lnTo>
                  <a:lnTo>
                    <a:pt x="408622" y="230505"/>
                  </a:lnTo>
                  <a:lnTo>
                    <a:pt x="416243" y="209550"/>
                  </a:lnTo>
                  <a:lnTo>
                    <a:pt x="408622" y="209550"/>
                  </a:lnTo>
                  <a:lnTo>
                    <a:pt x="394335" y="230505"/>
                  </a:lnTo>
                  <a:lnTo>
                    <a:pt x="377190" y="232410"/>
                  </a:lnTo>
                  <a:lnTo>
                    <a:pt x="377190" y="238125"/>
                  </a:lnTo>
                  <a:close/>
                  <a:moveTo>
                    <a:pt x="359093" y="235267"/>
                  </a:moveTo>
                  <a:cubicBezTo>
                    <a:pt x="360997" y="229553"/>
                    <a:pt x="357188" y="226695"/>
                    <a:pt x="354330" y="226695"/>
                  </a:cubicBezTo>
                  <a:cubicBezTo>
                    <a:pt x="342900" y="226695"/>
                    <a:pt x="328613" y="237172"/>
                    <a:pt x="322898" y="252413"/>
                  </a:cubicBezTo>
                  <a:lnTo>
                    <a:pt x="326708" y="252413"/>
                  </a:lnTo>
                  <a:cubicBezTo>
                    <a:pt x="330518" y="246697"/>
                    <a:pt x="337185" y="240983"/>
                    <a:pt x="342900" y="240030"/>
                  </a:cubicBezTo>
                  <a:lnTo>
                    <a:pt x="320040" y="299085"/>
                  </a:lnTo>
                  <a:cubicBezTo>
                    <a:pt x="318135" y="304800"/>
                    <a:pt x="321945" y="307658"/>
                    <a:pt x="324803" y="307658"/>
                  </a:cubicBezTo>
                  <a:cubicBezTo>
                    <a:pt x="336233" y="307658"/>
                    <a:pt x="349568" y="297180"/>
                    <a:pt x="355283" y="281940"/>
                  </a:cubicBezTo>
                  <a:lnTo>
                    <a:pt x="351472" y="281940"/>
                  </a:lnTo>
                  <a:cubicBezTo>
                    <a:pt x="347663" y="287655"/>
                    <a:pt x="340995" y="293370"/>
                    <a:pt x="335280" y="294322"/>
                  </a:cubicBezTo>
                  <a:lnTo>
                    <a:pt x="359093" y="235267"/>
                  </a:lnTo>
                  <a:close/>
                  <a:moveTo>
                    <a:pt x="363855" y="205740"/>
                  </a:moveTo>
                  <a:cubicBezTo>
                    <a:pt x="369570" y="205740"/>
                    <a:pt x="373380" y="200978"/>
                    <a:pt x="373380" y="196215"/>
                  </a:cubicBezTo>
                  <a:cubicBezTo>
                    <a:pt x="373380" y="190500"/>
                    <a:pt x="368618" y="186690"/>
                    <a:pt x="363855" y="186690"/>
                  </a:cubicBezTo>
                  <a:cubicBezTo>
                    <a:pt x="358140" y="186690"/>
                    <a:pt x="354330" y="191453"/>
                    <a:pt x="354330" y="196215"/>
                  </a:cubicBezTo>
                  <a:cubicBezTo>
                    <a:pt x="353378" y="201930"/>
                    <a:pt x="358140" y="205740"/>
                    <a:pt x="363855" y="205740"/>
                  </a:cubicBezTo>
                  <a:moveTo>
                    <a:pt x="284798" y="294322"/>
                  </a:moveTo>
                  <a:lnTo>
                    <a:pt x="325755" y="185738"/>
                  </a:lnTo>
                  <a:lnTo>
                    <a:pt x="324803" y="183833"/>
                  </a:lnTo>
                  <a:lnTo>
                    <a:pt x="299085" y="186690"/>
                  </a:lnTo>
                  <a:lnTo>
                    <a:pt x="299085" y="189547"/>
                  </a:lnTo>
                  <a:lnTo>
                    <a:pt x="303848" y="193358"/>
                  </a:lnTo>
                  <a:cubicBezTo>
                    <a:pt x="308610" y="197167"/>
                    <a:pt x="306705" y="200025"/>
                    <a:pt x="302895" y="211455"/>
                  </a:cubicBezTo>
                  <a:lnTo>
                    <a:pt x="270510" y="296228"/>
                  </a:lnTo>
                  <a:cubicBezTo>
                    <a:pt x="268605" y="300990"/>
                    <a:pt x="271463" y="306705"/>
                    <a:pt x="276225" y="306705"/>
                  </a:cubicBezTo>
                  <a:cubicBezTo>
                    <a:pt x="287655" y="306705"/>
                    <a:pt x="300990" y="296228"/>
                    <a:pt x="306705" y="280988"/>
                  </a:cubicBezTo>
                  <a:lnTo>
                    <a:pt x="302895" y="280988"/>
                  </a:lnTo>
                  <a:cubicBezTo>
                    <a:pt x="299085" y="287655"/>
                    <a:pt x="290513" y="293370"/>
                    <a:pt x="284798" y="294322"/>
                  </a:cubicBezTo>
                  <a:moveTo>
                    <a:pt x="205740" y="284797"/>
                  </a:moveTo>
                  <a:cubicBezTo>
                    <a:pt x="205740" y="266700"/>
                    <a:pt x="225743" y="241935"/>
                    <a:pt x="237173" y="241935"/>
                  </a:cubicBezTo>
                  <a:cubicBezTo>
                    <a:pt x="240030" y="241935"/>
                    <a:pt x="241935" y="241935"/>
                    <a:pt x="243840" y="242888"/>
                  </a:cubicBezTo>
                  <a:lnTo>
                    <a:pt x="232410" y="274320"/>
                  </a:lnTo>
                  <a:cubicBezTo>
                    <a:pt x="225743" y="282892"/>
                    <a:pt x="215265" y="292417"/>
                    <a:pt x="210503" y="292417"/>
                  </a:cubicBezTo>
                  <a:cubicBezTo>
                    <a:pt x="207645" y="292417"/>
                    <a:pt x="205740" y="289560"/>
                    <a:pt x="205740" y="284797"/>
                  </a:cubicBezTo>
                  <a:moveTo>
                    <a:pt x="268605" y="223838"/>
                  </a:moveTo>
                  <a:lnTo>
                    <a:pt x="261938" y="223838"/>
                  </a:lnTo>
                  <a:lnTo>
                    <a:pt x="255270" y="230505"/>
                  </a:lnTo>
                  <a:lnTo>
                    <a:pt x="253365" y="230505"/>
                  </a:lnTo>
                  <a:cubicBezTo>
                    <a:pt x="219075" y="230505"/>
                    <a:pt x="190500" y="268605"/>
                    <a:pt x="190500" y="296228"/>
                  </a:cubicBezTo>
                  <a:cubicBezTo>
                    <a:pt x="190500" y="303847"/>
                    <a:pt x="195263" y="308610"/>
                    <a:pt x="202883" y="308610"/>
                  </a:cubicBezTo>
                  <a:cubicBezTo>
                    <a:pt x="211455" y="308610"/>
                    <a:pt x="220028" y="296228"/>
                    <a:pt x="229553" y="282892"/>
                  </a:cubicBezTo>
                  <a:lnTo>
                    <a:pt x="229553" y="287655"/>
                  </a:lnTo>
                  <a:cubicBezTo>
                    <a:pt x="228600" y="300990"/>
                    <a:pt x="232410" y="308610"/>
                    <a:pt x="240030" y="308610"/>
                  </a:cubicBezTo>
                  <a:cubicBezTo>
                    <a:pt x="248603" y="308610"/>
                    <a:pt x="256223" y="295275"/>
                    <a:pt x="261938" y="282892"/>
                  </a:cubicBezTo>
                  <a:lnTo>
                    <a:pt x="258128" y="282892"/>
                  </a:lnTo>
                  <a:cubicBezTo>
                    <a:pt x="254318" y="288608"/>
                    <a:pt x="250508" y="292417"/>
                    <a:pt x="247650" y="292417"/>
                  </a:cubicBezTo>
                  <a:cubicBezTo>
                    <a:pt x="244793" y="292417"/>
                    <a:pt x="241935" y="286703"/>
                    <a:pt x="247650" y="274320"/>
                  </a:cubicBezTo>
                  <a:lnTo>
                    <a:pt x="268605" y="223838"/>
                  </a:lnTo>
                  <a:close/>
                  <a:moveTo>
                    <a:pt x="117157" y="321945"/>
                  </a:moveTo>
                  <a:cubicBezTo>
                    <a:pt x="117157" y="314325"/>
                    <a:pt x="124778" y="309563"/>
                    <a:pt x="135255" y="304800"/>
                  </a:cubicBezTo>
                  <a:cubicBezTo>
                    <a:pt x="139065" y="306705"/>
                    <a:pt x="143828" y="308610"/>
                    <a:pt x="151448" y="310515"/>
                  </a:cubicBezTo>
                  <a:cubicBezTo>
                    <a:pt x="162878" y="314325"/>
                    <a:pt x="166688" y="315278"/>
                    <a:pt x="166688" y="319088"/>
                  </a:cubicBezTo>
                  <a:cubicBezTo>
                    <a:pt x="166688" y="326708"/>
                    <a:pt x="154305" y="331470"/>
                    <a:pt x="137160" y="331470"/>
                  </a:cubicBezTo>
                  <a:cubicBezTo>
                    <a:pt x="123825" y="332422"/>
                    <a:pt x="117157" y="329565"/>
                    <a:pt x="117157" y="321945"/>
                  </a:cubicBezTo>
                  <a:moveTo>
                    <a:pt x="147638" y="274320"/>
                  </a:moveTo>
                  <a:cubicBezTo>
                    <a:pt x="142875" y="274320"/>
                    <a:pt x="140970" y="270510"/>
                    <a:pt x="140970" y="265747"/>
                  </a:cubicBezTo>
                  <a:cubicBezTo>
                    <a:pt x="140970" y="252413"/>
                    <a:pt x="147638" y="233363"/>
                    <a:pt x="159068" y="233363"/>
                  </a:cubicBezTo>
                  <a:cubicBezTo>
                    <a:pt x="163830" y="233363"/>
                    <a:pt x="165735" y="237172"/>
                    <a:pt x="165735" y="241935"/>
                  </a:cubicBezTo>
                  <a:cubicBezTo>
                    <a:pt x="166688" y="254317"/>
                    <a:pt x="159068" y="274320"/>
                    <a:pt x="147638" y="274320"/>
                  </a:cubicBezTo>
                  <a:moveTo>
                    <a:pt x="180023" y="314325"/>
                  </a:moveTo>
                  <a:cubicBezTo>
                    <a:pt x="180023" y="304800"/>
                    <a:pt x="171450" y="300990"/>
                    <a:pt x="158115" y="297180"/>
                  </a:cubicBezTo>
                  <a:cubicBezTo>
                    <a:pt x="146685" y="293370"/>
                    <a:pt x="140970" y="292417"/>
                    <a:pt x="140970" y="288608"/>
                  </a:cubicBezTo>
                  <a:cubicBezTo>
                    <a:pt x="140970" y="285750"/>
                    <a:pt x="143828" y="281940"/>
                    <a:pt x="148590" y="279083"/>
                  </a:cubicBezTo>
                  <a:cubicBezTo>
                    <a:pt x="167640" y="278130"/>
                    <a:pt x="180975" y="260985"/>
                    <a:pt x="180975" y="245745"/>
                  </a:cubicBezTo>
                  <a:cubicBezTo>
                    <a:pt x="180975" y="242888"/>
                    <a:pt x="180023" y="240030"/>
                    <a:pt x="179070" y="237172"/>
                  </a:cubicBezTo>
                  <a:lnTo>
                    <a:pt x="195263" y="237172"/>
                  </a:lnTo>
                  <a:lnTo>
                    <a:pt x="198120" y="228600"/>
                  </a:lnTo>
                  <a:lnTo>
                    <a:pt x="172403" y="228600"/>
                  </a:lnTo>
                  <a:cubicBezTo>
                    <a:pt x="169545" y="226695"/>
                    <a:pt x="165735" y="225742"/>
                    <a:pt x="161925" y="225742"/>
                  </a:cubicBezTo>
                  <a:cubicBezTo>
                    <a:pt x="140970" y="225742"/>
                    <a:pt x="127635" y="243840"/>
                    <a:pt x="127635" y="258128"/>
                  </a:cubicBezTo>
                  <a:cubicBezTo>
                    <a:pt x="127635" y="269558"/>
                    <a:pt x="134303" y="276225"/>
                    <a:pt x="143828" y="278130"/>
                  </a:cubicBezTo>
                  <a:cubicBezTo>
                    <a:pt x="134303" y="282892"/>
                    <a:pt x="128588" y="287655"/>
                    <a:pt x="128588" y="293370"/>
                  </a:cubicBezTo>
                  <a:cubicBezTo>
                    <a:pt x="128588" y="297180"/>
                    <a:pt x="129540" y="299085"/>
                    <a:pt x="132398" y="300990"/>
                  </a:cubicBezTo>
                  <a:cubicBezTo>
                    <a:pt x="110490" y="307658"/>
                    <a:pt x="100965" y="315278"/>
                    <a:pt x="100965" y="325755"/>
                  </a:cubicBezTo>
                  <a:cubicBezTo>
                    <a:pt x="100965" y="336233"/>
                    <a:pt x="114300" y="340042"/>
                    <a:pt x="130493" y="340042"/>
                  </a:cubicBezTo>
                  <a:cubicBezTo>
                    <a:pt x="157163" y="341947"/>
                    <a:pt x="180023" y="326708"/>
                    <a:pt x="180023" y="314325"/>
                  </a:cubicBezTo>
                  <a:moveTo>
                    <a:pt x="76200" y="251460"/>
                  </a:moveTo>
                  <a:cubicBezTo>
                    <a:pt x="85725" y="251460"/>
                    <a:pt x="85725" y="255270"/>
                    <a:pt x="84773" y="265747"/>
                  </a:cubicBezTo>
                  <a:lnTo>
                    <a:pt x="90488" y="265747"/>
                  </a:lnTo>
                  <a:lnTo>
                    <a:pt x="103823" y="229553"/>
                  </a:lnTo>
                  <a:lnTo>
                    <a:pt x="98107" y="229553"/>
                  </a:lnTo>
                  <a:cubicBezTo>
                    <a:pt x="93345" y="238125"/>
                    <a:pt x="89535" y="243840"/>
                    <a:pt x="79057" y="243840"/>
                  </a:cubicBezTo>
                  <a:lnTo>
                    <a:pt x="57150" y="243840"/>
                  </a:lnTo>
                  <a:lnTo>
                    <a:pt x="67628" y="214313"/>
                  </a:lnTo>
                  <a:cubicBezTo>
                    <a:pt x="71438" y="204788"/>
                    <a:pt x="73343" y="202883"/>
                    <a:pt x="86678" y="202883"/>
                  </a:cubicBezTo>
                  <a:lnTo>
                    <a:pt x="96203" y="202883"/>
                  </a:lnTo>
                  <a:cubicBezTo>
                    <a:pt x="109538" y="202883"/>
                    <a:pt x="111443" y="206692"/>
                    <a:pt x="111443" y="220028"/>
                  </a:cubicBezTo>
                  <a:lnTo>
                    <a:pt x="117157" y="220028"/>
                  </a:lnTo>
                  <a:lnTo>
                    <a:pt x="121920" y="195263"/>
                  </a:lnTo>
                  <a:lnTo>
                    <a:pt x="40005" y="195263"/>
                  </a:lnTo>
                  <a:lnTo>
                    <a:pt x="38100" y="200025"/>
                  </a:lnTo>
                  <a:cubicBezTo>
                    <a:pt x="54293" y="202883"/>
                    <a:pt x="55245" y="204788"/>
                    <a:pt x="47625" y="224790"/>
                  </a:cubicBezTo>
                  <a:lnTo>
                    <a:pt x="29528" y="273367"/>
                  </a:lnTo>
                  <a:cubicBezTo>
                    <a:pt x="21908" y="293370"/>
                    <a:pt x="19050" y="295275"/>
                    <a:pt x="953" y="298133"/>
                  </a:cubicBezTo>
                  <a:lnTo>
                    <a:pt x="0" y="302895"/>
                  </a:lnTo>
                  <a:lnTo>
                    <a:pt x="91440" y="302895"/>
                  </a:lnTo>
                  <a:lnTo>
                    <a:pt x="107632" y="277178"/>
                  </a:lnTo>
                  <a:lnTo>
                    <a:pt x="101918" y="277178"/>
                  </a:lnTo>
                  <a:cubicBezTo>
                    <a:pt x="91440" y="286703"/>
                    <a:pt x="78105" y="296228"/>
                    <a:pt x="60007" y="296228"/>
                  </a:cubicBezTo>
                  <a:cubicBezTo>
                    <a:pt x="36195" y="296228"/>
                    <a:pt x="38100" y="295275"/>
                    <a:pt x="45720" y="273367"/>
                  </a:cubicBezTo>
                  <a:lnTo>
                    <a:pt x="54293" y="249555"/>
                  </a:lnTo>
                  <a:lnTo>
                    <a:pt x="76200" y="249555"/>
                  </a:lnTo>
                  <a:close/>
                  <a:moveTo>
                    <a:pt x="88582" y="188595"/>
                  </a:moveTo>
                  <a:lnTo>
                    <a:pt x="117157" y="168592"/>
                  </a:lnTo>
                  <a:lnTo>
                    <a:pt x="117157" y="165735"/>
                  </a:lnTo>
                  <a:lnTo>
                    <a:pt x="100013" y="165735"/>
                  </a:lnTo>
                  <a:lnTo>
                    <a:pt x="83820" y="188595"/>
                  </a:lnTo>
                  <a:lnTo>
                    <a:pt x="88582" y="188595"/>
                  </a:lnTo>
                  <a:close/>
                  <a:moveTo>
                    <a:pt x="450533" y="52388"/>
                  </a:moveTo>
                  <a:cubicBezTo>
                    <a:pt x="456247" y="52388"/>
                    <a:pt x="461010" y="56197"/>
                    <a:pt x="458153" y="66675"/>
                  </a:cubicBezTo>
                  <a:lnTo>
                    <a:pt x="432435" y="72390"/>
                  </a:lnTo>
                  <a:cubicBezTo>
                    <a:pt x="437197" y="60960"/>
                    <a:pt x="444818" y="52388"/>
                    <a:pt x="450533" y="52388"/>
                  </a:cubicBezTo>
                  <a:moveTo>
                    <a:pt x="464820" y="93345"/>
                  </a:moveTo>
                  <a:lnTo>
                    <a:pt x="460058" y="93345"/>
                  </a:lnTo>
                  <a:cubicBezTo>
                    <a:pt x="453390" y="100965"/>
                    <a:pt x="446722" y="106680"/>
                    <a:pt x="440055" y="106680"/>
                  </a:cubicBezTo>
                  <a:cubicBezTo>
                    <a:pt x="433388" y="106680"/>
                    <a:pt x="429578" y="102870"/>
                    <a:pt x="429578" y="93345"/>
                  </a:cubicBezTo>
                  <a:cubicBezTo>
                    <a:pt x="429578" y="89535"/>
                    <a:pt x="429578" y="85725"/>
                    <a:pt x="430530" y="81915"/>
                  </a:cubicBezTo>
                  <a:lnTo>
                    <a:pt x="471488" y="68580"/>
                  </a:lnTo>
                  <a:cubicBezTo>
                    <a:pt x="479108" y="49530"/>
                    <a:pt x="469583" y="40958"/>
                    <a:pt x="458153" y="40958"/>
                  </a:cubicBezTo>
                  <a:cubicBezTo>
                    <a:pt x="439103" y="40958"/>
                    <a:pt x="416243" y="73342"/>
                    <a:pt x="416243" y="101917"/>
                  </a:cubicBezTo>
                  <a:cubicBezTo>
                    <a:pt x="416243" y="114300"/>
                    <a:pt x="421958" y="121920"/>
                    <a:pt x="431483" y="121920"/>
                  </a:cubicBezTo>
                  <a:cubicBezTo>
                    <a:pt x="443865" y="121920"/>
                    <a:pt x="455295" y="111442"/>
                    <a:pt x="464820" y="93345"/>
                  </a:cubicBezTo>
                  <a:moveTo>
                    <a:pt x="457200" y="33338"/>
                  </a:moveTo>
                  <a:lnTo>
                    <a:pt x="485775" y="6667"/>
                  </a:lnTo>
                  <a:lnTo>
                    <a:pt x="485775" y="3810"/>
                  </a:lnTo>
                  <a:lnTo>
                    <a:pt x="470535" y="3810"/>
                  </a:lnTo>
                  <a:lnTo>
                    <a:pt x="452438" y="34290"/>
                  </a:lnTo>
                  <a:lnTo>
                    <a:pt x="457200" y="34290"/>
                  </a:lnTo>
                  <a:close/>
                  <a:moveTo>
                    <a:pt x="371475" y="52388"/>
                  </a:moveTo>
                  <a:lnTo>
                    <a:pt x="381953" y="52388"/>
                  </a:lnTo>
                  <a:lnTo>
                    <a:pt x="360045" y="111442"/>
                  </a:lnTo>
                  <a:cubicBezTo>
                    <a:pt x="358140" y="116205"/>
                    <a:pt x="360997" y="121920"/>
                    <a:pt x="365760" y="121920"/>
                  </a:cubicBezTo>
                  <a:cubicBezTo>
                    <a:pt x="378143" y="121920"/>
                    <a:pt x="398145" y="109538"/>
                    <a:pt x="404813" y="93345"/>
                  </a:cubicBezTo>
                  <a:lnTo>
                    <a:pt x="401003" y="93345"/>
                  </a:lnTo>
                  <a:cubicBezTo>
                    <a:pt x="395288" y="99060"/>
                    <a:pt x="384810" y="106680"/>
                    <a:pt x="376238" y="108585"/>
                  </a:cubicBezTo>
                  <a:lnTo>
                    <a:pt x="396240" y="53340"/>
                  </a:lnTo>
                  <a:lnTo>
                    <a:pt x="416243" y="53340"/>
                  </a:lnTo>
                  <a:lnTo>
                    <a:pt x="419100" y="44767"/>
                  </a:lnTo>
                  <a:lnTo>
                    <a:pt x="399097" y="44767"/>
                  </a:lnTo>
                  <a:lnTo>
                    <a:pt x="406718" y="23813"/>
                  </a:lnTo>
                  <a:lnTo>
                    <a:pt x="399097" y="23813"/>
                  </a:lnTo>
                  <a:lnTo>
                    <a:pt x="384810" y="44767"/>
                  </a:lnTo>
                  <a:lnTo>
                    <a:pt x="370522" y="46672"/>
                  </a:lnTo>
                  <a:lnTo>
                    <a:pt x="370522" y="52388"/>
                  </a:lnTo>
                  <a:close/>
                  <a:moveTo>
                    <a:pt x="360997" y="59055"/>
                  </a:moveTo>
                  <a:cubicBezTo>
                    <a:pt x="363855" y="49530"/>
                    <a:pt x="361950" y="40958"/>
                    <a:pt x="355283" y="40958"/>
                  </a:cubicBezTo>
                  <a:cubicBezTo>
                    <a:pt x="346710" y="40958"/>
                    <a:pt x="343853" y="47625"/>
                    <a:pt x="335280" y="66675"/>
                  </a:cubicBezTo>
                  <a:lnTo>
                    <a:pt x="335280" y="55245"/>
                  </a:lnTo>
                  <a:cubicBezTo>
                    <a:pt x="335280" y="47625"/>
                    <a:pt x="332423" y="40005"/>
                    <a:pt x="325755" y="40005"/>
                  </a:cubicBezTo>
                  <a:cubicBezTo>
                    <a:pt x="317183" y="40005"/>
                    <a:pt x="309563" y="53340"/>
                    <a:pt x="303848" y="65722"/>
                  </a:cubicBezTo>
                  <a:lnTo>
                    <a:pt x="307658" y="65722"/>
                  </a:lnTo>
                  <a:cubicBezTo>
                    <a:pt x="311468" y="60008"/>
                    <a:pt x="315278" y="56197"/>
                    <a:pt x="318135" y="56197"/>
                  </a:cubicBezTo>
                  <a:cubicBezTo>
                    <a:pt x="321945" y="56197"/>
                    <a:pt x="323850" y="61913"/>
                    <a:pt x="318135" y="74295"/>
                  </a:cubicBezTo>
                  <a:lnTo>
                    <a:pt x="301943" y="109538"/>
                  </a:lnTo>
                  <a:cubicBezTo>
                    <a:pt x="299085" y="116205"/>
                    <a:pt x="301943" y="120967"/>
                    <a:pt x="308610" y="120967"/>
                  </a:cubicBezTo>
                  <a:cubicBezTo>
                    <a:pt x="312420" y="120967"/>
                    <a:pt x="314325" y="120015"/>
                    <a:pt x="316230" y="115253"/>
                  </a:cubicBezTo>
                  <a:lnTo>
                    <a:pt x="332423" y="73342"/>
                  </a:lnTo>
                  <a:cubicBezTo>
                    <a:pt x="337185" y="67628"/>
                    <a:pt x="340995" y="62865"/>
                    <a:pt x="345758" y="58103"/>
                  </a:cubicBezTo>
                  <a:lnTo>
                    <a:pt x="360997" y="58103"/>
                  </a:lnTo>
                  <a:close/>
                  <a:moveTo>
                    <a:pt x="269558" y="52388"/>
                  </a:moveTo>
                  <a:cubicBezTo>
                    <a:pt x="275273" y="52388"/>
                    <a:pt x="280035" y="56197"/>
                    <a:pt x="277178" y="66675"/>
                  </a:cubicBezTo>
                  <a:lnTo>
                    <a:pt x="251460" y="72390"/>
                  </a:lnTo>
                  <a:cubicBezTo>
                    <a:pt x="256223" y="60960"/>
                    <a:pt x="263843" y="52388"/>
                    <a:pt x="269558" y="52388"/>
                  </a:cubicBezTo>
                  <a:moveTo>
                    <a:pt x="283845" y="93345"/>
                  </a:moveTo>
                  <a:lnTo>
                    <a:pt x="279083" y="93345"/>
                  </a:lnTo>
                  <a:cubicBezTo>
                    <a:pt x="272415" y="100965"/>
                    <a:pt x="265748" y="106680"/>
                    <a:pt x="259080" y="106680"/>
                  </a:cubicBezTo>
                  <a:cubicBezTo>
                    <a:pt x="252413" y="106680"/>
                    <a:pt x="248603" y="102870"/>
                    <a:pt x="248603" y="93345"/>
                  </a:cubicBezTo>
                  <a:cubicBezTo>
                    <a:pt x="248603" y="89535"/>
                    <a:pt x="248603" y="85725"/>
                    <a:pt x="249555" y="81915"/>
                  </a:cubicBezTo>
                  <a:lnTo>
                    <a:pt x="290513" y="68580"/>
                  </a:lnTo>
                  <a:cubicBezTo>
                    <a:pt x="298133" y="49530"/>
                    <a:pt x="288608" y="40958"/>
                    <a:pt x="277178" y="40958"/>
                  </a:cubicBezTo>
                  <a:cubicBezTo>
                    <a:pt x="258128" y="40958"/>
                    <a:pt x="235268" y="73342"/>
                    <a:pt x="235268" y="101917"/>
                  </a:cubicBezTo>
                  <a:cubicBezTo>
                    <a:pt x="235268" y="114300"/>
                    <a:pt x="240983" y="121920"/>
                    <a:pt x="250508" y="121920"/>
                  </a:cubicBezTo>
                  <a:cubicBezTo>
                    <a:pt x="262890" y="121920"/>
                    <a:pt x="274320" y="111442"/>
                    <a:pt x="283845" y="93345"/>
                  </a:cubicBezTo>
                  <a:moveTo>
                    <a:pt x="182880" y="110490"/>
                  </a:moveTo>
                  <a:cubicBezTo>
                    <a:pt x="179070" y="110490"/>
                    <a:pt x="173355" y="106680"/>
                    <a:pt x="173355" y="103822"/>
                  </a:cubicBezTo>
                  <a:cubicBezTo>
                    <a:pt x="173355" y="102870"/>
                    <a:pt x="175260" y="98108"/>
                    <a:pt x="177165" y="92392"/>
                  </a:cubicBezTo>
                  <a:lnTo>
                    <a:pt x="183833" y="74295"/>
                  </a:lnTo>
                  <a:cubicBezTo>
                    <a:pt x="190500" y="65722"/>
                    <a:pt x="201930" y="57150"/>
                    <a:pt x="207645" y="57150"/>
                  </a:cubicBezTo>
                  <a:cubicBezTo>
                    <a:pt x="211455" y="57150"/>
                    <a:pt x="214313" y="59055"/>
                    <a:pt x="214313" y="64770"/>
                  </a:cubicBezTo>
                  <a:cubicBezTo>
                    <a:pt x="215265" y="80963"/>
                    <a:pt x="200025" y="110490"/>
                    <a:pt x="182880" y="110490"/>
                  </a:cubicBezTo>
                  <a:moveTo>
                    <a:pt x="230505" y="58103"/>
                  </a:moveTo>
                  <a:cubicBezTo>
                    <a:pt x="230505" y="45720"/>
                    <a:pt x="225743" y="41910"/>
                    <a:pt x="218123" y="41910"/>
                  </a:cubicBezTo>
                  <a:cubicBezTo>
                    <a:pt x="207645" y="41910"/>
                    <a:pt x="198120" y="53340"/>
                    <a:pt x="188595" y="66675"/>
                  </a:cubicBezTo>
                  <a:lnTo>
                    <a:pt x="213360" y="1905"/>
                  </a:lnTo>
                  <a:lnTo>
                    <a:pt x="212408" y="0"/>
                  </a:lnTo>
                  <a:lnTo>
                    <a:pt x="186690" y="2858"/>
                  </a:lnTo>
                  <a:lnTo>
                    <a:pt x="186690" y="5715"/>
                  </a:lnTo>
                  <a:lnTo>
                    <a:pt x="191453" y="9525"/>
                  </a:lnTo>
                  <a:cubicBezTo>
                    <a:pt x="196215" y="13335"/>
                    <a:pt x="194310" y="17145"/>
                    <a:pt x="190500" y="27622"/>
                  </a:cubicBezTo>
                  <a:lnTo>
                    <a:pt x="163830" y="96203"/>
                  </a:lnTo>
                  <a:cubicBezTo>
                    <a:pt x="161925" y="100965"/>
                    <a:pt x="159068" y="107633"/>
                    <a:pt x="159068" y="108585"/>
                  </a:cubicBezTo>
                  <a:cubicBezTo>
                    <a:pt x="159068" y="115253"/>
                    <a:pt x="168593" y="121920"/>
                    <a:pt x="177165" y="121920"/>
                  </a:cubicBezTo>
                  <a:cubicBezTo>
                    <a:pt x="196215" y="121920"/>
                    <a:pt x="230505" y="85725"/>
                    <a:pt x="230505" y="58103"/>
                  </a:cubicBezTo>
                  <a:moveTo>
                    <a:pt x="149543" y="49530"/>
                  </a:moveTo>
                  <a:cubicBezTo>
                    <a:pt x="151448" y="43815"/>
                    <a:pt x="147638" y="40958"/>
                    <a:pt x="144780" y="40958"/>
                  </a:cubicBezTo>
                  <a:cubicBezTo>
                    <a:pt x="133350" y="40958"/>
                    <a:pt x="119063" y="51435"/>
                    <a:pt x="113348" y="66675"/>
                  </a:cubicBezTo>
                  <a:lnTo>
                    <a:pt x="117157" y="66675"/>
                  </a:lnTo>
                  <a:cubicBezTo>
                    <a:pt x="120968" y="60960"/>
                    <a:pt x="127635" y="55245"/>
                    <a:pt x="133350" y="54292"/>
                  </a:cubicBezTo>
                  <a:lnTo>
                    <a:pt x="110490" y="113347"/>
                  </a:lnTo>
                  <a:cubicBezTo>
                    <a:pt x="108585" y="119063"/>
                    <a:pt x="112395" y="121920"/>
                    <a:pt x="115253" y="121920"/>
                  </a:cubicBezTo>
                  <a:cubicBezTo>
                    <a:pt x="126682" y="121920"/>
                    <a:pt x="140018" y="111442"/>
                    <a:pt x="145733" y="96203"/>
                  </a:cubicBezTo>
                  <a:lnTo>
                    <a:pt x="141923" y="96203"/>
                  </a:lnTo>
                  <a:cubicBezTo>
                    <a:pt x="138113" y="101917"/>
                    <a:pt x="131445" y="107633"/>
                    <a:pt x="125730" y="108585"/>
                  </a:cubicBezTo>
                  <a:lnTo>
                    <a:pt x="149543" y="49530"/>
                  </a:lnTo>
                  <a:close/>
                  <a:moveTo>
                    <a:pt x="153353" y="20003"/>
                  </a:moveTo>
                  <a:cubicBezTo>
                    <a:pt x="159068" y="20003"/>
                    <a:pt x="162878" y="15240"/>
                    <a:pt x="162878" y="10478"/>
                  </a:cubicBezTo>
                  <a:cubicBezTo>
                    <a:pt x="162878" y="4763"/>
                    <a:pt x="158115" y="953"/>
                    <a:pt x="153353" y="953"/>
                  </a:cubicBezTo>
                  <a:cubicBezTo>
                    <a:pt x="147638" y="953"/>
                    <a:pt x="143828" y="5715"/>
                    <a:pt x="143828" y="10478"/>
                  </a:cubicBezTo>
                  <a:cubicBezTo>
                    <a:pt x="143828" y="16192"/>
                    <a:pt x="147638" y="20003"/>
                    <a:pt x="153353" y="20003"/>
                  </a:cubicBezTo>
                  <a:moveTo>
                    <a:pt x="93345" y="10478"/>
                  </a:moveTo>
                  <a:lnTo>
                    <a:pt x="39053" y="10478"/>
                  </a:lnTo>
                  <a:lnTo>
                    <a:pt x="37148" y="15240"/>
                  </a:lnTo>
                  <a:cubicBezTo>
                    <a:pt x="53340" y="18097"/>
                    <a:pt x="54293" y="20003"/>
                    <a:pt x="46673" y="40005"/>
                  </a:cubicBezTo>
                  <a:lnTo>
                    <a:pt x="29528" y="88583"/>
                  </a:lnTo>
                  <a:cubicBezTo>
                    <a:pt x="21908" y="108585"/>
                    <a:pt x="19050" y="110490"/>
                    <a:pt x="953" y="113347"/>
                  </a:cubicBezTo>
                  <a:lnTo>
                    <a:pt x="0" y="118110"/>
                  </a:lnTo>
                  <a:lnTo>
                    <a:pt x="82868" y="118110"/>
                  </a:lnTo>
                  <a:lnTo>
                    <a:pt x="100965" y="86678"/>
                  </a:lnTo>
                  <a:lnTo>
                    <a:pt x="94298" y="86678"/>
                  </a:lnTo>
                  <a:cubicBezTo>
                    <a:pt x="83820" y="98108"/>
                    <a:pt x="72390" y="111442"/>
                    <a:pt x="54293" y="111442"/>
                  </a:cubicBezTo>
                  <a:cubicBezTo>
                    <a:pt x="40957" y="111442"/>
                    <a:pt x="39053" y="109538"/>
                    <a:pt x="46673" y="88583"/>
                  </a:cubicBezTo>
                  <a:lnTo>
                    <a:pt x="63818" y="40005"/>
                  </a:lnTo>
                  <a:cubicBezTo>
                    <a:pt x="71438" y="20003"/>
                    <a:pt x="74295" y="18097"/>
                    <a:pt x="92393" y="15240"/>
                  </a:cubicBezTo>
                  <a:lnTo>
                    <a:pt x="93345" y="1047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EF54B3B4-D50D-4165-967F-4732A1467D7A}"/>
                </a:ext>
              </a:extLst>
            </p:cNvPr>
            <p:cNvSpPr/>
            <p:nvPr/>
          </p:nvSpPr>
          <p:spPr>
            <a:xfrm>
              <a:off x="270509" y="675322"/>
              <a:ext cx="1310640" cy="498157"/>
            </a:xfrm>
            <a:custGeom>
              <a:avLst/>
              <a:gdLst>
                <a:gd name="connsiteX0" fmla="*/ 0 w 1310640"/>
                <a:gd name="connsiteY0" fmla="*/ 196215 h 498157"/>
                <a:gd name="connsiteX1" fmla="*/ 0 w 1310640"/>
                <a:gd name="connsiteY1" fmla="*/ 0 h 498157"/>
                <a:gd name="connsiteX2" fmla="*/ 64770 w 1310640"/>
                <a:gd name="connsiteY2" fmla="*/ 0 h 498157"/>
                <a:gd name="connsiteX3" fmla="*/ 116205 w 1310640"/>
                <a:gd name="connsiteY3" fmla="*/ 16192 h 498157"/>
                <a:gd name="connsiteX4" fmla="*/ 135255 w 1310640"/>
                <a:gd name="connsiteY4" fmla="*/ 59055 h 498157"/>
                <a:gd name="connsiteX5" fmla="*/ 116205 w 1310640"/>
                <a:gd name="connsiteY5" fmla="*/ 101917 h 498157"/>
                <a:gd name="connsiteX6" fmla="*/ 64770 w 1310640"/>
                <a:gd name="connsiteY6" fmla="*/ 118110 h 498157"/>
                <a:gd name="connsiteX7" fmla="*/ 40005 w 1310640"/>
                <a:gd name="connsiteY7" fmla="*/ 118110 h 498157"/>
                <a:gd name="connsiteX8" fmla="*/ 40005 w 1310640"/>
                <a:gd name="connsiteY8" fmla="*/ 197167 h 498157"/>
                <a:gd name="connsiteX9" fmla="*/ 0 w 1310640"/>
                <a:gd name="connsiteY9" fmla="*/ 197167 h 498157"/>
                <a:gd name="connsiteX10" fmla="*/ 65723 w 1310640"/>
                <a:gd name="connsiteY10" fmla="*/ 33338 h 498157"/>
                <a:gd name="connsiteX11" fmla="*/ 39053 w 1310640"/>
                <a:gd name="connsiteY11" fmla="*/ 33338 h 498157"/>
                <a:gd name="connsiteX12" fmla="*/ 39053 w 1310640"/>
                <a:gd name="connsiteY12" fmla="*/ 82867 h 498157"/>
                <a:gd name="connsiteX13" fmla="*/ 65723 w 1310640"/>
                <a:gd name="connsiteY13" fmla="*/ 82867 h 498157"/>
                <a:gd name="connsiteX14" fmla="*/ 85725 w 1310640"/>
                <a:gd name="connsiteY14" fmla="*/ 76200 h 498157"/>
                <a:gd name="connsiteX15" fmla="*/ 93345 w 1310640"/>
                <a:gd name="connsiteY15" fmla="*/ 58102 h 498157"/>
                <a:gd name="connsiteX16" fmla="*/ 85725 w 1310640"/>
                <a:gd name="connsiteY16" fmla="*/ 40005 h 498157"/>
                <a:gd name="connsiteX17" fmla="*/ 65723 w 1310640"/>
                <a:gd name="connsiteY17" fmla="*/ 33338 h 498157"/>
                <a:gd name="connsiteX18" fmla="*/ 166688 w 1310640"/>
                <a:gd name="connsiteY18" fmla="*/ 196215 h 498157"/>
                <a:gd name="connsiteX19" fmla="*/ 166688 w 1310640"/>
                <a:gd name="connsiteY19" fmla="*/ 0 h 498157"/>
                <a:gd name="connsiteX20" fmla="*/ 226695 w 1310640"/>
                <a:gd name="connsiteY20" fmla="*/ 0 h 498157"/>
                <a:gd name="connsiteX21" fmla="*/ 278130 w 1310640"/>
                <a:gd name="connsiteY21" fmla="*/ 16192 h 498157"/>
                <a:gd name="connsiteX22" fmla="*/ 297180 w 1310640"/>
                <a:gd name="connsiteY22" fmla="*/ 59055 h 498157"/>
                <a:gd name="connsiteX23" fmla="*/ 288608 w 1310640"/>
                <a:gd name="connsiteY23" fmla="*/ 89535 h 498157"/>
                <a:gd name="connsiteX24" fmla="*/ 265748 w 1310640"/>
                <a:gd name="connsiteY24" fmla="*/ 109538 h 498157"/>
                <a:gd name="connsiteX25" fmla="*/ 327660 w 1310640"/>
                <a:gd name="connsiteY25" fmla="*/ 196215 h 498157"/>
                <a:gd name="connsiteX26" fmla="*/ 280035 w 1310640"/>
                <a:gd name="connsiteY26" fmla="*/ 196215 h 498157"/>
                <a:gd name="connsiteX27" fmla="*/ 227648 w 1310640"/>
                <a:gd name="connsiteY27" fmla="*/ 117157 h 498157"/>
                <a:gd name="connsiteX28" fmla="*/ 206692 w 1310640"/>
                <a:gd name="connsiteY28" fmla="*/ 117157 h 498157"/>
                <a:gd name="connsiteX29" fmla="*/ 206692 w 1310640"/>
                <a:gd name="connsiteY29" fmla="*/ 196215 h 498157"/>
                <a:gd name="connsiteX30" fmla="*/ 166688 w 1310640"/>
                <a:gd name="connsiteY30" fmla="*/ 196215 h 498157"/>
                <a:gd name="connsiteX31" fmla="*/ 229553 w 1310640"/>
                <a:gd name="connsiteY31" fmla="*/ 33338 h 498157"/>
                <a:gd name="connsiteX32" fmla="*/ 206692 w 1310640"/>
                <a:gd name="connsiteY32" fmla="*/ 33338 h 498157"/>
                <a:gd name="connsiteX33" fmla="*/ 206692 w 1310640"/>
                <a:gd name="connsiteY33" fmla="*/ 82867 h 498157"/>
                <a:gd name="connsiteX34" fmla="*/ 229553 w 1310640"/>
                <a:gd name="connsiteY34" fmla="*/ 82867 h 498157"/>
                <a:gd name="connsiteX35" fmla="*/ 249555 w 1310640"/>
                <a:gd name="connsiteY35" fmla="*/ 76200 h 498157"/>
                <a:gd name="connsiteX36" fmla="*/ 256223 w 1310640"/>
                <a:gd name="connsiteY36" fmla="*/ 58102 h 498157"/>
                <a:gd name="connsiteX37" fmla="*/ 249555 w 1310640"/>
                <a:gd name="connsiteY37" fmla="*/ 40005 h 498157"/>
                <a:gd name="connsiteX38" fmla="*/ 229553 w 1310640"/>
                <a:gd name="connsiteY38" fmla="*/ 33338 h 498157"/>
                <a:gd name="connsiteX39" fmla="*/ 352425 w 1310640"/>
                <a:gd name="connsiteY39" fmla="*/ 196215 h 498157"/>
                <a:gd name="connsiteX40" fmla="*/ 352425 w 1310640"/>
                <a:gd name="connsiteY40" fmla="*/ 0 h 498157"/>
                <a:gd name="connsiteX41" fmla="*/ 466725 w 1310640"/>
                <a:gd name="connsiteY41" fmla="*/ 0 h 498157"/>
                <a:gd name="connsiteX42" fmla="*/ 466725 w 1310640"/>
                <a:gd name="connsiteY42" fmla="*/ 34290 h 498157"/>
                <a:gd name="connsiteX43" fmla="*/ 392430 w 1310640"/>
                <a:gd name="connsiteY43" fmla="*/ 34290 h 498157"/>
                <a:gd name="connsiteX44" fmla="*/ 392430 w 1310640"/>
                <a:gd name="connsiteY44" fmla="*/ 80010 h 498157"/>
                <a:gd name="connsiteX45" fmla="*/ 456248 w 1310640"/>
                <a:gd name="connsiteY45" fmla="*/ 80010 h 498157"/>
                <a:gd name="connsiteX46" fmla="*/ 456248 w 1310640"/>
                <a:gd name="connsiteY46" fmla="*/ 114300 h 498157"/>
                <a:gd name="connsiteX47" fmla="*/ 392430 w 1310640"/>
                <a:gd name="connsiteY47" fmla="*/ 114300 h 498157"/>
                <a:gd name="connsiteX48" fmla="*/ 392430 w 1310640"/>
                <a:gd name="connsiteY48" fmla="*/ 163830 h 498157"/>
                <a:gd name="connsiteX49" fmla="*/ 466725 w 1310640"/>
                <a:gd name="connsiteY49" fmla="*/ 163830 h 498157"/>
                <a:gd name="connsiteX50" fmla="*/ 466725 w 1310640"/>
                <a:gd name="connsiteY50" fmla="*/ 198120 h 498157"/>
                <a:gd name="connsiteX51" fmla="*/ 352425 w 1310640"/>
                <a:gd name="connsiteY51" fmla="*/ 198120 h 498157"/>
                <a:gd name="connsiteX52" fmla="*/ 513398 w 1310640"/>
                <a:gd name="connsiteY52" fmla="*/ 196215 h 498157"/>
                <a:gd name="connsiteX53" fmla="*/ 513398 w 1310640"/>
                <a:gd name="connsiteY53" fmla="*/ 0 h 498157"/>
                <a:gd name="connsiteX54" fmla="*/ 563880 w 1310640"/>
                <a:gd name="connsiteY54" fmla="*/ 0 h 498157"/>
                <a:gd name="connsiteX55" fmla="*/ 611505 w 1310640"/>
                <a:gd name="connsiteY55" fmla="*/ 80963 h 498157"/>
                <a:gd name="connsiteX56" fmla="*/ 659130 w 1310640"/>
                <a:gd name="connsiteY56" fmla="*/ 0 h 498157"/>
                <a:gd name="connsiteX57" fmla="*/ 709613 w 1310640"/>
                <a:gd name="connsiteY57" fmla="*/ 0 h 498157"/>
                <a:gd name="connsiteX58" fmla="*/ 709613 w 1310640"/>
                <a:gd name="connsiteY58" fmla="*/ 197167 h 498157"/>
                <a:gd name="connsiteX59" fmla="*/ 669608 w 1310640"/>
                <a:gd name="connsiteY59" fmla="*/ 197167 h 498157"/>
                <a:gd name="connsiteX60" fmla="*/ 669608 w 1310640"/>
                <a:gd name="connsiteY60" fmla="*/ 56198 h 498157"/>
                <a:gd name="connsiteX61" fmla="*/ 624840 w 1310640"/>
                <a:gd name="connsiteY61" fmla="*/ 128588 h 498157"/>
                <a:gd name="connsiteX62" fmla="*/ 596265 w 1310640"/>
                <a:gd name="connsiteY62" fmla="*/ 128588 h 498157"/>
                <a:gd name="connsiteX63" fmla="*/ 552450 w 1310640"/>
                <a:gd name="connsiteY63" fmla="*/ 56198 h 498157"/>
                <a:gd name="connsiteX64" fmla="*/ 552450 w 1310640"/>
                <a:gd name="connsiteY64" fmla="*/ 196215 h 498157"/>
                <a:gd name="connsiteX65" fmla="*/ 513398 w 1310640"/>
                <a:gd name="connsiteY65" fmla="*/ 196215 h 498157"/>
                <a:gd name="connsiteX66" fmla="*/ 763905 w 1310640"/>
                <a:gd name="connsiteY66" fmla="*/ 196215 h 498157"/>
                <a:gd name="connsiteX67" fmla="*/ 763905 w 1310640"/>
                <a:gd name="connsiteY67" fmla="*/ 0 h 498157"/>
                <a:gd name="connsiteX68" fmla="*/ 803910 w 1310640"/>
                <a:gd name="connsiteY68" fmla="*/ 0 h 498157"/>
                <a:gd name="connsiteX69" fmla="*/ 803910 w 1310640"/>
                <a:gd name="connsiteY69" fmla="*/ 197167 h 498157"/>
                <a:gd name="connsiteX70" fmla="*/ 763905 w 1310640"/>
                <a:gd name="connsiteY70" fmla="*/ 197167 h 498157"/>
                <a:gd name="connsiteX71" fmla="*/ 858203 w 1310640"/>
                <a:gd name="connsiteY71" fmla="*/ 196215 h 498157"/>
                <a:gd name="connsiteX72" fmla="*/ 858203 w 1310640"/>
                <a:gd name="connsiteY72" fmla="*/ 0 h 498157"/>
                <a:gd name="connsiteX73" fmla="*/ 972503 w 1310640"/>
                <a:gd name="connsiteY73" fmla="*/ 0 h 498157"/>
                <a:gd name="connsiteX74" fmla="*/ 972503 w 1310640"/>
                <a:gd name="connsiteY74" fmla="*/ 34290 h 498157"/>
                <a:gd name="connsiteX75" fmla="*/ 898208 w 1310640"/>
                <a:gd name="connsiteY75" fmla="*/ 34290 h 498157"/>
                <a:gd name="connsiteX76" fmla="*/ 898208 w 1310640"/>
                <a:gd name="connsiteY76" fmla="*/ 80010 h 498157"/>
                <a:gd name="connsiteX77" fmla="*/ 962025 w 1310640"/>
                <a:gd name="connsiteY77" fmla="*/ 80010 h 498157"/>
                <a:gd name="connsiteX78" fmla="*/ 962025 w 1310640"/>
                <a:gd name="connsiteY78" fmla="*/ 114300 h 498157"/>
                <a:gd name="connsiteX79" fmla="*/ 898208 w 1310640"/>
                <a:gd name="connsiteY79" fmla="*/ 114300 h 498157"/>
                <a:gd name="connsiteX80" fmla="*/ 898208 w 1310640"/>
                <a:gd name="connsiteY80" fmla="*/ 163830 h 498157"/>
                <a:gd name="connsiteX81" fmla="*/ 972503 w 1310640"/>
                <a:gd name="connsiteY81" fmla="*/ 163830 h 498157"/>
                <a:gd name="connsiteX82" fmla="*/ 972503 w 1310640"/>
                <a:gd name="connsiteY82" fmla="*/ 198120 h 498157"/>
                <a:gd name="connsiteX83" fmla="*/ 858203 w 1310640"/>
                <a:gd name="connsiteY83" fmla="*/ 198120 h 498157"/>
                <a:gd name="connsiteX84" fmla="*/ 1019175 w 1310640"/>
                <a:gd name="connsiteY84" fmla="*/ 196215 h 498157"/>
                <a:gd name="connsiteX85" fmla="*/ 1019175 w 1310640"/>
                <a:gd name="connsiteY85" fmla="*/ 0 h 498157"/>
                <a:gd name="connsiteX86" fmla="*/ 1079183 w 1310640"/>
                <a:gd name="connsiteY86" fmla="*/ 0 h 498157"/>
                <a:gd name="connsiteX87" fmla="*/ 1130618 w 1310640"/>
                <a:gd name="connsiteY87" fmla="*/ 16192 h 498157"/>
                <a:gd name="connsiteX88" fmla="*/ 1149668 w 1310640"/>
                <a:gd name="connsiteY88" fmla="*/ 59055 h 498157"/>
                <a:gd name="connsiteX89" fmla="*/ 1141095 w 1310640"/>
                <a:gd name="connsiteY89" fmla="*/ 89535 h 498157"/>
                <a:gd name="connsiteX90" fmla="*/ 1118235 w 1310640"/>
                <a:gd name="connsiteY90" fmla="*/ 109538 h 498157"/>
                <a:gd name="connsiteX91" fmla="*/ 1180148 w 1310640"/>
                <a:gd name="connsiteY91" fmla="*/ 196215 h 498157"/>
                <a:gd name="connsiteX92" fmla="*/ 1132523 w 1310640"/>
                <a:gd name="connsiteY92" fmla="*/ 196215 h 498157"/>
                <a:gd name="connsiteX93" fmla="*/ 1080135 w 1310640"/>
                <a:gd name="connsiteY93" fmla="*/ 117157 h 498157"/>
                <a:gd name="connsiteX94" fmla="*/ 1059180 w 1310640"/>
                <a:gd name="connsiteY94" fmla="*/ 117157 h 498157"/>
                <a:gd name="connsiteX95" fmla="*/ 1059180 w 1310640"/>
                <a:gd name="connsiteY95" fmla="*/ 196215 h 498157"/>
                <a:gd name="connsiteX96" fmla="*/ 1019175 w 1310640"/>
                <a:gd name="connsiteY96" fmla="*/ 196215 h 498157"/>
                <a:gd name="connsiteX97" fmla="*/ 1082040 w 1310640"/>
                <a:gd name="connsiteY97" fmla="*/ 33338 h 498157"/>
                <a:gd name="connsiteX98" fmla="*/ 1059180 w 1310640"/>
                <a:gd name="connsiteY98" fmla="*/ 33338 h 498157"/>
                <a:gd name="connsiteX99" fmla="*/ 1059180 w 1310640"/>
                <a:gd name="connsiteY99" fmla="*/ 82867 h 498157"/>
                <a:gd name="connsiteX100" fmla="*/ 1082040 w 1310640"/>
                <a:gd name="connsiteY100" fmla="*/ 82867 h 498157"/>
                <a:gd name="connsiteX101" fmla="*/ 1102043 w 1310640"/>
                <a:gd name="connsiteY101" fmla="*/ 76200 h 498157"/>
                <a:gd name="connsiteX102" fmla="*/ 1108710 w 1310640"/>
                <a:gd name="connsiteY102" fmla="*/ 58102 h 498157"/>
                <a:gd name="connsiteX103" fmla="*/ 1102043 w 1310640"/>
                <a:gd name="connsiteY103" fmla="*/ 40005 h 498157"/>
                <a:gd name="connsiteX104" fmla="*/ 1082040 w 1310640"/>
                <a:gd name="connsiteY104" fmla="*/ 33338 h 498157"/>
                <a:gd name="connsiteX105" fmla="*/ 0 w 1310640"/>
                <a:gd name="connsiteY105" fmla="*/ 493395 h 498157"/>
                <a:gd name="connsiteX106" fmla="*/ 0 w 1310640"/>
                <a:gd name="connsiteY106" fmla="*/ 296228 h 498157"/>
                <a:gd name="connsiteX107" fmla="*/ 50483 w 1310640"/>
                <a:gd name="connsiteY107" fmla="*/ 296228 h 498157"/>
                <a:gd name="connsiteX108" fmla="*/ 98108 w 1310640"/>
                <a:gd name="connsiteY108" fmla="*/ 377190 h 498157"/>
                <a:gd name="connsiteX109" fmla="*/ 145733 w 1310640"/>
                <a:gd name="connsiteY109" fmla="*/ 296228 h 498157"/>
                <a:gd name="connsiteX110" fmla="*/ 196215 w 1310640"/>
                <a:gd name="connsiteY110" fmla="*/ 296228 h 498157"/>
                <a:gd name="connsiteX111" fmla="*/ 196215 w 1310640"/>
                <a:gd name="connsiteY111" fmla="*/ 493395 h 498157"/>
                <a:gd name="connsiteX112" fmla="*/ 156210 w 1310640"/>
                <a:gd name="connsiteY112" fmla="*/ 493395 h 498157"/>
                <a:gd name="connsiteX113" fmla="*/ 156210 w 1310640"/>
                <a:gd name="connsiteY113" fmla="*/ 353378 h 498157"/>
                <a:gd name="connsiteX114" fmla="*/ 112395 w 1310640"/>
                <a:gd name="connsiteY114" fmla="*/ 425767 h 498157"/>
                <a:gd name="connsiteX115" fmla="*/ 84773 w 1310640"/>
                <a:gd name="connsiteY115" fmla="*/ 425767 h 498157"/>
                <a:gd name="connsiteX116" fmla="*/ 40958 w 1310640"/>
                <a:gd name="connsiteY116" fmla="*/ 353378 h 498157"/>
                <a:gd name="connsiteX117" fmla="*/ 40958 w 1310640"/>
                <a:gd name="connsiteY117" fmla="*/ 493395 h 498157"/>
                <a:gd name="connsiteX118" fmla="*/ 0 w 1310640"/>
                <a:gd name="connsiteY118" fmla="*/ 493395 h 498157"/>
                <a:gd name="connsiteX119" fmla="*/ 249555 w 1310640"/>
                <a:gd name="connsiteY119" fmla="*/ 493395 h 498157"/>
                <a:gd name="connsiteX120" fmla="*/ 249555 w 1310640"/>
                <a:gd name="connsiteY120" fmla="*/ 296228 h 498157"/>
                <a:gd name="connsiteX121" fmla="*/ 289560 w 1310640"/>
                <a:gd name="connsiteY121" fmla="*/ 296228 h 498157"/>
                <a:gd name="connsiteX122" fmla="*/ 289560 w 1310640"/>
                <a:gd name="connsiteY122" fmla="*/ 493395 h 498157"/>
                <a:gd name="connsiteX123" fmla="*/ 249555 w 1310640"/>
                <a:gd name="connsiteY123" fmla="*/ 493395 h 498157"/>
                <a:gd name="connsiteX124" fmla="*/ 344805 w 1310640"/>
                <a:gd name="connsiteY124" fmla="*/ 493395 h 498157"/>
                <a:gd name="connsiteX125" fmla="*/ 344805 w 1310640"/>
                <a:gd name="connsiteY125" fmla="*/ 296228 h 498157"/>
                <a:gd name="connsiteX126" fmla="*/ 396240 w 1310640"/>
                <a:gd name="connsiteY126" fmla="*/ 296228 h 498157"/>
                <a:gd name="connsiteX127" fmla="*/ 483870 w 1310640"/>
                <a:gd name="connsiteY127" fmla="*/ 437198 h 498157"/>
                <a:gd name="connsiteX128" fmla="*/ 483870 w 1310640"/>
                <a:gd name="connsiteY128" fmla="*/ 296228 h 498157"/>
                <a:gd name="connsiteX129" fmla="*/ 523875 w 1310640"/>
                <a:gd name="connsiteY129" fmla="*/ 296228 h 498157"/>
                <a:gd name="connsiteX130" fmla="*/ 523875 w 1310640"/>
                <a:gd name="connsiteY130" fmla="*/ 493395 h 498157"/>
                <a:gd name="connsiteX131" fmla="*/ 472440 w 1310640"/>
                <a:gd name="connsiteY131" fmla="*/ 493395 h 498157"/>
                <a:gd name="connsiteX132" fmla="*/ 384810 w 1310640"/>
                <a:gd name="connsiteY132" fmla="*/ 352425 h 498157"/>
                <a:gd name="connsiteX133" fmla="*/ 384810 w 1310640"/>
                <a:gd name="connsiteY133" fmla="*/ 493395 h 498157"/>
                <a:gd name="connsiteX134" fmla="*/ 344805 w 1310640"/>
                <a:gd name="connsiteY134" fmla="*/ 493395 h 498157"/>
                <a:gd name="connsiteX135" fmla="*/ 579120 w 1310640"/>
                <a:gd name="connsiteY135" fmla="*/ 493395 h 498157"/>
                <a:gd name="connsiteX136" fmla="*/ 579120 w 1310640"/>
                <a:gd name="connsiteY136" fmla="*/ 296228 h 498157"/>
                <a:gd name="connsiteX137" fmla="*/ 619125 w 1310640"/>
                <a:gd name="connsiteY137" fmla="*/ 296228 h 498157"/>
                <a:gd name="connsiteX138" fmla="*/ 619125 w 1310640"/>
                <a:gd name="connsiteY138" fmla="*/ 493395 h 498157"/>
                <a:gd name="connsiteX139" fmla="*/ 579120 w 1310640"/>
                <a:gd name="connsiteY139" fmla="*/ 493395 h 498157"/>
                <a:gd name="connsiteX140" fmla="*/ 656273 w 1310640"/>
                <a:gd name="connsiteY140" fmla="*/ 466725 h 498157"/>
                <a:gd name="connsiteX141" fmla="*/ 684848 w 1310640"/>
                <a:gd name="connsiteY141" fmla="*/ 440055 h 498157"/>
                <a:gd name="connsiteX142" fmla="*/ 704850 w 1310640"/>
                <a:gd name="connsiteY142" fmla="*/ 458153 h 498157"/>
                <a:gd name="connsiteX143" fmla="*/ 728663 w 1310640"/>
                <a:gd name="connsiteY143" fmla="*/ 464820 h 498157"/>
                <a:gd name="connsiteX144" fmla="*/ 746760 w 1310640"/>
                <a:gd name="connsiteY144" fmla="*/ 459105 h 498157"/>
                <a:gd name="connsiteX145" fmla="*/ 753428 w 1310640"/>
                <a:gd name="connsiteY145" fmla="*/ 441960 h 498157"/>
                <a:gd name="connsiteX146" fmla="*/ 739140 w 1310640"/>
                <a:gd name="connsiteY146" fmla="*/ 421957 h 498157"/>
                <a:gd name="connsiteX147" fmla="*/ 708660 w 1310640"/>
                <a:gd name="connsiteY147" fmla="*/ 406717 h 498157"/>
                <a:gd name="connsiteX148" fmla="*/ 678180 w 1310640"/>
                <a:gd name="connsiteY148" fmla="*/ 385763 h 498157"/>
                <a:gd name="connsiteX149" fmla="*/ 663893 w 1310640"/>
                <a:gd name="connsiteY149" fmla="*/ 348615 h 498157"/>
                <a:gd name="connsiteX150" fmla="*/ 668655 w 1310640"/>
                <a:gd name="connsiteY150" fmla="*/ 326707 h 498157"/>
                <a:gd name="connsiteX151" fmla="*/ 681990 w 1310640"/>
                <a:gd name="connsiteY151" fmla="*/ 308610 h 498157"/>
                <a:gd name="connsiteX152" fmla="*/ 701993 w 1310640"/>
                <a:gd name="connsiteY152" fmla="*/ 296228 h 498157"/>
                <a:gd name="connsiteX153" fmla="*/ 727710 w 1310640"/>
                <a:gd name="connsiteY153" fmla="*/ 291465 h 498157"/>
                <a:gd name="connsiteX154" fmla="*/ 766763 w 1310640"/>
                <a:gd name="connsiteY154" fmla="*/ 300990 h 498157"/>
                <a:gd name="connsiteX155" fmla="*/ 796290 w 1310640"/>
                <a:gd name="connsiteY155" fmla="*/ 324803 h 498157"/>
                <a:gd name="connsiteX156" fmla="*/ 766763 w 1310640"/>
                <a:gd name="connsiteY156" fmla="*/ 350520 h 498157"/>
                <a:gd name="connsiteX157" fmla="*/ 748665 w 1310640"/>
                <a:gd name="connsiteY157" fmla="*/ 332423 h 498157"/>
                <a:gd name="connsiteX158" fmla="*/ 727710 w 1310640"/>
                <a:gd name="connsiteY158" fmla="*/ 325755 h 498157"/>
                <a:gd name="connsiteX159" fmla="*/ 711518 w 1310640"/>
                <a:gd name="connsiteY159" fmla="*/ 331470 h 498157"/>
                <a:gd name="connsiteX160" fmla="*/ 705803 w 1310640"/>
                <a:gd name="connsiteY160" fmla="*/ 345757 h 498157"/>
                <a:gd name="connsiteX161" fmla="*/ 720090 w 1310640"/>
                <a:gd name="connsiteY161" fmla="*/ 365760 h 498157"/>
                <a:gd name="connsiteX162" fmla="*/ 750570 w 1310640"/>
                <a:gd name="connsiteY162" fmla="*/ 381000 h 498157"/>
                <a:gd name="connsiteX163" fmla="*/ 781050 w 1310640"/>
                <a:gd name="connsiteY163" fmla="*/ 401955 h 498157"/>
                <a:gd name="connsiteX164" fmla="*/ 795338 w 1310640"/>
                <a:gd name="connsiteY164" fmla="*/ 440055 h 498157"/>
                <a:gd name="connsiteX165" fmla="*/ 789623 w 1310640"/>
                <a:gd name="connsiteY165" fmla="*/ 464820 h 498157"/>
                <a:gd name="connsiteX166" fmla="*/ 775335 w 1310640"/>
                <a:gd name="connsiteY166" fmla="*/ 482917 h 498157"/>
                <a:gd name="connsiteX167" fmla="*/ 754380 w 1310640"/>
                <a:gd name="connsiteY167" fmla="*/ 494348 h 498157"/>
                <a:gd name="connsiteX168" fmla="*/ 728663 w 1310640"/>
                <a:gd name="connsiteY168" fmla="*/ 498157 h 498157"/>
                <a:gd name="connsiteX169" fmla="*/ 685800 w 1310640"/>
                <a:gd name="connsiteY169" fmla="*/ 489585 h 498157"/>
                <a:gd name="connsiteX170" fmla="*/ 656273 w 1310640"/>
                <a:gd name="connsiteY170" fmla="*/ 466725 h 498157"/>
                <a:gd name="connsiteX171" fmla="*/ 814388 w 1310640"/>
                <a:gd name="connsiteY171" fmla="*/ 333375 h 498157"/>
                <a:gd name="connsiteX172" fmla="*/ 814388 w 1310640"/>
                <a:gd name="connsiteY172" fmla="*/ 297180 h 498157"/>
                <a:gd name="connsiteX173" fmla="*/ 975360 w 1310640"/>
                <a:gd name="connsiteY173" fmla="*/ 297180 h 498157"/>
                <a:gd name="connsiteX174" fmla="*/ 975360 w 1310640"/>
                <a:gd name="connsiteY174" fmla="*/ 333375 h 498157"/>
                <a:gd name="connsiteX175" fmla="*/ 914400 w 1310640"/>
                <a:gd name="connsiteY175" fmla="*/ 333375 h 498157"/>
                <a:gd name="connsiteX176" fmla="*/ 914400 w 1310640"/>
                <a:gd name="connsiteY176" fmla="*/ 493395 h 498157"/>
                <a:gd name="connsiteX177" fmla="*/ 874395 w 1310640"/>
                <a:gd name="connsiteY177" fmla="*/ 493395 h 498157"/>
                <a:gd name="connsiteX178" fmla="*/ 874395 w 1310640"/>
                <a:gd name="connsiteY178" fmla="*/ 333375 h 498157"/>
                <a:gd name="connsiteX179" fmla="*/ 814388 w 1310640"/>
                <a:gd name="connsiteY179" fmla="*/ 333375 h 498157"/>
                <a:gd name="connsiteX180" fmla="*/ 1011555 w 1310640"/>
                <a:gd name="connsiteY180" fmla="*/ 493395 h 498157"/>
                <a:gd name="connsiteX181" fmla="*/ 1011555 w 1310640"/>
                <a:gd name="connsiteY181" fmla="*/ 296228 h 498157"/>
                <a:gd name="connsiteX182" fmla="*/ 1071563 w 1310640"/>
                <a:gd name="connsiteY182" fmla="*/ 296228 h 498157"/>
                <a:gd name="connsiteX183" fmla="*/ 1122998 w 1310640"/>
                <a:gd name="connsiteY183" fmla="*/ 312420 h 498157"/>
                <a:gd name="connsiteX184" fmla="*/ 1142048 w 1310640"/>
                <a:gd name="connsiteY184" fmla="*/ 355282 h 498157"/>
                <a:gd name="connsiteX185" fmla="*/ 1133475 w 1310640"/>
                <a:gd name="connsiteY185" fmla="*/ 385763 h 498157"/>
                <a:gd name="connsiteX186" fmla="*/ 1110615 w 1310640"/>
                <a:gd name="connsiteY186" fmla="*/ 405765 h 498157"/>
                <a:gd name="connsiteX187" fmla="*/ 1172528 w 1310640"/>
                <a:gd name="connsiteY187" fmla="*/ 492442 h 498157"/>
                <a:gd name="connsiteX188" fmla="*/ 1124903 w 1310640"/>
                <a:gd name="connsiteY188" fmla="*/ 492442 h 498157"/>
                <a:gd name="connsiteX189" fmla="*/ 1072515 w 1310640"/>
                <a:gd name="connsiteY189" fmla="*/ 413385 h 498157"/>
                <a:gd name="connsiteX190" fmla="*/ 1051560 w 1310640"/>
                <a:gd name="connsiteY190" fmla="*/ 413385 h 498157"/>
                <a:gd name="connsiteX191" fmla="*/ 1051560 w 1310640"/>
                <a:gd name="connsiteY191" fmla="*/ 492442 h 498157"/>
                <a:gd name="connsiteX192" fmla="*/ 1011555 w 1310640"/>
                <a:gd name="connsiteY192" fmla="*/ 492442 h 498157"/>
                <a:gd name="connsiteX193" fmla="*/ 1073468 w 1310640"/>
                <a:gd name="connsiteY193" fmla="*/ 330517 h 498157"/>
                <a:gd name="connsiteX194" fmla="*/ 1050608 w 1310640"/>
                <a:gd name="connsiteY194" fmla="*/ 330517 h 498157"/>
                <a:gd name="connsiteX195" fmla="*/ 1050608 w 1310640"/>
                <a:gd name="connsiteY195" fmla="*/ 380048 h 498157"/>
                <a:gd name="connsiteX196" fmla="*/ 1073468 w 1310640"/>
                <a:gd name="connsiteY196" fmla="*/ 380048 h 498157"/>
                <a:gd name="connsiteX197" fmla="*/ 1093470 w 1310640"/>
                <a:gd name="connsiteY197" fmla="*/ 373380 h 498157"/>
                <a:gd name="connsiteX198" fmla="*/ 1100138 w 1310640"/>
                <a:gd name="connsiteY198" fmla="*/ 355282 h 498157"/>
                <a:gd name="connsiteX199" fmla="*/ 1093470 w 1310640"/>
                <a:gd name="connsiteY199" fmla="*/ 337185 h 498157"/>
                <a:gd name="connsiteX200" fmla="*/ 1073468 w 1310640"/>
                <a:gd name="connsiteY200" fmla="*/ 330517 h 498157"/>
                <a:gd name="connsiteX201" fmla="*/ 1196340 w 1310640"/>
                <a:gd name="connsiteY201" fmla="*/ 493395 h 498157"/>
                <a:gd name="connsiteX202" fmla="*/ 1196340 w 1310640"/>
                <a:gd name="connsiteY202" fmla="*/ 296228 h 498157"/>
                <a:gd name="connsiteX203" fmla="*/ 1310640 w 1310640"/>
                <a:gd name="connsiteY203" fmla="*/ 296228 h 498157"/>
                <a:gd name="connsiteX204" fmla="*/ 1310640 w 1310640"/>
                <a:gd name="connsiteY204" fmla="*/ 330517 h 498157"/>
                <a:gd name="connsiteX205" fmla="*/ 1236345 w 1310640"/>
                <a:gd name="connsiteY205" fmla="*/ 330517 h 498157"/>
                <a:gd name="connsiteX206" fmla="*/ 1236345 w 1310640"/>
                <a:gd name="connsiteY206" fmla="*/ 376238 h 498157"/>
                <a:gd name="connsiteX207" fmla="*/ 1300163 w 1310640"/>
                <a:gd name="connsiteY207" fmla="*/ 376238 h 498157"/>
                <a:gd name="connsiteX208" fmla="*/ 1300163 w 1310640"/>
                <a:gd name="connsiteY208" fmla="*/ 410528 h 498157"/>
                <a:gd name="connsiteX209" fmla="*/ 1236345 w 1310640"/>
                <a:gd name="connsiteY209" fmla="*/ 410528 h 498157"/>
                <a:gd name="connsiteX210" fmla="*/ 1236345 w 1310640"/>
                <a:gd name="connsiteY210" fmla="*/ 460057 h 498157"/>
                <a:gd name="connsiteX211" fmla="*/ 1310640 w 1310640"/>
                <a:gd name="connsiteY211" fmla="*/ 460057 h 498157"/>
                <a:gd name="connsiteX212" fmla="*/ 1310640 w 1310640"/>
                <a:gd name="connsiteY212" fmla="*/ 494348 h 498157"/>
                <a:gd name="connsiteX213" fmla="*/ 1196340 w 1310640"/>
                <a:gd name="connsiteY213" fmla="*/ 494348 h 49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</a:cxnLst>
              <a:rect l="l" t="t" r="r" b="b"/>
              <a:pathLst>
                <a:path w="1310640" h="498157">
                  <a:moveTo>
                    <a:pt x="0" y="196215"/>
                  </a:moveTo>
                  <a:lnTo>
                    <a:pt x="0" y="0"/>
                  </a:lnTo>
                  <a:lnTo>
                    <a:pt x="64770" y="0"/>
                  </a:lnTo>
                  <a:cubicBezTo>
                    <a:pt x="86678" y="0"/>
                    <a:pt x="102870" y="5715"/>
                    <a:pt x="116205" y="16192"/>
                  </a:cubicBezTo>
                  <a:cubicBezTo>
                    <a:pt x="128588" y="26670"/>
                    <a:pt x="135255" y="40957"/>
                    <a:pt x="135255" y="59055"/>
                  </a:cubicBezTo>
                  <a:cubicBezTo>
                    <a:pt x="135255" y="77152"/>
                    <a:pt x="128588" y="91440"/>
                    <a:pt x="116205" y="101917"/>
                  </a:cubicBezTo>
                  <a:cubicBezTo>
                    <a:pt x="103823" y="112395"/>
                    <a:pt x="86678" y="118110"/>
                    <a:pt x="64770" y="118110"/>
                  </a:cubicBezTo>
                  <a:lnTo>
                    <a:pt x="40005" y="118110"/>
                  </a:lnTo>
                  <a:lnTo>
                    <a:pt x="40005" y="197167"/>
                  </a:lnTo>
                  <a:lnTo>
                    <a:pt x="0" y="197167"/>
                  </a:lnTo>
                  <a:close/>
                  <a:moveTo>
                    <a:pt x="65723" y="33338"/>
                  </a:moveTo>
                  <a:lnTo>
                    <a:pt x="39053" y="33338"/>
                  </a:lnTo>
                  <a:lnTo>
                    <a:pt x="39053" y="82867"/>
                  </a:lnTo>
                  <a:lnTo>
                    <a:pt x="65723" y="82867"/>
                  </a:lnTo>
                  <a:cubicBezTo>
                    <a:pt x="74295" y="82867"/>
                    <a:pt x="80963" y="80963"/>
                    <a:pt x="85725" y="76200"/>
                  </a:cubicBezTo>
                  <a:cubicBezTo>
                    <a:pt x="90488" y="71438"/>
                    <a:pt x="93345" y="65723"/>
                    <a:pt x="93345" y="58102"/>
                  </a:cubicBezTo>
                  <a:cubicBezTo>
                    <a:pt x="93345" y="50482"/>
                    <a:pt x="90488" y="44767"/>
                    <a:pt x="85725" y="40005"/>
                  </a:cubicBezTo>
                  <a:cubicBezTo>
                    <a:pt x="80963" y="36195"/>
                    <a:pt x="74295" y="33338"/>
                    <a:pt x="65723" y="33338"/>
                  </a:cubicBezTo>
                  <a:close/>
                  <a:moveTo>
                    <a:pt x="166688" y="196215"/>
                  </a:moveTo>
                  <a:lnTo>
                    <a:pt x="166688" y="0"/>
                  </a:lnTo>
                  <a:lnTo>
                    <a:pt x="226695" y="0"/>
                  </a:lnTo>
                  <a:cubicBezTo>
                    <a:pt x="248603" y="0"/>
                    <a:pt x="265748" y="5715"/>
                    <a:pt x="278130" y="16192"/>
                  </a:cubicBezTo>
                  <a:cubicBezTo>
                    <a:pt x="290513" y="26670"/>
                    <a:pt x="297180" y="40957"/>
                    <a:pt x="297180" y="59055"/>
                  </a:cubicBezTo>
                  <a:cubicBezTo>
                    <a:pt x="297180" y="70485"/>
                    <a:pt x="294323" y="80963"/>
                    <a:pt x="288608" y="89535"/>
                  </a:cubicBezTo>
                  <a:cubicBezTo>
                    <a:pt x="282893" y="98107"/>
                    <a:pt x="275273" y="104775"/>
                    <a:pt x="265748" y="109538"/>
                  </a:cubicBezTo>
                  <a:lnTo>
                    <a:pt x="327660" y="196215"/>
                  </a:lnTo>
                  <a:lnTo>
                    <a:pt x="280035" y="196215"/>
                  </a:lnTo>
                  <a:lnTo>
                    <a:pt x="227648" y="117157"/>
                  </a:lnTo>
                  <a:lnTo>
                    <a:pt x="206692" y="117157"/>
                  </a:lnTo>
                  <a:lnTo>
                    <a:pt x="206692" y="196215"/>
                  </a:lnTo>
                  <a:lnTo>
                    <a:pt x="166688" y="196215"/>
                  </a:lnTo>
                  <a:close/>
                  <a:moveTo>
                    <a:pt x="229553" y="33338"/>
                  </a:moveTo>
                  <a:lnTo>
                    <a:pt x="206692" y="33338"/>
                  </a:lnTo>
                  <a:lnTo>
                    <a:pt x="206692" y="82867"/>
                  </a:lnTo>
                  <a:lnTo>
                    <a:pt x="229553" y="82867"/>
                  </a:lnTo>
                  <a:cubicBezTo>
                    <a:pt x="238125" y="82867"/>
                    <a:pt x="244792" y="80963"/>
                    <a:pt x="249555" y="76200"/>
                  </a:cubicBezTo>
                  <a:cubicBezTo>
                    <a:pt x="254317" y="71438"/>
                    <a:pt x="256223" y="65723"/>
                    <a:pt x="256223" y="58102"/>
                  </a:cubicBezTo>
                  <a:cubicBezTo>
                    <a:pt x="256223" y="50482"/>
                    <a:pt x="254317" y="44767"/>
                    <a:pt x="249555" y="40005"/>
                  </a:cubicBezTo>
                  <a:cubicBezTo>
                    <a:pt x="244792" y="36195"/>
                    <a:pt x="238125" y="33338"/>
                    <a:pt x="229553" y="33338"/>
                  </a:cubicBezTo>
                  <a:close/>
                  <a:moveTo>
                    <a:pt x="352425" y="196215"/>
                  </a:moveTo>
                  <a:lnTo>
                    <a:pt x="352425" y="0"/>
                  </a:lnTo>
                  <a:lnTo>
                    <a:pt x="466725" y="0"/>
                  </a:lnTo>
                  <a:lnTo>
                    <a:pt x="466725" y="34290"/>
                  </a:lnTo>
                  <a:lnTo>
                    <a:pt x="392430" y="34290"/>
                  </a:lnTo>
                  <a:lnTo>
                    <a:pt x="392430" y="80010"/>
                  </a:lnTo>
                  <a:lnTo>
                    <a:pt x="456248" y="80010"/>
                  </a:lnTo>
                  <a:lnTo>
                    <a:pt x="456248" y="114300"/>
                  </a:lnTo>
                  <a:lnTo>
                    <a:pt x="392430" y="114300"/>
                  </a:lnTo>
                  <a:lnTo>
                    <a:pt x="392430" y="163830"/>
                  </a:lnTo>
                  <a:lnTo>
                    <a:pt x="466725" y="163830"/>
                  </a:lnTo>
                  <a:lnTo>
                    <a:pt x="466725" y="198120"/>
                  </a:lnTo>
                  <a:lnTo>
                    <a:pt x="352425" y="198120"/>
                  </a:lnTo>
                  <a:close/>
                  <a:moveTo>
                    <a:pt x="513398" y="196215"/>
                  </a:moveTo>
                  <a:lnTo>
                    <a:pt x="513398" y="0"/>
                  </a:lnTo>
                  <a:lnTo>
                    <a:pt x="563880" y="0"/>
                  </a:lnTo>
                  <a:lnTo>
                    <a:pt x="611505" y="80963"/>
                  </a:lnTo>
                  <a:lnTo>
                    <a:pt x="659130" y="0"/>
                  </a:lnTo>
                  <a:lnTo>
                    <a:pt x="709613" y="0"/>
                  </a:lnTo>
                  <a:lnTo>
                    <a:pt x="709613" y="197167"/>
                  </a:lnTo>
                  <a:lnTo>
                    <a:pt x="669608" y="197167"/>
                  </a:lnTo>
                  <a:lnTo>
                    <a:pt x="669608" y="56198"/>
                  </a:lnTo>
                  <a:lnTo>
                    <a:pt x="624840" y="128588"/>
                  </a:lnTo>
                  <a:lnTo>
                    <a:pt x="596265" y="128588"/>
                  </a:lnTo>
                  <a:lnTo>
                    <a:pt x="552450" y="56198"/>
                  </a:lnTo>
                  <a:lnTo>
                    <a:pt x="552450" y="196215"/>
                  </a:lnTo>
                  <a:lnTo>
                    <a:pt x="513398" y="196215"/>
                  </a:lnTo>
                  <a:close/>
                  <a:moveTo>
                    <a:pt x="763905" y="196215"/>
                  </a:moveTo>
                  <a:lnTo>
                    <a:pt x="763905" y="0"/>
                  </a:lnTo>
                  <a:lnTo>
                    <a:pt x="803910" y="0"/>
                  </a:lnTo>
                  <a:lnTo>
                    <a:pt x="803910" y="197167"/>
                  </a:lnTo>
                  <a:lnTo>
                    <a:pt x="763905" y="197167"/>
                  </a:lnTo>
                  <a:close/>
                  <a:moveTo>
                    <a:pt x="858203" y="196215"/>
                  </a:moveTo>
                  <a:lnTo>
                    <a:pt x="858203" y="0"/>
                  </a:lnTo>
                  <a:lnTo>
                    <a:pt x="972503" y="0"/>
                  </a:lnTo>
                  <a:lnTo>
                    <a:pt x="972503" y="34290"/>
                  </a:lnTo>
                  <a:lnTo>
                    <a:pt x="898208" y="34290"/>
                  </a:lnTo>
                  <a:lnTo>
                    <a:pt x="898208" y="80010"/>
                  </a:lnTo>
                  <a:lnTo>
                    <a:pt x="962025" y="80010"/>
                  </a:lnTo>
                  <a:lnTo>
                    <a:pt x="962025" y="114300"/>
                  </a:lnTo>
                  <a:lnTo>
                    <a:pt x="898208" y="114300"/>
                  </a:lnTo>
                  <a:lnTo>
                    <a:pt x="898208" y="163830"/>
                  </a:lnTo>
                  <a:lnTo>
                    <a:pt x="972503" y="163830"/>
                  </a:lnTo>
                  <a:lnTo>
                    <a:pt x="972503" y="198120"/>
                  </a:lnTo>
                  <a:lnTo>
                    <a:pt x="858203" y="198120"/>
                  </a:lnTo>
                  <a:close/>
                  <a:moveTo>
                    <a:pt x="1019175" y="196215"/>
                  </a:moveTo>
                  <a:lnTo>
                    <a:pt x="1019175" y="0"/>
                  </a:lnTo>
                  <a:lnTo>
                    <a:pt x="1079183" y="0"/>
                  </a:lnTo>
                  <a:cubicBezTo>
                    <a:pt x="1101090" y="0"/>
                    <a:pt x="1118235" y="5715"/>
                    <a:pt x="1130618" y="16192"/>
                  </a:cubicBezTo>
                  <a:cubicBezTo>
                    <a:pt x="1143000" y="26670"/>
                    <a:pt x="1149668" y="40957"/>
                    <a:pt x="1149668" y="59055"/>
                  </a:cubicBezTo>
                  <a:cubicBezTo>
                    <a:pt x="1149668" y="70485"/>
                    <a:pt x="1146810" y="80963"/>
                    <a:pt x="1141095" y="89535"/>
                  </a:cubicBezTo>
                  <a:cubicBezTo>
                    <a:pt x="1135380" y="98107"/>
                    <a:pt x="1127760" y="104775"/>
                    <a:pt x="1118235" y="109538"/>
                  </a:cubicBezTo>
                  <a:lnTo>
                    <a:pt x="1180148" y="196215"/>
                  </a:lnTo>
                  <a:lnTo>
                    <a:pt x="1132523" y="196215"/>
                  </a:lnTo>
                  <a:lnTo>
                    <a:pt x="1080135" y="117157"/>
                  </a:lnTo>
                  <a:lnTo>
                    <a:pt x="1059180" y="117157"/>
                  </a:lnTo>
                  <a:lnTo>
                    <a:pt x="1059180" y="196215"/>
                  </a:lnTo>
                  <a:lnTo>
                    <a:pt x="1019175" y="196215"/>
                  </a:lnTo>
                  <a:close/>
                  <a:moveTo>
                    <a:pt x="1082040" y="33338"/>
                  </a:moveTo>
                  <a:lnTo>
                    <a:pt x="1059180" y="33338"/>
                  </a:lnTo>
                  <a:lnTo>
                    <a:pt x="1059180" y="82867"/>
                  </a:lnTo>
                  <a:lnTo>
                    <a:pt x="1082040" y="82867"/>
                  </a:lnTo>
                  <a:cubicBezTo>
                    <a:pt x="1090613" y="82867"/>
                    <a:pt x="1097280" y="80963"/>
                    <a:pt x="1102043" y="76200"/>
                  </a:cubicBezTo>
                  <a:cubicBezTo>
                    <a:pt x="1106805" y="71438"/>
                    <a:pt x="1108710" y="65723"/>
                    <a:pt x="1108710" y="58102"/>
                  </a:cubicBezTo>
                  <a:cubicBezTo>
                    <a:pt x="1108710" y="50482"/>
                    <a:pt x="1106805" y="44767"/>
                    <a:pt x="1102043" y="40005"/>
                  </a:cubicBezTo>
                  <a:cubicBezTo>
                    <a:pt x="1097280" y="36195"/>
                    <a:pt x="1090613" y="33338"/>
                    <a:pt x="1082040" y="33338"/>
                  </a:cubicBezTo>
                  <a:close/>
                  <a:moveTo>
                    <a:pt x="0" y="493395"/>
                  </a:moveTo>
                  <a:lnTo>
                    <a:pt x="0" y="296228"/>
                  </a:lnTo>
                  <a:lnTo>
                    <a:pt x="50483" y="296228"/>
                  </a:lnTo>
                  <a:lnTo>
                    <a:pt x="98108" y="377190"/>
                  </a:lnTo>
                  <a:lnTo>
                    <a:pt x="145733" y="296228"/>
                  </a:lnTo>
                  <a:lnTo>
                    <a:pt x="196215" y="296228"/>
                  </a:lnTo>
                  <a:lnTo>
                    <a:pt x="196215" y="493395"/>
                  </a:lnTo>
                  <a:lnTo>
                    <a:pt x="156210" y="493395"/>
                  </a:lnTo>
                  <a:lnTo>
                    <a:pt x="156210" y="353378"/>
                  </a:lnTo>
                  <a:lnTo>
                    <a:pt x="112395" y="425767"/>
                  </a:lnTo>
                  <a:lnTo>
                    <a:pt x="84773" y="425767"/>
                  </a:lnTo>
                  <a:lnTo>
                    <a:pt x="40958" y="353378"/>
                  </a:lnTo>
                  <a:lnTo>
                    <a:pt x="40958" y="493395"/>
                  </a:lnTo>
                  <a:lnTo>
                    <a:pt x="0" y="493395"/>
                  </a:lnTo>
                  <a:close/>
                  <a:moveTo>
                    <a:pt x="249555" y="493395"/>
                  </a:moveTo>
                  <a:lnTo>
                    <a:pt x="249555" y="296228"/>
                  </a:lnTo>
                  <a:lnTo>
                    <a:pt x="289560" y="296228"/>
                  </a:lnTo>
                  <a:lnTo>
                    <a:pt x="289560" y="493395"/>
                  </a:lnTo>
                  <a:lnTo>
                    <a:pt x="249555" y="493395"/>
                  </a:lnTo>
                  <a:close/>
                  <a:moveTo>
                    <a:pt x="344805" y="493395"/>
                  </a:moveTo>
                  <a:lnTo>
                    <a:pt x="344805" y="296228"/>
                  </a:lnTo>
                  <a:lnTo>
                    <a:pt x="396240" y="296228"/>
                  </a:lnTo>
                  <a:lnTo>
                    <a:pt x="483870" y="437198"/>
                  </a:lnTo>
                  <a:lnTo>
                    <a:pt x="483870" y="296228"/>
                  </a:lnTo>
                  <a:lnTo>
                    <a:pt x="523875" y="296228"/>
                  </a:lnTo>
                  <a:lnTo>
                    <a:pt x="523875" y="493395"/>
                  </a:lnTo>
                  <a:lnTo>
                    <a:pt x="472440" y="493395"/>
                  </a:lnTo>
                  <a:lnTo>
                    <a:pt x="384810" y="352425"/>
                  </a:lnTo>
                  <a:lnTo>
                    <a:pt x="384810" y="493395"/>
                  </a:lnTo>
                  <a:lnTo>
                    <a:pt x="344805" y="493395"/>
                  </a:lnTo>
                  <a:close/>
                  <a:moveTo>
                    <a:pt x="579120" y="493395"/>
                  </a:moveTo>
                  <a:lnTo>
                    <a:pt x="579120" y="296228"/>
                  </a:lnTo>
                  <a:lnTo>
                    <a:pt x="619125" y="296228"/>
                  </a:lnTo>
                  <a:lnTo>
                    <a:pt x="619125" y="493395"/>
                  </a:lnTo>
                  <a:lnTo>
                    <a:pt x="579120" y="493395"/>
                  </a:lnTo>
                  <a:close/>
                  <a:moveTo>
                    <a:pt x="656273" y="466725"/>
                  </a:moveTo>
                  <a:lnTo>
                    <a:pt x="684848" y="440055"/>
                  </a:lnTo>
                  <a:cubicBezTo>
                    <a:pt x="690563" y="447675"/>
                    <a:pt x="697230" y="453390"/>
                    <a:pt x="704850" y="458153"/>
                  </a:cubicBezTo>
                  <a:cubicBezTo>
                    <a:pt x="712470" y="462915"/>
                    <a:pt x="720090" y="464820"/>
                    <a:pt x="728663" y="464820"/>
                  </a:cubicBezTo>
                  <a:cubicBezTo>
                    <a:pt x="736283" y="464820"/>
                    <a:pt x="742950" y="462915"/>
                    <a:pt x="746760" y="459105"/>
                  </a:cubicBezTo>
                  <a:cubicBezTo>
                    <a:pt x="751523" y="455295"/>
                    <a:pt x="753428" y="449580"/>
                    <a:pt x="753428" y="441960"/>
                  </a:cubicBezTo>
                  <a:cubicBezTo>
                    <a:pt x="753428" y="433388"/>
                    <a:pt x="748665" y="426720"/>
                    <a:pt x="739140" y="421957"/>
                  </a:cubicBezTo>
                  <a:cubicBezTo>
                    <a:pt x="729615" y="417195"/>
                    <a:pt x="719138" y="412432"/>
                    <a:pt x="708660" y="406717"/>
                  </a:cubicBezTo>
                  <a:cubicBezTo>
                    <a:pt x="697230" y="401003"/>
                    <a:pt x="686753" y="394335"/>
                    <a:pt x="678180" y="385763"/>
                  </a:cubicBezTo>
                  <a:cubicBezTo>
                    <a:pt x="669608" y="377190"/>
                    <a:pt x="663893" y="364807"/>
                    <a:pt x="663893" y="348615"/>
                  </a:cubicBezTo>
                  <a:cubicBezTo>
                    <a:pt x="663893" y="340995"/>
                    <a:pt x="665798" y="333375"/>
                    <a:pt x="668655" y="326707"/>
                  </a:cubicBezTo>
                  <a:cubicBezTo>
                    <a:pt x="671513" y="320040"/>
                    <a:pt x="676275" y="313373"/>
                    <a:pt x="681990" y="308610"/>
                  </a:cubicBezTo>
                  <a:cubicBezTo>
                    <a:pt x="687705" y="303848"/>
                    <a:pt x="694373" y="299085"/>
                    <a:pt x="701993" y="296228"/>
                  </a:cubicBezTo>
                  <a:cubicBezTo>
                    <a:pt x="709613" y="293370"/>
                    <a:pt x="718185" y="291465"/>
                    <a:pt x="727710" y="291465"/>
                  </a:cubicBezTo>
                  <a:cubicBezTo>
                    <a:pt x="741998" y="291465"/>
                    <a:pt x="755333" y="294323"/>
                    <a:pt x="766763" y="300990"/>
                  </a:cubicBezTo>
                  <a:cubicBezTo>
                    <a:pt x="778193" y="306705"/>
                    <a:pt x="787718" y="315278"/>
                    <a:pt x="796290" y="324803"/>
                  </a:cubicBezTo>
                  <a:lnTo>
                    <a:pt x="766763" y="350520"/>
                  </a:lnTo>
                  <a:cubicBezTo>
                    <a:pt x="761048" y="342900"/>
                    <a:pt x="754380" y="337185"/>
                    <a:pt x="748665" y="332423"/>
                  </a:cubicBezTo>
                  <a:cubicBezTo>
                    <a:pt x="741998" y="327660"/>
                    <a:pt x="735330" y="325755"/>
                    <a:pt x="727710" y="325755"/>
                  </a:cubicBezTo>
                  <a:cubicBezTo>
                    <a:pt x="721043" y="325755"/>
                    <a:pt x="715328" y="327660"/>
                    <a:pt x="711518" y="331470"/>
                  </a:cubicBezTo>
                  <a:cubicBezTo>
                    <a:pt x="707708" y="335280"/>
                    <a:pt x="705803" y="340042"/>
                    <a:pt x="705803" y="345757"/>
                  </a:cubicBezTo>
                  <a:cubicBezTo>
                    <a:pt x="705803" y="354330"/>
                    <a:pt x="710565" y="360998"/>
                    <a:pt x="720090" y="365760"/>
                  </a:cubicBezTo>
                  <a:cubicBezTo>
                    <a:pt x="729615" y="370523"/>
                    <a:pt x="740093" y="375285"/>
                    <a:pt x="750570" y="381000"/>
                  </a:cubicBezTo>
                  <a:cubicBezTo>
                    <a:pt x="762000" y="386715"/>
                    <a:pt x="772478" y="393382"/>
                    <a:pt x="781050" y="401955"/>
                  </a:cubicBezTo>
                  <a:cubicBezTo>
                    <a:pt x="790575" y="410528"/>
                    <a:pt x="795338" y="422910"/>
                    <a:pt x="795338" y="440055"/>
                  </a:cubicBezTo>
                  <a:cubicBezTo>
                    <a:pt x="795338" y="449580"/>
                    <a:pt x="793433" y="457200"/>
                    <a:pt x="789623" y="464820"/>
                  </a:cubicBezTo>
                  <a:cubicBezTo>
                    <a:pt x="785813" y="472440"/>
                    <a:pt x="781050" y="478155"/>
                    <a:pt x="775335" y="482917"/>
                  </a:cubicBezTo>
                  <a:cubicBezTo>
                    <a:pt x="769620" y="487680"/>
                    <a:pt x="762953" y="491490"/>
                    <a:pt x="754380" y="494348"/>
                  </a:cubicBezTo>
                  <a:cubicBezTo>
                    <a:pt x="746760" y="497205"/>
                    <a:pt x="738188" y="498157"/>
                    <a:pt x="728663" y="498157"/>
                  </a:cubicBezTo>
                  <a:cubicBezTo>
                    <a:pt x="712470" y="498157"/>
                    <a:pt x="698183" y="495300"/>
                    <a:pt x="685800" y="489585"/>
                  </a:cubicBezTo>
                  <a:cubicBezTo>
                    <a:pt x="675323" y="484823"/>
                    <a:pt x="664845" y="476250"/>
                    <a:pt x="656273" y="466725"/>
                  </a:cubicBezTo>
                  <a:close/>
                  <a:moveTo>
                    <a:pt x="814388" y="333375"/>
                  </a:moveTo>
                  <a:lnTo>
                    <a:pt x="814388" y="297180"/>
                  </a:lnTo>
                  <a:lnTo>
                    <a:pt x="975360" y="297180"/>
                  </a:lnTo>
                  <a:lnTo>
                    <a:pt x="975360" y="333375"/>
                  </a:lnTo>
                  <a:lnTo>
                    <a:pt x="914400" y="333375"/>
                  </a:lnTo>
                  <a:lnTo>
                    <a:pt x="914400" y="493395"/>
                  </a:lnTo>
                  <a:lnTo>
                    <a:pt x="874395" y="493395"/>
                  </a:lnTo>
                  <a:lnTo>
                    <a:pt x="874395" y="333375"/>
                  </a:lnTo>
                  <a:lnTo>
                    <a:pt x="814388" y="333375"/>
                  </a:lnTo>
                  <a:close/>
                  <a:moveTo>
                    <a:pt x="1011555" y="493395"/>
                  </a:moveTo>
                  <a:lnTo>
                    <a:pt x="1011555" y="296228"/>
                  </a:lnTo>
                  <a:lnTo>
                    <a:pt x="1071563" y="296228"/>
                  </a:lnTo>
                  <a:cubicBezTo>
                    <a:pt x="1093470" y="296228"/>
                    <a:pt x="1110615" y="301942"/>
                    <a:pt x="1122998" y="312420"/>
                  </a:cubicBezTo>
                  <a:cubicBezTo>
                    <a:pt x="1135380" y="322898"/>
                    <a:pt x="1142048" y="337185"/>
                    <a:pt x="1142048" y="355282"/>
                  </a:cubicBezTo>
                  <a:cubicBezTo>
                    <a:pt x="1142048" y="366713"/>
                    <a:pt x="1139190" y="377190"/>
                    <a:pt x="1133475" y="385763"/>
                  </a:cubicBezTo>
                  <a:cubicBezTo>
                    <a:pt x="1127760" y="394335"/>
                    <a:pt x="1120140" y="401003"/>
                    <a:pt x="1110615" y="405765"/>
                  </a:cubicBezTo>
                  <a:lnTo>
                    <a:pt x="1172528" y="492442"/>
                  </a:lnTo>
                  <a:lnTo>
                    <a:pt x="1124903" y="492442"/>
                  </a:lnTo>
                  <a:lnTo>
                    <a:pt x="1072515" y="413385"/>
                  </a:lnTo>
                  <a:lnTo>
                    <a:pt x="1051560" y="413385"/>
                  </a:lnTo>
                  <a:lnTo>
                    <a:pt x="1051560" y="492442"/>
                  </a:lnTo>
                  <a:lnTo>
                    <a:pt x="1011555" y="492442"/>
                  </a:lnTo>
                  <a:close/>
                  <a:moveTo>
                    <a:pt x="1073468" y="330517"/>
                  </a:moveTo>
                  <a:lnTo>
                    <a:pt x="1050608" y="330517"/>
                  </a:lnTo>
                  <a:lnTo>
                    <a:pt x="1050608" y="380048"/>
                  </a:lnTo>
                  <a:lnTo>
                    <a:pt x="1073468" y="380048"/>
                  </a:lnTo>
                  <a:cubicBezTo>
                    <a:pt x="1082040" y="380048"/>
                    <a:pt x="1088708" y="378142"/>
                    <a:pt x="1093470" y="373380"/>
                  </a:cubicBezTo>
                  <a:cubicBezTo>
                    <a:pt x="1098233" y="368617"/>
                    <a:pt x="1100138" y="362903"/>
                    <a:pt x="1100138" y="355282"/>
                  </a:cubicBezTo>
                  <a:cubicBezTo>
                    <a:pt x="1100138" y="347663"/>
                    <a:pt x="1098233" y="341948"/>
                    <a:pt x="1093470" y="337185"/>
                  </a:cubicBezTo>
                  <a:cubicBezTo>
                    <a:pt x="1088708" y="333375"/>
                    <a:pt x="1082040" y="330517"/>
                    <a:pt x="1073468" y="330517"/>
                  </a:cubicBezTo>
                  <a:close/>
                  <a:moveTo>
                    <a:pt x="1196340" y="493395"/>
                  </a:moveTo>
                  <a:lnTo>
                    <a:pt x="1196340" y="296228"/>
                  </a:lnTo>
                  <a:lnTo>
                    <a:pt x="1310640" y="296228"/>
                  </a:lnTo>
                  <a:lnTo>
                    <a:pt x="1310640" y="330517"/>
                  </a:lnTo>
                  <a:lnTo>
                    <a:pt x="1236345" y="330517"/>
                  </a:lnTo>
                  <a:lnTo>
                    <a:pt x="1236345" y="376238"/>
                  </a:lnTo>
                  <a:lnTo>
                    <a:pt x="1300163" y="376238"/>
                  </a:lnTo>
                  <a:lnTo>
                    <a:pt x="1300163" y="410528"/>
                  </a:lnTo>
                  <a:lnTo>
                    <a:pt x="1236345" y="410528"/>
                  </a:lnTo>
                  <a:lnTo>
                    <a:pt x="1236345" y="460057"/>
                  </a:lnTo>
                  <a:lnTo>
                    <a:pt x="1310640" y="460057"/>
                  </a:lnTo>
                  <a:lnTo>
                    <a:pt x="1310640" y="494348"/>
                  </a:lnTo>
                  <a:lnTo>
                    <a:pt x="1196340" y="49434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grpSp>
          <p:nvGrpSpPr>
            <p:cNvPr id="14" name="Graphique 2">
              <a:extLst>
                <a:ext uri="{FF2B5EF4-FFF2-40B4-BE49-F238E27FC236}">
                  <a16:creationId xmlns:a16="http://schemas.microsoft.com/office/drawing/2014/main" id="{4D4D293E-56FA-4F1F-9288-840887C23D75}"/>
                </a:ext>
              </a:extLst>
            </p:cNvPr>
            <p:cNvGrpSpPr/>
            <p:nvPr/>
          </p:nvGrpSpPr>
          <p:grpSpPr>
            <a:xfrm>
              <a:off x="270509" y="269557"/>
              <a:ext cx="744854" cy="270510"/>
              <a:chOff x="270509" y="269557"/>
              <a:chExt cx="744854" cy="270510"/>
            </a:xfrm>
          </p:grpSpPr>
          <p:sp>
            <p:nvSpPr>
              <p:cNvPr id="15" name="Forme libre : forme 14">
                <a:extLst>
                  <a:ext uri="{FF2B5EF4-FFF2-40B4-BE49-F238E27FC236}">
                    <a16:creationId xmlns:a16="http://schemas.microsoft.com/office/drawing/2014/main" id="{483E0F0C-A8F0-4FF9-9961-5AADCDD869C5}"/>
                  </a:ext>
                </a:extLst>
              </p:cNvPr>
              <p:cNvSpPr/>
              <p:nvPr/>
            </p:nvSpPr>
            <p:spPr>
              <a:xfrm>
                <a:off x="419100" y="270509"/>
                <a:ext cx="359871" cy="268604"/>
              </a:xfrm>
              <a:custGeom>
                <a:avLst/>
                <a:gdLst>
                  <a:gd name="connsiteX0" fmla="*/ 158115 w 359871"/>
                  <a:gd name="connsiteY0" fmla="*/ 237173 h 268604"/>
                  <a:gd name="connsiteX1" fmla="*/ 166688 w 359871"/>
                  <a:gd name="connsiteY1" fmla="*/ 227648 h 268604"/>
                  <a:gd name="connsiteX2" fmla="*/ 166688 w 359871"/>
                  <a:gd name="connsiteY2" fmla="*/ 227648 h 268604"/>
                  <a:gd name="connsiteX3" fmla="*/ 183833 w 359871"/>
                  <a:gd name="connsiteY3" fmla="*/ 210503 h 268604"/>
                  <a:gd name="connsiteX4" fmla="*/ 189548 w 359871"/>
                  <a:gd name="connsiteY4" fmla="*/ 205740 h 268604"/>
                  <a:gd name="connsiteX5" fmla="*/ 190500 w 359871"/>
                  <a:gd name="connsiteY5" fmla="*/ 203835 h 268604"/>
                  <a:gd name="connsiteX6" fmla="*/ 183833 w 359871"/>
                  <a:gd name="connsiteY6" fmla="*/ 207645 h 268604"/>
                  <a:gd name="connsiteX7" fmla="*/ 182880 w 359871"/>
                  <a:gd name="connsiteY7" fmla="*/ 206692 h 268604"/>
                  <a:gd name="connsiteX8" fmla="*/ 188595 w 359871"/>
                  <a:gd name="connsiteY8" fmla="*/ 202883 h 268604"/>
                  <a:gd name="connsiteX9" fmla="*/ 188595 w 359871"/>
                  <a:gd name="connsiteY9" fmla="*/ 202883 h 268604"/>
                  <a:gd name="connsiteX10" fmla="*/ 187643 w 359871"/>
                  <a:gd name="connsiteY10" fmla="*/ 201930 h 268604"/>
                  <a:gd name="connsiteX11" fmla="*/ 171450 w 359871"/>
                  <a:gd name="connsiteY11" fmla="*/ 210503 h 268604"/>
                  <a:gd name="connsiteX12" fmla="*/ 168593 w 359871"/>
                  <a:gd name="connsiteY12" fmla="*/ 209550 h 268604"/>
                  <a:gd name="connsiteX13" fmla="*/ 147638 w 359871"/>
                  <a:gd name="connsiteY13" fmla="*/ 221933 h 268604"/>
                  <a:gd name="connsiteX14" fmla="*/ 147638 w 359871"/>
                  <a:gd name="connsiteY14" fmla="*/ 220980 h 268604"/>
                  <a:gd name="connsiteX15" fmla="*/ 138113 w 359871"/>
                  <a:gd name="connsiteY15" fmla="*/ 224790 h 268604"/>
                  <a:gd name="connsiteX16" fmla="*/ 125730 w 359871"/>
                  <a:gd name="connsiteY16" fmla="*/ 225742 h 268604"/>
                  <a:gd name="connsiteX17" fmla="*/ 107632 w 359871"/>
                  <a:gd name="connsiteY17" fmla="*/ 228600 h 268604"/>
                  <a:gd name="connsiteX18" fmla="*/ 106680 w 359871"/>
                  <a:gd name="connsiteY18" fmla="*/ 228600 h 268604"/>
                  <a:gd name="connsiteX19" fmla="*/ 97155 w 359871"/>
                  <a:gd name="connsiteY19" fmla="*/ 232410 h 268604"/>
                  <a:gd name="connsiteX20" fmla="*/ 97155 w 359871"/>
                  <a:gd name="connsiteY20" fmla="*/ 232410 h 268604"/>
                  <a:gd name="connsiteX21" fmla="*/ 96202 w 359871"/>
                  <a:gd name="connsiteY21" fmla="*/ 233363 h 268604"/>
                  <a:gd name="connsiteX22" fmla="*/ 92393 w 359871"/>
                  <a:gd name="connsiteY22" fmla="*/ 236220 h 268604"/>
                  <a:gd name="connsiteX23" fmla="*/ 83820 w 359871"/>
                  <a:gd name="connsiteY23" fmla="*/ 242888 h 268604"/>
                  <a:gd name="connsiteX24" fmla="*/ 82868 w 359871"/>
                  <a:gd name="connsiteY24" fmla="*/ 242888 h 268604"/>
                  <a:gd name="connsiteX25" fmla="*/ 74295 w 359871"/>
                  <a:gd name="connsiteY25" fmla="*/ 250508 h 268604"/>
                  <a:gd name="connsiteX26" fmla="*/ 72390 w 359871"/>
                  <a:gd name="connsiteY26" fmla="*/ 250508 h 268604"/>
                  <a:gd name="connsiteX27" fmla="*/ 72390 w 359871"/>
                  <a:gd name="connsiteY27" fmla="*/ 250508 h 268604"/>
                  <a:gd name="connsiteX28" fmla="*/ 72390 w 359871"/>
                  <a:gd name="connsiteY28" fmla="*/ 249555 h 268604"/>
                  <a:gd name="connsiteX29" fmla="*/ 73343 w 359871"/>
                  <a:gd name="connsiteY29" fmla="*/ 247650 h 268604"/>
                  <a:gd name="connsiteX30" fmla="*/ 75248 w 359871"/>
                  <a:gd name="connsiteY30" fmla="*/ 245745 h 268604"/>
                  <a:gd name="connsiteX31" fmla="*/ 77152 w 359871"/>
                  <a:gd name="connsiteY31" fmla="*/ 242888 h 268604"/>
                  <a:gd name="connsiteX32" fmla="*/ 77152 w 359871"/>
                  <a:gd name="connsiteY32" fmla="*/ 241935 h 268604"/>
                  <a:gd name="connsiteX33" fmla="*/ 76200 w 359871"/>
                  <a:gd name="connsiteY33" fmla="*/ 241935 h 268604"/>
                  <a:gd name="connsiteX34" fmla="*/ 84773 w 359871"/>
                  <a:gd name="connsiteY34" fmla="*/ 235267 h 268604"/>
                  <a:gd name="connsiteX35" fmla="*/ 84773 w 359871"/>
                  <a:gd name="connsiteY35" fmla="*/ 235267 h 268604"/>
                  <a:gd name="connsiteX36" fmla="*/ 83820 w 359871"/>
                  <a:gd name="connsiteY36" fmla="*/ 234315 h 268604"/>
                  <a:gd name="connsiteX37" fmla="*/ 84773 w 359871"/>
                  <a:gd name="connsiteY37" fmla="*/ 233363 h 268604"/>
                  <a:gd name="connsiteX38" fmla="*/ 84773 w 359871"/>
                  <a:gd name="connsiteY38" fmla="*/ 233363 h 268604"/>
                  <a:gd name="connsiteX39" fmla="*/ 84773 w 359871"/>
                  <a:gd name="connsiteY39" fmla="*/ 233363 h 268604"/>
                  <a:gd name="connsiteX40" fmla="*/ 84773 w 359871"/>
                  <a:gd name="connsiteY40" fmla="*/ 234315 h 268604"/>
                  <a:gd name="connsiteX41" fmla="*/ 80963 w 359871"/>
                  <a:gd name="connsiteY41" fmla="*/ 237173 h 268604"/>
                  <a:gd name="connsiteX42" fmla="*/ 80010 w 359871"/>
                  <a:gd name="connsiteY42" fmla="*/ 237173 h 268604"/>
                  <a:gd name="connsiteX43" fmla="*/ 79057 w 359871"/>
                  <a:gd name="connsiteY43" fmla="*/ 237173 h 268604"/>
                  <a:gd name="connsiteX44" fmla="*/ 79057 w 359871"/>
                  <a:gd name="connsiteY44" fmla="*/ 237173 h 268604"/>
                  <a:gd name="connsiteX45" fmla="*/ 79057 w 359871"/>
                  <a:gd name="connsiteY45" fmla="*/ 237173 h 268604"/>
                  <a:gd name="connsiteX46" fmla="*/ 79057 w 359871"/>
                  <a:gd name="connsiteY46" fmla="*/ 237173 h 268604"/>
                  <a:gd name="connsiteX47" fmla="*/ 79057 w 359871"/>
                  <a:gd name="connsiteY47" fmla="*/ 237173 h 268604"/>
                  <a:gd name="connsiteX48" fmla="*/ 79057 w 359871"/>
                  <a:gd name="connsiteY48" fmla="*/ 237173 h 268604"/>
                  <a:gd name="connsiteX49" fmla="*/ 79057 w 359871"/>
                  <a:gd name="connsiteY49" fmla="*/ 237173 h 268604"/>
                  <a:gd name="connsiteX50" fmla="*/ 79057 w 359871"/>
                  <a:gd name="connsiteY50" fmla="*/ 236220 h 268604"/>
                  <a:gd name="connsiteX51" fmla="*/ 79057 w 359871"/>
                  <a:gd name="connsiteY51" fmla="*/ 236220 h 268604"/>
                  <a:gd name="connsiteX52" fmla="*/ 80010 w 359871"/>
                  <a:gd name="connsiteY52" fmla="*/ 235267 h 268604"/>
                  <a:gd name="connsiteX53" fmla="*/ 80010 w 359871"/>
                  <a:gd name="connsiteY53" fmla="*/ 234315 h 268604"/>
                  <a:gd name="connsiteX54" fmla="*/ 80963 w 359871"/>
                  <a:gd name="connsiteY54" fmla="*/ 233363 h 268604"/>
                  <a:gd name="connsiteX55" fmla="*/ 80963 w 359871"/>
                  <a:gd name="connsiteY55" fmla="*/ 232410 h 268604"/>
                  <a:gd name="connsiteX56" fmla="*/ 84773 w 359871"/>
                  <a:gd name="connsiteY56" fmla="*/ 229553 h 268604"/>
                  <a:gd name="connsiteX57" fmla="*/ 84773 w 359871"/>
                  <a:gd name="connsiteY57" fmla="*/ 229553 h 268604"/>
                  <a:gd name="connsiteX58" fmla="*/ 90488 w 359871"/>
                  <a:gd name="connsiteY58" fmla="*/ 226695 h 268604"/>
                  <a:gd name="connsiteX59" fmla="*/ 91440 w 359871"/>
                  <a:gd name="connsiteY59" fmla="*/ 225742 h 268604"/>
                  <a:gd name="connsiteX60" fmla="*/ 82868 w 359871"/>
                  <a:gd name="connsiteY60" fmla="*/ 229553 h 268604"/>
                  <a:gd name="connsiteX61" fmla="*/ 81915 w 359871"/>
                  <a:gd name="connsiteY61" fmla="*/ 229553 h 268604"/>
                  <a:gd name="connsiteX62" fmla="*/ 80963 w 359871"/>
                  <a:gd name="connsiteY62" fmla="*/ 229553 h 268604"/>
                  <a:gd name="connsiteX63" fmla="*/ 80963 w 359871"/>
                  <a:gd name="connsiteY63" fmla="*/ 229553 h 268604"/>
                  <a:gd name="connsiteX64" fmla="*/ 83820 w 359871"/>
                  <a:gd name="connsiteY64" fmla="*/ 226695 h 268604"/>
                  <a:gd name="connsiteX65" fmla="*/ 84773 w 359871"/>
                  <a:gd name="connsiteY65" fmla="*/ 227648 h 268604"/>
                  <a:gd name="connsiteX66" fmla="*/ 142875 w 359871"/>
                  <a:gd name="connsiteY66" fmla="*/ 211455 h 268604"/>
                  <a:gd name="connsiteX67" fmla="*/ 147638 w 359871"/>
                  <a:gd name="connsiteY67" fmla="*/ 208598 h 268604"/>
                  <a:gd name="connsiteX68" fmla="*/ 155258 w 359871"/>
                  <a:gd name="connsiteY68" fmla="*/ 203835 h 268604"/>
                  <a:gd name="connsiteX69" fmla="*/ 163830 w 359871"/>
                  <a:gd name="connsiteY69" fmla="*/ 192405 h 268604"/>
                  <a:gd name="connsiteX70" fmla="*/ 162877 w 359871"/>
                  <a:gd name="connsiteY70" fmla="*/ 191453 h 268604"/>
                  <a:gd name="connsiteX71" fmla="*/ 140018 w 359871"/>
                  <a:gd name="connsiteY71" fmla="*/ 208598 h 268604"/>
                  <a:gd name="connsiteX72" fmla="*/ 106680 w 359871"/>
                  <a:gd name="connsiteY72" fmla="*/ 214313 h 268604"/>
                  <a:gd name="connsiteX73" fmla="*/ 109538 w 359871"/>
                  <a:gd name="connsiteY73" fmla="*/ 213360 h 268604"/>
                  <a:gd name="connsiteX74" fmla="*/ 111443 w 359871"/>
                  <a:gd name="connsiteY74" fmla="*/ 210503 h 268604"/>
                  <a:gd name="connsiteX75" fmla="*/ 113348 w 359871"/>
                  <a:gd name="connsiteY75" fmla="*/ 210503 h 268604"/>
                  <a:gd name="connsiteX76" fmla="*/ 114300 w 359871"/>
                  <a:gd name="connsiteY76" fmla="*/ 209550 h 268604"/>
                  <a:gd name="connsiteX77" fmla="*/ 116205 w 359871"/>
                  <a:gd name="connsiteY77" fmla="*/ 208598 h 268604"/>
                  <a:gd name="connsiteX78" fmla="*/ 108585 w 359871"/>
                  <a:gd name="connsiteY78" fmla="*/ 208598 h 268604"/>
                  <a:gd name="connsiteX79" fmla="*/ 110490 w 359871"/>
                  <a:gd name="connsiteY79" fmla="*/ 205740 h 268604"/>
                  <a:gd name="connsiteX80" fmla="*/ 112395 w 359871"/>
                  <a:gd name="connsiteY80" fmla="*/ 205740 h 268604"/>
                  <a:gd name="connsiteX81" fmla="*/ 113348 w 359871"/>
                  <a:gd name="connsiteY81" fmla="*/ 203835 h 268604"/>
                  <a:gd name="connsiteX82" fmla="*/ 135255 w 359871"/>
                  <a:gd name="connsiteY82" fmla="*/ 191453 h 268604"/>
                  <a:gd name="connsiteX83" fmla="*/ 131445 w 359871"/>
                  <a:gd name="connsiteY83" fmla="*/ 192405 h 268604"/>
                  <a:gd name="connsiteX84" fmla="*/ 132398 w 359871"/>
                  <a:gd name="connsiteY84" fmla="*/ 190500 h 268604"/>
                  <a:gd name="connsiteX85" fmla="*/ 148590 w 359871"/>
                  <a:gd name="connsiteY85" fmla="*/ 183833 h 268604"/>
                  <a:gd name="connsiteX86" fmla="*/ 142875 w 359871"/>
                  <a:gd name="connsiteY86" fmla="*/ 183833 h 268604"/>
                  <a:gd name="connsiteX87" fmla="*/ 145733 w 359871"/>
                  <a:gd name="connsiteY87" fmla="*/ 181928 h 268604"/>
                  <a:gd name="connsiteX88" fmla="*/ 145733 w 359871"/>
                  <a:gd name="connsiteY88" fmla="*/ 180023 h 268604"/>
                  <a:gd name="connsiteX89" fmla="*/ 146685 w 359871"/>
                  <a:gd name="connsiteY89" fmla="*/ 179070 h 268604"/>
                  <a:gd name="connsiteX90" fmla="*/ 145733 w 359871"/>
                  <a:gd name="connsiteY90" fmla="*/ 178117 h 268604"/>
                  <a:gd name="connsiteX91" fmla="*/ 148590 w 359871"/>
                  <a:gd name="connsiteY91" fmla="*/ 176213 h 268604"/>
                  <a:gd name="connsiteX92" fmla="*/ 146685 w 359871"/>
                  <a:gd name="connsiteY92" fmla="*/ 175260 h 268604"/>
                  <a:gd name="connsiteX93" fmla="*/ 153352 w 359871"/>
                  <a:gd name="connsiteY93" fmla="*/ 172403 h 268604"/>
                  <a:gd name="connsiteX94" fmla="*/ 151448 w 359871"/>
                  <a:gd name="connsiteY94" fmla="*/ 171450 h 268604"/>
                  <a:gd name="connsiteX95" fmla="*/ 152400 w 359871"/>
                  <a:gd name="connsiteY95" fmla="*/ 170498 h 268604"/>
                  <a:gd name="connsiteX96" fmla="*/ 152400 w 359871"/>
                  <a:gd name="connsiteY96" fmla="*/ 170498 h 268604"/>
                  <a:gd name="connsiteX97" fmla="*/ 151448 w 359871"/>
                  <a:gd name="connsiteY97" fmla="*/ 168592 h 268604"/>
                  <a:gd name="connsiteX98" fmla="*/ 156210 w 359871"/>
                  <a:gd name="connsiteY98" fmla="*/ 156210 h 268604"/>
                  <a:gd name="connsiteX99" fmla="*/ 155258 w 359871"/>
                  <a:gd name="connsiteY99" fmla="*/ 155258 h 268604"/>
                  <a:gd name="connsiteX100" fmla="*/ 134302 w 359871"/>
                  <a:gd name="connsiteY100" fmla="*/ 164783 h 268604"/>
                  <a:gd name="connsiteX101" fmla="*/ 131445 w 359871"/>
                  <a:gd name="connsiteY101" fmla="*/ 164783 h 268604"/>
                  <a:gd name="connsiteX102" fmla="*/ 122873 w 359871"/>
                  <a:gd name="connsiteY102" fmla="*/ 163830 h 268604"/>
                  <a:gd name="connsiteX103" fmla="*/ 118110 w 359871"/>
                  <a:gd name="connsiteY103" fmla="*/ 160020 h 268604"/>
                  <a:gd name="connsiteX104" fmla="*/ 105727 w 359871"/>
                  <a:gd name="connsiteY104" fmla="*/ 154305 h 268604"/>
                  <a:gd name="connsiteX105" fmla="*/ 66675 w 359871"/>
                  <a:gd name="connsiteY105" fmla="*/ 148590 h 268604"/>
                  <a:gd name="connsiteX106" fmla="*/ 84773 w 359871"/>
                  <a:gd name="connsiteY106" fmla="*/ 143828 h 268604"/>
                  <a:gd name="connsiteX107" fmla="*/ 110490 w 359871"/>
                  <a:gd name="connsiteY107" fmla="*/ 139065 h 268604"/>
                  <a:gd name="connsiteX108" fmla="*/ 105727 w 359871"/>
                  <a:gd name="connsiteY108" fmla="*/ 139065 h 268604"/>
                  <a:gd name="connsiteX109" fmla="*/ 83820 w 359871"/>
                  <a:gd name="connsiteY109" fmla="*/ 141923 h 268604"/>
                  <a:gd name="connsiteX110" fmla="*/ 68580 w 359871"/>
                  <a:gd name="connsiteY110" fmla="*/ 145733 h 268604"/>
                  <a:gd name="connsiteX111" fmla="*/ 60007 w 359871"/>
                  <a:gd name="connsiteY111" fmla="*/ 149542 h 268604"/>
                  <a:gd name="connsiteX112" fmla="*/ 60007 w 359871"/>
                  <a:gd name="connsiteY112" fmla="*/ 147638 h 268604"/>
                  <a:gd name="connsiteX113" fmla="*/ 79057 w 359871"/>
                  <a:gd name="connsiteY113" fmla="*/ 135255 h 268604"/>
                  <a:gd name="connsiteX114" fmla="*/ 105727 w 359871"/>
                  <a:gd name="connsiteY114" fmla="*/ 136208 h 268604"/>
                  <a:gd name="connsiteX115" fmla="*/ 124777 w 359871"/>
                  <a:gd name="connsiteY115" fmla="*/ 140017 h 268604"/>
                  <a:gd name="connsiteX116" fmla="*/ 129540 w 359871"/>
                  <a:gd name="connsiteY116" fmla="*/ 144780 h 268604"/>
                  <a:gd name="connsiteX117" fmla="*/ 139065 w 359871"/>
                  <a:gd name="connsiteY117" fmla="*/ 146685 h 268604"/>
                  <a:gd name="connsiteX118" fmla="*/ 139065 w 359871"/>
                  <a:gd name="connsiteY118" fmla="*/ 143828 h 268604"/>
                  <a:gd name="connsiteX119" fmla="*/ 145733 w 359871"/>
                  <a:gd name="connsiteY119" fmla="*/ 142875 h 268604"/>
                  <a:gd name="connsiteX120" fmla="*/ 140018 w 359871"/>
                  <a:gd name="connsiteY120" fmla="*/ 132398 h 268604"/>
                  <a:gd name="connsiteX121" fmla="*/ 140970 w 359871"/>
                  <a:gd name="connsiteY121" fmla="*/ 131445 h 268604"/>
                  <a:gd name="connsiteX122" fmla="*/ 153352 w 359871"/>
                  <a:gd name="connsiteY122" fmla="*/ 141923 h 268604"/>
                  <a:gd name="connsiteX123" fmla="*/ 160973 w 359871"/>
                  <a:gd name="connsiteY123" fmla="*/ 140970 h 268604"/>
                  <a:gd name="connsiteX124" fmla="*/ 149543 w 359871"/>
                  <a:gd name="connsiteY124" fmla="*/ 125730 h 268604"/>
                  <a:gd name="connsiteX125" fmla="*/ 149543 w 359871"/>
                  <a:gd name="connsiteY125" fmla="*/ 123825 h 268604"/>
                  <a:gd name="connsiteX126" fmla="*/ 147638 w 359871"/>
                  <a:gd name="connsiteY126" fmla="*/ 122873 h 268604"/>
                  <a:gd name="connsiteX127" fmla="*/ 147638 w 359871"/>
                  <a:gd name="connsiteY127" fmla="*/ 120015 h 268604"/>
                  <a:gd name="connsiteX128" fmla="*/ 144780 w 359871"/>
                  <a:gd name="connsiteY128" fmla="*/ 115253 h 268604"/>
                  <a:gd name="connsiteX129" fmla="*/ 142875 w 359871"/>
                  <a:gd name="connsiteY129" fmla="*/ 105728 h 268604"/>
                  <a:gd name="connsiteX130" fmla="*/ 141923 w 359871"/>
                  <a:gd name="connsiteY130" fmla="*/ 98108 h 268604"/>
                  <a:gd name="connsiteX131" fmla="*/ 137160 w 359871"/>
                  <a:gd name="connsiteY131" fmla="*/ 73342 h 268604"/>
                  <a:gd name="connsiteX132" fmla="*/ 147638 w 359871"/>
                  <a:gd name="connsiteY132" fmla="*/ 47625 h 268604"/>
                  <a:gd name="connsiteX133" fmla="*/ 161925 w 359871"/>
                  <a:gd name="connsiteY133" fmla="*/ 31433 h 268604"/>
                  <a:gd name="connsiteX134" fmla="*/ 171450 w 359871"/>
                  <a:gd name="connsiteY134" fmla="*/ 15240 h 268604"/>
                  <a:gd name="connsiteX135" fmla="*/ 187643 w 359871"/>
                  <a:gd name="connsiteY135" fmla="*/ 4763 h 268604"/>
                  <a:gd name="connsiteX136" fmla="*/ 200977 w 359871"/>
                  <a:gd name="connsiteY136" fmla="*/ 0 h 268604"/>
                  <a:gd name="connsiteX137" fmla="*/ 302895 w 359871"/>
                  <a:gd name="connsiteY137" fmla="*/ 0 h 268604"/>
                  <a:gd name="connsiteX138" fmla="*/ 305753 w 359871"/>
                  <a:gd name="connsiteY138" fmla="*/ 953 h 268604"/>
                  <a:gd name="connsiteX139" fmla="*/ 313373 w 359871"/>
                  <a:gd name="connsiteY139" fmla="*/ 4763 h 268604"/>
                  <a:gd name="connsiteX140" fmla="*/ 322898 w 359871"/>
                  <a:gd name="connsiteY140" fmla="*/ 13335 h 268604"/>
                  <a:gd name="connsiteX141" fmla="*/ 324803 w 359871"/>
                  <a:gd name="connsiteY141" fmla="*/ 20003 h 268604"/>
                  <a:gd name="connsiteX142" fmla="*/ 320992 w 359871"/>
                  <a:gd name="connsiteY142" fmla="*/ 27622 h 268604"/>
                  <a:gd name="connsiteX143" fmla="*/ 310515 w 359871"/>
                  <a:gd name="connsiteY143" fmla="*/ 28575 h 268604"/>
                  <a:gd name="connsiteX144" fmla="*/ 304800 w 359871"/>
                  <a:gd name="connsiteY144" fmla="*/ 27622 h 268604"/>
                  <a:gd name="connsiteX145" fmla="*/ 324803 w 359871"/>
                  <a:gd name="connsiteY145" fmla="*/ 40958 h 268604"/>
                  <a:gd name="connsiteX146" fmla="*/ 329565 w 359871"/>
                  <a:gd name="connsiteY146" fmla="*/ 42863 h 268604"/>
                  <a:gd name="connsiteX147" fmla="*/ 330517 w 359871"/>
                  <a:gd name="connsiteY147" fmla="*/ 44767 h 268604"/>
                  <a:gd name="connsiteX148" fmla="*/ 328613 w 359871"/>
                  <a:gd name="connsiteY148" fmla="*/ 47625 h 268604"/>
                  <a:gd name="connsiteX149" fmla="*/ 330517 w 359871"/>
                  <a:gd name="connsiteY149" fmla="*/ 47625 h 268604"/>
                  <a:gd name="connsiteX150" fmla="*/ 336233 w 359871"/>
                  <a:gd name="connsiteY150" fmla="*/ 42863 h 268604"/>
                  <a:gd name="connsiteX151" fmla="*/ 338138 w 359871"/>
                  <a:gd name="connsiteY151" fmla="*/ 50483 h 268604"/>
                  <a:gd name="connsiteX152" fmla="*/ 332423 w 359871"/>
                  <a:gd name="connsiteY152" fmla="*/ 55245 h 268604"/>
                  <a:gd name="connsiteX153" fmla="*/ 332423 w 359871"/>
                  <a:gd name="connsiteY153" fmla="*/ 59055 h 268604"/>
                  <a:gd name="connsiteX154" fmla="*/ 335280 w 359871"/>
                  <a:gd name="connsiteY154" fmla="*/ 64770 h 268604"/>
                  <a:gd name="connsiteX155" fmla="*/ 339090 w 359871"/>
                  <a:gd name="connsiteY155" fmla="*/ 76200 h 268604"/>
                  <a:gd name="connsiteX156" fmla="*/ 342900 w 359871"/>
                  <a:gd name="connsiteY156" fmla="*/ 99060 h 268604"/>
                  <a:gd name="connsiteX157" fmla="*/ 341948 w 359871"/>
                  <a:gd name="connsiteY157" fmla="*/ 110490 h 268604"/>
                  <a:gd name="connsiteX158" fmla="*/ 347663 w 359871"/>
                  <a:gd name="connsiteY158" fmla="*/ 120967 h 268604"/>
                  <a:gd name="connsiteX159" fmla="*/ 353378 w 359871"/>
                  <a:gd name="connsiteY159" fmla="*/ 129540 h 268604"/>
                  <a:gd name="connsiteX160" fmla="*/ 359092 w 359871"/>
                  <a:gd name="connsiteY160" fmla="*/ 145733 h 268604"/>
                  <a:gd name="connsiteX161" fmla="*/ 348615 w 359871"/>
                  <a:gd name="connsiteY161" fmla="*/ 150495 h 268604"/>
                  <a:gd name="connsiteX162" fmla="*/ 349567 w 359871"/>
                  <a:gd name="connsiteY162" fmla="*/ 160020 h 268604"/>
                  <a:gd name="connsiteX163" fmla="*/ 342900 w 359871"/>
                  <a:gd name="connsiteY163" fmla="*/ 169545 h 268604"/>
                  <a:gd name="connsiteX164" fmla="*/ 346710 w 359871"/>
                  <a:gd name="connsiteY164" fmla="*/ 171450 h 268604"/>
                  <a:gd name="connsiteX165" fmla="*/ 348615 w 359871"/>
                  <a:gd name="connsiteY165" fmla="*/ 178117 h 268604"/>
                  <a:gd name="connsiteX166" fmla="*/ 343853 w 359871"/>
                  <a:gd name="connsiteY166" fmla="*/ 187642 h 268604"/>
                  <a:gd name="connsiteX167" fmla="*/ 342900 w 359871"/>
                  <a:gd name="connsiteY167" fmla="*/ 199073 h 268604"/>
                  <a:gd name="connsiteX168" fmla="*/ 333375 w 359871"/>
                  <a:gd name="connsiteY168" fmla="*/ 206692 h 268604"/>
                  <a:gd name="connsiteX169" fmla="*/ 323850 w 359871"/>
                  <a:gd name="connsiteY169" fmla="*/ 207645 h 268604"/>
                  <a:gd name="connsiteX170" fmla="*/ 318135 w 359871"/>
                  <a:gd name="connsiteY170" fmla="*/ 205740 h 268604"/>
                  <a:gd name="connsiteX171" fmla="*/ 292417 w 359871"/>
                  <a:gd name="connsiteY171" fmla="*/ 201930 h 268604"/>
                  <a:gd name="connsiteX172" fmla="*/ 285750 w 359871"/>
                  <a:gd name="connsiteY172" fmla="*/ 203835 h 268604"/>
                  <a:gd name="connsiteX173" fmla="*/ 280035 w 359871"/>
                  <a:gd name="connsiteY173" fmla="*/ 209550 h 268604"/>
                  <a:gd name="connsiteX174" fmla="*/ 280035 w 359871"/>
                  <a:gd name="connsiteY174" fmla="*/ 209550 h 268604"/>
                  <a:gd name="connsiteX175" fmla="*/ 279083 w 359871"/>
                  <a:gd name="connsiteY175" fmla="*/ 210503 h 268604"/>
                  <a:gd name="connsiteX176" fmla="*/ 278130 w 359871"/>
                  <a:gd name="connsiteY176" fmla="*/ 211455 h 268604"/>
                  <a:gd name="connsiteX177" fmla="*/ 278130 w 359871"/>
                  <a:gd name="connsiteY177" fmla="*/ 212408 h 268604"/>
                  <a:gd name="connsiteX178" fmla="*/ 274320 w 359871"/>
                  <a:gd name="connsiteY178" fmla="*/ 218123 h 268604"/>
                  <a:gd name="connsiteX179" fmla="*/ 274320 w 359871"/>
                  <a:gd name="connsiteY179" fmla="*/ 218123 h 268604"/>
                  <a:gd name="connsiteX180" fmla="*/ 274320 w 359871"/>
                  <a:gd name="connsiteY180" fmla="*/ 219075 h 268604"/>
                  <a:gd name="connsiteX181" fmla="*/ 270510 w 359871"/>
                  <a:gd name="connsiteY181" fmla="*/ 228600 h 268604"/>
                  <a:gd name="connsiteX182" fmla="*/ 271463 w 359871"/>
                  <a:gd name="connsiteY182" fmla="*/ 252413 h 268604"/>
                  <a:gd name="connsiteX183" fmla="*/ 299085 w 359871"/>
                  <a:gd name="connsiteY183" fmla="*/ 262890 h 268604"/>
                  <a:gd name="connsiteX184" fmla="*/ 311467 w 359871"/>
                  <a:gd name="connsiteY184" fmla="*/ 268605 h 268604"/>
                  <a:gd name="connsiteX185" fmla="*/ 101918 w 359871"/>
                  <a:gd name="connsiteY185" fmla="*/ 268605 h 268604"/>
                  <a:gd name="connsiteX186" fmla="*/ 135255 w 359871"/>
                  <a:gd name="connsiteY186" fmla="*/ 251460 h 268604"/>
                  <a:gd name="connsiteX187" fmla="*/ 158115 w 359871"/>
                  <a:gd name="connsiteY187" fmla="*/ 237173 h 268604"/>
                  <a:gd name="connsiteX188" fmla="*/ 79057 w 359871"/>
                  <a:gd name="connsiteY188" fmla="*/ 200978 h 268604"/>
                  <a:gd name="connsiteX189" fmla="*/ 76200 w 359871"/>
                  <a:gd name="connsiteY189" fmla="*/ 200025 h 268604"/>
                  <a:gd name="connsiteX190" fmla="*/ 81915 w 359871"/>
                  <a:gd name="connsiteY190" fmla="*/ 196215 h 268604"/>
                  <a:gd name="connsiteX191" fmla="*/ 85725 w 359871"/>
                  <a:gd name="connsiteY191" fmla="*/ 195263 h 268604"/>
                  <a:gd name="connsiteX192" fmla="*/ 89535 w 359871"/>
                  <a:gd name="connsiteY192" fmla="*/ 197167 h 268604"/>
                  <a:gd name="connsiteX193" fmla="*/ 79057 w 359871"/>
                  <a:gd name="connsiteY193" fmla="*/ 200978 h 268604"/>
                  <a:gd name="connsiteX194" fmla="*/ 952 w 359871"/>
                  <a:gd name="connsiteY194" fmla="*/ 189548 h 268604"/>
                  <a:gd name="connsiteX195" fmla="*/ 0 w 359871"/>
                  <a:gd name="connsiteY195" fmla="*/ 188595 h 268604"/>
                  <a:gd name="connsiteX196" fmla="*/ 16193 w 359871"/>
                  <a:gd name="connsiteY196" fmla="*/ 162878 h 268604"/>
                  <a:gd name="connsiteX197" fmla="*/ 33338 w 359871"/>
                  <a:gd name="connsiteY197" fmla="*/ 148590 h 268604"/>
                  <a:gd name="connsiteX198" fmla="*/ 61913 w 359871"/>
                  <a:gd name="connsiteY198" fmla="*/ 125730 h 268604"/>
                  <a:gd name="connsiteX199" fmla="*/ 75248 w 359871"/>
                  <a:gd name="connsiteY199" fmla="*/ 126683 h 268604"/>
                  <a:gd name="connsiteX200" fmla="*/ 69532 w 359871"/>
                  <a:gd name="connsiteY200" fmla="*/ 129540 h 268604"/>
                  <a:gd name="connsiteX201" fmla="*/ 67627 w 359871"/>
                  <a:gd name="connsiteY201" fmla="*/ 128588 h 268604"/>
                  <a:gd name="connsiteX202" fmla="*/ 68580 w 359871"/>
                  <a:gd name="connsiteY202" fmla="*/ 126683 h 268604"/>
                  <a:gd name="connsiteX203" fmla="*/ 52388 w 359871"/>
                  <a:gd name="connsiteY203" fmla="*/ 141923 h 268604"/>
                  <a:gd name="connsiteX204" fmla="*/ 40957 w 359871"/>
                  <a:gd name="connsiteY204" fmla="*/ 155258 h 268604"/>
                  <a:gd name="connsiteX205" fmla="*/ 40005 w 359871"/>
                  <a:gd name="connsiteY205" fmla="*/ 154305 h 268604"/>
                  <a:gd name="connsiteX206" fmla="*/ 952 w 359871"/>
                  <a:gd name="connsiteY206" fmla="*/ 189548 h 268604"/>
                  <a:gd name="connsiteX207" fmla="*/ 43815 w 359871"/>
                  <a:gd name="connsiteY207" fmla="*/ 156210 h 268604"/>
                  <a:gd name="connsiteX208" fmla="*/ 41910 w 359871"/>
                  <a:gd name="connsiteY208" fmla="*/ 158115 h 268604"/>
                  <a:gd name="connsiteX209" fmla="*/ 40005 w 359871"/>
                  <a:gd name="connsiteY209" fmla="*/ 160020 h 268604"/>
                  <a:gd name="connsiteX210" fmla="*/ 39052 w 359871"/>
                  <a:gd name="connsiteY210" fmla="*/ 159067 h 268604"/>
                  <a:gd name="connsiteX211" fmla="*/ 42863 w 359871"/>
                  <a:gd name="connsiteY211" fmla="*/ 154305 h 268604"/>
                  <a:gd name="connsiteX212" fmla="*/ 43815 w 359871"/>
                  <a:gd name="connsiteY212" fmla="*/ 156210 h 268604"/>
                  <a:gd name="connsiteX213" fmla="*/ 67627 w 359871"/>
                  <a:gd name="connsiteY213" fmla="*/ 232410 h 268604"/>
                  <a:gd name="connsiteX214" fmla="*/ 66675 w 359871"/>
                  <a:gd name="connsiteY214" fmla="*/ 234315 h 268604"/>
                  <a:gd name="connsiteX215" fmla="*/ 67627 w 359871"/>
                  <a:gd name="connsiteY215" fmla="*/ 235267 h 268604"/>
                  <a:gd name="connsiteX216" fmla="*/ 63818 w 359871"/>
                  <a:gd name="connsiteY216" fmla="*/ 238125 h 268604"/>
                  <a:gd name="connsiteX217" fmla="*/ 62865 w 359871"/>
                  <a:gd name="connsiteY217" fmla="*/ 238125 h 268604"/>
                  <a:gd name="connsiteX218" fmla="*/ 60960 w 359871"/>
                  <a:gd name="connsiteY218" fmla="*/ 240030 h 268604"/>
                  <a:gd name="connsiteX219" fmla="*/ 58102 w 359871"/>
                  <a:gd name="connsiteY219" fmla="*/ 239078 h 268604"/>
                  <a:gd name="connsiteX220" fmla="*/ 61913 w 359871"/>
                  <a:gd name="connsiteY220" fmla="*/ 235267 h 268604"/>
                  <a:gd name="connsiteX221" fmla="*/ 63818 w 359871"/>
                  <a:gd name="connsiteY221" fmla="*/ 233363 h 268604"/>
                  <a:gd name="connsiteX222" fmla="*/ 64770 w 359871"/>
                  <a:gd name="connsiteY222" fmla="*/ 232410 h 268604"/>
                  <a:gd name="connsiteX223" fmla="*/ 67627 w 359871"/>
                  <a:gd name="connsiteY223" fmla="*/ 232410 h 268604"/>
                  <a:gd name="connsiteX224" fmla="*/ 58102 w 359871"/>
                  <a:gd name="connsiteY224" fmla="*/ 228600 h 268604"/>
                  <a:gd name="connsiteX225" fmla="*/ 58102 w 359871"/>
                  <a:gd name="connsiteY225" fmla="*/ 228600 h 268604"/>
                  <a:gd name="connsiteX226" fmla="*/ 52388 w 359871"/>
                  <a:gd name="connsiteY226" fmla="*/ 232410 h 268604"/>
                  <a:gd name="connsiteX227" fmla="*/ 45720 w 359871"/>
                  <a:gd name="connsiteY227" fmla="*/ 235267 h 268604"/>
                  <a:gd name="connsiteX228" fmla="*/ 45720 w 359871"/>
                  <a:gd name="connsiteY228" fmla="*/ 235267 h 268604"/>
                  <a:gd name="connsiteX229" fmla="*/ 44768 w 359871"/>
                  <a:gd name="connsiteY229" fmla="*/ 235267 h 268604"/>
                  <a:gd name="connsiteX230" fmla="*/ 40005 w 359871"/>
                  <a:gd name="connsiteY230" fmla="*/ 239078 h 268604"/>
                  <a:gd name="connsiteX231" fmla="*/ 39052 w 359871"/>
                  <a:gd name="connsiteY231" fmla="*/ 240030 h 268604"/>
                  <a:gd name="connsiteX232" fmla="*/ 39052 w 359871"/>
                  <a:gd name="connsiteY232" fmla="*/ 240030 h 268604"/>
                  <a:gd name="connsiteX233" fmla="*/ 39052 w 359871"/>
                  <a:gd name="connsiteY233" fmla="*/ 240030 h 268604"/>
                  <a:gd name="connsiteX234" fmla="*/ 38100 w 359871"/>
                  <a:gd name="connsiteY234" fmla="*/ 240983 h 268604"/>
                  <a:gd name="connsiteX235" fmla="*/ 38100 w 359871"/>
                  <a:gd name="connsiteY235" fmla="*/ 240983 h 268604"/>
                  <a:gd name="connsiteX236" fmla="*/ 38100 w 359871"/>
                  <a:gd name="connsiteY236" fmla="*/ 240983 h 268604"/>
                  <a:gd name="connsiteX237" fmla="*/ 37148 w 359871"/>
                  <a:gd name="connsiteY237" fmla="*/ 241935 h 268604"/>
                  <a:gd name="connsiteX238" fmla="*/ 36195 w 359871"/>
                  <a:gd name="connsiteY238" fmla="*/ 242888 h 268604"/>
                  <a:gd name="connsiteX239" fmla="*/ 35243 w 359871"/>
                  <a:gd name="connsiteY239" fmla="*/ 242888 h 268604"/>
                  <a:gd name="connsiteX240" fmla="*/ 35243 w 359871"/>
                  <a:gd name="connsiteY240" fmla="*/ 242888 h 268604"/>
                  <a:gd name="connsiteX241" fmla="*/ 34290 w 359871"/>
                  <a:gd name="connsiteY241" fmla="*/ 242888 h 268604"/>
                  <a:gd name="connsiteX242" fmla="*/ 33338 w 359871"/>
                  <a:gd name="connsiteY242" fmla="*/ 242888 h 268604"/>
                  <a:gd name="connsiteX243" fmla="*/ 33338 w 359871"/>
                  <a:gd name="connsiteY243" fmla="*/ 242888 h 268604"/>
                  <a:gd name="connsiteX244" fmla="*/ 33338 w 359871"/>
                  <a:gd name="connsiteY244" fmla="*/ 242888 h 268604"/>
                  <a:gd name="connsiteX245" fmla="*/ 31432 w 359871"/>
                  <a:gd name="connsiteY245" fmla="*/ 244792 h 268604"/>
                  <a:gd name="connsiteX246" fmla="*/ 28575 w 359871"/>
                  <a:gd name="connsiteY246" fmla="*/ 247650 h 268604"/>
                  <a:gd name="connsiteX247" fmla="*/ 28575 w 359871"/>
                  <a:gd name="connsiteY247" fmla="*/ 247650 h 268604"/>
                  <a:gd name="connsiteX248" fmla="*/ 28575 w 359871"/>
                  <a:gd name="connsiteY248" fmla="*/ 247650 h 268604"/>
                  <a:gd name="connsiteX249" fmla="*/ 28575 w 359871"/>
                  <a:gd name="connsiteY249" fmla="*/ 247650 h 268604"/>
                  <a:gd name="connsiteX250" fmla="*/ 28575 w 359871"/>
                  <a:gd name="connsiteY250" fmla="*/ 247650 h 268604"/>
                  <a:gd name="connsiteX251" fmla="*/ 28575 w 359871"/>
                  <a:gd name="connsiteY251" fmla="*/ 247650 h 268604"/>
                  <a:gd name="connsiteX252" fmla="*/ 28575 w 359871"/>
                  <a:gd name="connsiteY252" fmla="*/ 248603 h 268604"/>
                  <a:gd name="connsiteX253" fmla="*/ 28575 w 359871"/>
                  <a:gd name="connsiteY253" fmla="*/ 248603 h 268604"/>
                  <a:gd name="connsiteX254" fmla="*/ 28575 w 359871"/>
                  <a:gd name="connsiteY254" fmla="*/ 248603 h 268604"/>
                  <a:gd name="connsiteX255" fmla="*/ 28575 w 359871"/>
                  <a:gd name="connsiteY255" fmla="*/ 248603 h 268604"/>
                  <a:gd name="connsiteX256" fmla="*/ 28575 w 359871"/>
                  <a:gd name="connsiteY256" fmla="*/ 248603 h 268604"/>
                  <a:gd name="connsiteX257" fmla="*/ 28575 w 359871"/>
                  <a:gd name="connsiteY257" fmla="*/ 247650 h 268604"/>
                  <a:gd name="connsiteX258" fmla="*/ 28575 w 359871"/>
                  <a:gd name="connsiteY258" fmla="*/ 247650 h 268604"/>
                  <a:gd name="connsiteX259" fmla="*/ 28575 w 359871"/>
                  <a:gd name="connsiteY259" fmla="*/ 247650 h 268604"/>
                  <a:gd name="connsiteX260" fmla="*/ 30480 w 359871"/>
                  <a:gd name="connsiteY260" fmla="*/ 245745 h 268604"/>
                  <a:gd name="connsiteX261" fmla="*/ 30480 w 359871"/>
                  <a:gd name="connsiteY261" fmla="*/ 245745 h 268604"/>
                  <a:gd name="connsiteX262" fmla="*/ 31432 w 359871"/>
                  <a:gd name="connsiteY262" fmla="*/ 244792 h 268604"/>
                  <a:gd name="connsiteX263" fmla="*/ 32385 w 359871"/>
                  <a:gd name="connsiteY263" fmla="*/ 243840 h 268604"/>
                  <a:gd name="connsiteX264" fmla="*/ 32385 w 359871"/>
                  <a:gd name="connsiteY264" fmla="*/ 243840 h 268604"/>
                  <a:gd name="connsiteX265" fmla="*/ 34290 w 359871"/>
                  <a:gd name="connsiteY265" fmla="*/ 241935 h 268604"/>
                  <a:gd name="connsiteX266" fmla="*/ 34290 w 359871"/>
                  <a:gd name="connsiteY266" fmla="*/ 241935 h 268604"/>
                  <a:gd name="connsiteX267" fmla="*/ 34290 w 359871"/>
                  <a:gd name="connsiteY267" fmla="*/ 241935 h 268604"/>
                  <a:gd name="connsiteX268" fmla="*/ 35243 w 359871"/>
                  <a:gd name="connsiteY268" fmla="*/ 240983 h 268604"/>
                  <a:gd name="connsiteX269" fmla="*/ 36195 w 359871"/>
                  <a:gd name="connsiteY269" fmla="*/ 240030 h 268604"/>
                  <a:gd name="connsiteX270" fmla="*/ 36195 w 359871"/>
                  <a:gd name="connsiteY270" fmla="*/ 240030 h 268604"/>
                  <a:gd name="connsiteX271" fmla="*/ 36195 w 359871"/>
                  <a:gd name="connsiteY271" fmla="*/ 240030 h 268604"/>
                  <a:gd name="connsiteX272" fmla="*/ 36195 w 359871"/>
                  <a:gd name="connsiteY272" fmla="*/ 240030 h 268604"/>
                  <a:gd name="connsiteX273" fmla="*/ 37148 w 359871"/>
                  <a:gd name="connsiteY273" fmla="*/ 239078 h 268604"/>
                  <a:gd name="connsiteX274" fmla="*/ 37148 w 359871"/>
                  <a:gd name="connsiteY274" fmla="*/ 239078 h 268604"/>
                  <a:gd name="connsiteX275" fmla="*/ 37148 w 359871"/>
                  <a:gd name="connsiteY275" fmla="*/ 239078 h 268604"/>
                  <a:gd name="connsiteX276" fmla="*/ 37148 w 359871"/>
                  <a:gd name="connsiteY276" fmla="*/ 238125 h 268604"/>
                  <a:gd name="connsiteX277" fmla="*/ 37148 w 359871"/>
                  <a:gd name="connsiteY277" fmla="*/ 238125 h 268604"/>
                  <a:gd name="connsiteX278" fmla="*/ 37148 w 359871"/>
                  <a:gd name="connsiteY278" fmla="*/ 237173 h 268604"/>
                  <a:gd name="connsiteX279" fmla="*/ 37148 w 359871"/>
                  <a:gd name="connsiteY279" fmla="*/ 237173 h 268604"/>
                  <a:gd name="connsiteX280" fmla="*/ 39052 w 359871"/>
                  <a:gd name="connsiteY280" fmla="*/ 234315 h 268604"/>
                  <a:gd name="connsiteX281" fmla="*/ 39052 w 359871"/>
                  <a:gd name="connsiteY281" fmla="*/ 234315 h 268604"/>
                  <a:gd name="connsiteX282" fmla="*/ 37148 w 359871"/>
                  <a:gd name="connsiteY282" fmla="*/ 236220 h 268604"/>
                  <a:gd name="connsiteX283" fmla="*/ 36195 w 359871"/>
                  <a:gd name="connsiteY283" fmla="*/ 235267 h 268604"/>
                  <a:gd name="connsiteX284" fmla="*/ 37148 w 359871"/>
                  <a:gd name="connsiteY284" fmla="*/ 234315 h 268604"/>
                  <a:gd name="connsiteX285" fmla="*/ 37148 w 359871"/>
                  <a:gd name="connsiteY285" fmla="*/ 234315 h 268604"/>
                  <a:gd name="connsiteX286" fmla="*/ 40005 w 359871"/>
                  <a:gd name="connsiteY286" fmla="*/ 231458 h 268604"/>
                  <a:gd name="connsiteX287" fmla="*/ 41910 w 359871"/>
                  <a:gd name="connsiteY287" fmla="*/ 230505 h 268604"/>
                  <a:gd name="connsiteX288" fmla="*/ 41910 w 359871"/>
                  <a:gd name="connsiteY288" fmla="*/ 230505 h 268604"/>
                  <a:gd name="connsiteX289" fmla="*/ 42863 w 359871"/>
                  <a:gd name="connsiteY289" fmla="*/ 229553 h 268604"/>
                  <a:gd name="connsiteX290" fmla="*/ 42863 w 359871"/>
                  <a:gd name="connsiteY290" fmla="*/ 229553 h 268604"/>
                  <a:gd name="connsiteX291" fmla="*/ 62865 w 359871"/>
                  <a:gd name="connsiteY291" fmla="*/ 221933 h 268604"/>
                  <a:gd name="connsiteX292" fmla="*/ 71438 w 359871"/>
                  <a:gd name="connsiteY292" fmla="*/ 221933 h 268604"/>
                  <a:gd name="connsiteX293" fmla="*/ 76200 w 359871"/>
                  <a:gd name="connsiteY293" fmla="*/ 222885 h 268604"/>
                  <a:gd name="connsiteX294" fmla="*/ 58102 w 359871"/>
                  <a:gd name="connsiteY294" fmla="*/ 228600 h 268604"/>
                  <a:gd name="connsiteX295" fmla="*/ 68580 w 359871"/>
                  <a:gd name="connsiteY295" fmla="*/ 193358 h 268604"/>
                  <a:gd name="connsiteX296" fmla="*/ 70485 w 359871"/>
                  <a:gd name="connsiteY296" fmla="*/ 192405 h 268604"/>
                  <a:gd name="connsiteX297" fmla="*/ 66675 w 359871"/>
                  <a:gd name="connsiteY297" fmla="*/ 192405 h 268604"/>
                  <a:gd name="connsiteX298" fmla="*/ 65723 w 359871"/>
                  <a:gd name="connsiteY298" fmla="*/ 191453 h 268604"/>
                  <a:gd name="connsiteX299" fmla="*/ 57150 w 359871"/>
                  <a:gd name="connsiteY299" fmla="*/ 193358 h 268604"/>
                  <a:gd name="connsiteX300" fmla="*/ 46673 w 359871"/>
                  <a:gd name="connsiteY300" fmla="*/ 198120 h 268604"/>
                  <a:gd name="connsiteX301" fmla="*/ 30480 w 359871"/>
                  <a:gd name="connsiteY301" fmla="*/ 206692 h 268604"/>
                  <a:gd name="connsiteX302" fmla="*/ 29527 w 359871"/>
                  <a:gd name="connsiteY302" fmla="*/ 205740 h 268604"/>
                  <a:gd name="connsiteX303" fmla="*/ 33338 w 359871"/>
                  <a:gd name="connsiteY303" fmla="*/ 201930 h 268604"/>
                  <a:gd name="connsiteX304" fmla="*/ 32385 w 359871"/>
                  <a:gd name="connsiteY304" fmla="*/ 200978 h 268604"/>
                  <a:gd name="connsiteX305" fmla="*/ 47625 w 359871"/>
                  <a:gd name="connsiteY305" fmla="*/ 187642 h 268604"/>
                  <a:gd name="connsiteX306" fmla="*/ 47625 w 359871"/>
                  <a:gd name="connsiteY306" fmla="*/ 185738 h 268604"/>
                  <a:gd name="connsiteX307" fmla="*/ 52388 w 359871"/>
                  <a:gd name="connsiteY307" fmla="*/ 180023 h 268604"/>
                  <a:gd name="connsiteX308" fmla="*/ 57150 w 359871"/>
                  <a:gd name="connsiteY308" fmla="*/ 175260 h 268604"/>
                  <a:gd name="connsiteX309" fmla="*/ 55245 w 359871"/>
                  <a:gd name="connsiteY309" fmla="*/ 173355 h 268604"/>
                  <a:gd name="connsiteX310" fmla="*/ 49530 w 359871"/>
                  <a:gd name="connsiteY310" fmla="*/ 172403 h 268604"/>
                  <a:gd name="connsiteX311" fmla="*/ 52388 w 359871"/>
                  <a:gd name="connsiteY311" fmla="*/ 170498 h 268604"/>
                  <a:gd name="connsiteX312" fmla="*/ 51435 w 359871"/>
                  <a:gd name="connsiteY312" fmla="*/ 169545 h 268604"/>
                  <a:gd name="connsiteX313" fmla="*/ 54293 w 359871"/>
                  <a:gd name="connsiteY313" fmla="*/ 166688 h 268604"/>
                  <a:gd name="connsiteX314" fmla="*/ 60007 w 359871"/>
                  <a:gd name="connsiteY314" fmla="*/ 164783 h 268604"/>
                  <a:gd name="connsiteX315" fmla="*/ 48577 w 359871"/>
                  <a:gd name="connsiteY315" fmla="*/ 163830 h 268604"/>
                  <a:gd name="connsiteX316" fmla="*/ 60960 w 359871"/>
                  <a:gd name="connsiteY316" fmla="*/ 148590 h 268604"/>
                  <a:gd name="connsiteX317" fmla="*/ 62865 w 359871"/>
                  <a:gd name="connsiteY317" fmla="*/ 149542 h 268604"/>
                  <a:gd name="connsiteX318" fmla="*/ 59055 w 359871"/>
                  <a:gd name="connsiteY318" fmla="*/ 154305 h 268604"/>
                  <a:gd name="connsiteX319" fmla="*/ 71438 w 359871"/>
                  <a:gd name="connsiteY319" fmla="*/ 157163 h 268604"/>
                  <a:gd name="connsiteX320" fmla="*/ 69532 w 359871"/>
                  <a:gd name="connsiteY320" fmla="*/ 158115 h 268604"/>
                  <a:gd name="connsiteX321" fmla="*/ 78105 w 359871"/>
                  <a:gd name="connsiteY321" fmla="*/ 160973 h 268604"/>
                  <a:gd name="connsiteX322" fmla="*/ 73343 w 359871"/>
                  <a:gd name="connsiteY322" fmla="*/ 160973 h 268604"/>
                  <a:gd name="connsiteX323" fmla="*/ 119063 w 359871"/>
                  <a:gd name="connsiteY323" fmla="*/ 179070 h 268604"/>
                  <a:gd name="connsiteX324" fmla="*/ 83820 w 359871"/>
                  <a:gd name="connsiteY324" fmla="*/ 189548 h 268604"/>
                  <a:gd name="connsiteX325" fmla="*/ 80010 w 359871"/>
                  <a:gd name="connsiteY325" fmla="*/ 188595 h 268604"/>
                  <a:gd name="connsiteX326" fmla="*/ 79057 w 359871"/>
                  <a:gd name="connsiteY326" fmla="*/ 190500 h 268604"/>
                  <a:gd name="connsiteX327" fmla="*/ 74295 w 359871"/>
                  <a:gd name="connsiteY327" fmla="*/ 191453 h 268604"/>
                  <a:gd name="connsiteX328" fmla="*/ 68580 w 359871"/>
                  <a:gd name="connsiteY328" fmla="*/ 193358 h 26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359871" h="268604">
                    <a:moveTo>
                      <a:pt x="158115" y="237173"/>
                    </a:moveTo>
                    <a:cubicBezTo>
                      <a:pt x="160973" y="234315"/>
                      <a:pt x="163830" y="231458"/>
                      <a:pt x="166688" y="227648"/>
                    </a:cubicBezTo>
                    <a:lnTo>
                      <a:pt x="166688" y="227648"/>
                    </a:lnTo>
                    <a:cubicBezTo>
                      <a:pt x="172402" y="221933"/>
                      <a:pt x="177165" y="215265"/>
                      <a:pt x="183833" y="210503"/>
                    </a:cubicBezTo>
                    <a:cubicBezTo>
                      <a:pt x="185738" y="208598"/>
                      <a:pt x="187643" y="207645"/>
                      <a:pt x="189548" y="205740"/>
                    </a:cubicBezTo>
                    <a:cubicBezTo>
                      <a:pt x="190500" y="204788"/>
                      <a:pt x="190500" y="203835"/>
                      <a:pt x="190500" y="203835"/>
                    </a:cubicBezTo>
                    <a:cubicBezTo>
                      <a:pt x="187643" y="204788"/>
                      <a:pt x="186690" y="206692"/>
                      <a:pt x="183833" y="207645"/>
                    </a:cubicBezTo>
                    <a:cubicBezTo>
                      <a:pt x="182880" y="207645"/>
                      <a:pt x="182880" y="206692"/>
                      <a:pt x="182880" y="206692"/>
                    </a:cubicBezTo>
                    <a:cubicBezTo>
                      <a:pt x="184785" y="205740"/>
                      <a:pt x="186690" y="203835"/>
                      <a:pt x="188595" y="202883"/>
                    </a:cubicBezTo>
                    <a:cubicBezTo>
                      <a:pt x="188595" y="202883"/>
                      <a:pt x="188595" y="202883"/>
                      <a:pt x="188595" y="202883"/>
                    </a:cubicBezTo>
                    <a:cubicBezTo>
                      <a:pt x="187643" y="202883"/>
                      <a:pt x="187643" y="201930"/>
                      <a:pt x="187643" y="201930"/>
                    </a:cubicBezTo>
                    <a:cubicBezTo>
                      <a:pt x="180975" y="201930"/>
                      <a:pt x="176213" y="205740"/>
                      <a:pt x="171450" y="210503"/>
                    </a:cubicBezTo>
                    <a:cubicBezTo>
                      <a:pt x="170498" y="211455"/>
                      <a:pt x="169545" y="209550"/>
                      <a:pt x="168593" y="209550"/>
                    </a:cubicBezTo>
                    <a:cubicBezTo>
                      <a:pt x="160973" y="212408"/>
                      <a:pt x="155258" y="219075"/>
                      <a:pt x="147638" y="221933"/>
                    </a:cubicBezTo>
                    <a:lnTo>
                      <a:pt x="147638" y="220980"/>
                    </a:lnTo>
                    <a:cubicBezTo>
                      <a:pt x="144780" y="221933"/>
                      <a:pt x="141923" y="223838"/>
                      <a:pt x="138113" y="224790"/>
                    </a:cubicBezTo>
                    <a:cubicBezTo>
                      <a:pt x="133350" y="225742"/>
                      <a:pt x="129540" y="225742"/>
                      <a:pt x="125730" y="225742"/>
                    </a:cubicBezTo>
                    <a:cubicBezTo>
                      <a:pt x="120015" y="226695"/>
                      <a:pt x="113348" y="227648"/>
                      <a:pt x="107632" y="228600"/>
                    </a:cubicBezTo>
                    <a:cubicBezTo>
                      <a:pt x="107632" y="228600"/>
                      <a:pt x="107632" y="228600"/>
                      <a:pt x="106680" y="228600"/>
                    </a:cubicBezTo>
                    <a:cubicBezTo>
                      <a:pt x="103823" y="229553"/>
                      <a:pt x="100013" y="230505"/>
                      <a:pt x="97155" y="232410"/>
                    </a:cubicBezTo>
                    <a:cubicBezTo>
                      <a:pt x="97155" y="232410"/>
                      <a:pt x="97155" y="232410"/>
                      <a:pt x="97155" y="232410"/>
                    </a:cubicBezTo>
                    <a:cubicBezTo>
                      <a:pt x="97155" y="232410"/>
                      <a:pt x="96202" y="233363"/>
                      <a:pt x="96202" y="233363"/>
                    </a:cubicBezTo>
                    <a:cubicBezTo>
                      <a:pt x="95250" y="234315"/>
                      <a:pt x="94298" y="235267"/>
                      <a:pt x="92393" y="236220"/>
                    </a:cubicBezTo>
                    <a:cubicBezTo>
                      <a:pt x="89535" y="238125"/>
                      <a:pt x="86677" y="240983"/>
                      <a:pt x="83820" y="242888"/>
                    </a:cubicBezTo>
                    <a:cubicBezTo>
                      <a:pt x="83820" y="242888"/>
                      <a:pt x="82868" y="242888"/>
                      <a:pt x="82868" y="242888"/>
                    </a:cubicBezTo>
                    <a:cubicBezTo>
                      <a:pt x="80010" y="245745"/>
                      <a:pt x="77152" y="248603"/>
                      <a:pt x="74295" y="250508"/>
                    </a:cubicBezTo>
                    <a:cubicBezTo>
                      <a:pt x="74295" y="250508"/>
                      <a:pt x="73343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49555"/>
                    </a:cubicBezTo>
                    <a:cubicBezTo>
                      <a:pt x="72390" y="248603"/>
                      <a:pt x="73343" y="247650"/>
                      <a:pt x="73343" y="247650"/>
                    </a:cubicBezTo>
                    <a:cubicBezTo>
                      <a:pt x="74295" y="246698"/>
                      <a:pt x="74295" y="245745"/>
                      <a:pt x="75248" y="245745"/>
                    </a:cubicBezTo>
                    <a:cubicBezTo>
                      <a:pt x="76200" y="244792"/>
                      <a:pt x="76200" y="243840"/>
                      <a:pt x="77152" y="242888"/>
                    </a:cubicBezTo>
                    <a:cubicBezTo>
                      <a:pt x="77152" y="242888"/>
                      <a:pt x="77152" y="241935"/>
                      <a:pt x="77152" y="241935"/>
                    </a:cubicBezTo>
                    <a:cubicBezTo>
                      <a:pt x="77152" y="241935"/>
                      <a:pt x="77152" y="241935"/>
                      <a:pt x="76200" y="241935"/>
                    </a:cubicBezTo>
                    <a:cubicBezTo>
                      <a:pt x="79057" y="239078"/>
                      <a:pt x="81915" y="237173"/>
                      <a:pt x="84773" y="235267"/>
                    </a:cubicBezTo>
                    <a:lnTo>
                      <a:pt x="84773" y="235267"/>
                    </a:lnTo>
                    <a:cubicBezTo>
                      <a:pt x="84773" y="235267"/>
                      <a:pt x="83820" y="235267"/>
                      <a:pt x="83820" y="234315"/>
                    </a:cubicBezTo>
                    <a:cubicBezTo>
                      <a:pt x="83820" y="234315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5725" y="233363"/>
                      <a:pt x="84773" y="234315"/>
                      <a:pt x="84773" y="234315"/>
                    </a:cubicBezTo>
                    <a:cubicBezTo>
                      <a:pt x="83820" y="235267"/>
                      <a:pt x="82868" y="238125"/>
                      <a:pt x="80963" y="237173"/>
                    </a:cubicBezTo>
                    <a:cubicBezTo>
                      <a:pt x="80963" y="237173"/>
                      <a:pt x="80010" y="237173"/>
                      <a:pt x="80010" y="237173"/>
                    </a:cubicBezTo>
                    <a:cubicBezTo>
                      <a:pt x="80010" y="237173"/>
                      <a:pt x="80010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6220"/>
                    </a:cubicBezTo>
                    <a:cubicBezTo>
                      <a:pt x="79057" y="236220"/>
                      <a:pt x="79057" y="236220"/>
                      <a:pt x="79057" y="236220"/>
                    </a:cubicBezTo>
                    <a:cubicBezTo>
                      <a:pt x="79057" y="236220"/>
                      <a:pt x="79057" y="235267"/>
                      <a:pt x="80010" y="235267"/>
                    </a:cubicBezTo>
                    <a:cubicBezTo>
                      <a:pt x="80010" y="235267"/>
                      <a:pt x="80010" y="235267"/>
                      <a:pt x="80010" y="234315"/>
                    </a:cubicBezTo>
                    <a:cubicBezTo>
                      <a:pt x="80010" y="234315"/>
                      <a:pt x="80010" y="233363"/>
                      <a:pt x="80963" y="233363"/>
                    </a:cubicBezTo>
                    <a:cubicBezTo>
                      <a:pt x="80963" y="233363"/>
                      <a:pt x="80963" y="232410"/>
                      <a:pt x="80963" y="232410"/>
                    </a:cubicBezTo>
                    <a:cubicBezTo>
                      <a:pt x="81915" y="231458"/>
                      <a:pt x="82868" y="230505"/>
                      <a:pt x="84773" y="229553"/>
                    </a:cubicBezTo>
                    <a:lnTo>
                      <a:pt x="84773" y="229553"/>
                    </a:lnTo>
                    <a:cubicBezTo>
                      <a:pt x="86677" y="228600"/>
                      <a:pt x="88582" y="227648"/>
                      <a:pt x="90488" y="226695"/>
                    </a:cubicBezTo>
                    <a:cubicBezTo>
                      <a:pt x="90488" y="226695"/>
                      <a:pt x="91440" y="225742"/>
                      <a:pt x="91440" y="225742"/>
                    </a:cubicBezTo>
                    <a:cubicBezTo>
                      <a:pt x="88582" y="226695"/>
                      <a:pt x="85725" y="227648"/>
                      <a:pt x="82868" y="229553"/>
                    </a:cubicBezTo>
                    <a:cubicBezTo>
                      <a:pt x="82868" y="229553"/>
                      <a:pt x="81915" y="229553"/>
                      <a:pt x="81915" y="229553"/>
                    </a:cubicBezTo>
                    <a:cubicBezTo>
                      <a:pt x="81915" y="229553"/>
                      <a:pt x="80963" y="229553"/>
                      <a:pt x="80963" y="229553"/>
                    </a:cubicBezTo>
                    <a:cubicBezTo>
                      <a:pt x="80963" y="229553"/>
                      <a:pt x="80963" y="229553"/>
                      <a:pt x="80963" y="229553"/>
                    </a:cubicBezTo>
                    <a:cubicBezTo>
                      <a:pt x="81915" y="228600"/>
                      <a:pt x="82868" y="227648"/>
                      <a:pt x="83820" y="226695"/>
                    </a:cubicBezTo>
                    <a:cubicBezTo>
                      <a:pt x="84773" y="226695"/>
                      <a:pt x="84773" y="226695"/>
                      <a:pt x="84773" y="227648"/>
                    </a:cubicBezTo>
                    <a:cubicBezTo>
                      <a:pt x="100965" y="215265"/>
                      <a:pt x="123825" y="218123"/>
                      <a:pt x="142875" y="211455"/>
                    </a:cubicBezTo>
                    <a:cubicBezTo>
                      <a:pt x="144780" y="210503"/>
                      <a:pt x="145733" y="209550"/>
                      <a:pt x="147638" y="208598"/>
                    </a:cubicBezTo>
                    <a:cubicBezTo>
                      <a:pt x="150495" y="207645"/>
                      <a:pt x="152400" y="204788"/>
                      <a:pt x="155258" y="203835"/>
                    </a:cubicBezTo>
                    <a:cubicBezTo>
                      <a:pt x="159068" y="200978"/>
                      <a:pt x="161925" y="197167"/>
                      <a:pt x="163830" y="192405"/>
                    </a:cubicBezTo>
                    <a:cubicBezTo>
                      <a:pt x="163830" y="191453"/>
                      <a:pt x="162877" y="191453"/>
                      <a:pt x="162877" y="191453"/>
                    </a:cubicBezTo>
                    <a:cubicBezTo>
                      <a:pt x="156210" y="199073"/>
                      <a:pt x="148590" y="203835"/>
                      <a:pt x="140018" y="208598"/>
                    </a:cubicBezTo>
                    <a:cubicBezTo>
                      <a:pt x="129540" y="214313"/>
                      <a:pt x="117157" y="213360"/>
                      <a:pt x="106680" y="214313"/>
                    </a:cubicBezTo>
                    <a:cubicBezTo>
                      <a:pt x="107632" y="213360"/>
                      <a:pt x="108585" y="213360"/>
                      <a:pt x="109538" y="213360"/>
                    </a:cubicBezTo>
                    <a:cubicBezTo>
                      <a:pt x="109538" y="211455"/>
                      <a:pt x="110490" y="211455"/>
                      <a:pt x="111443" y="210503"/>
                    </a:cubicBezTo>
                    <a:lnTo>
                      <a:pt x="113348" y="210503"/>
                    </a:lnTo>
                    <a:cubicBezTo>
                      <a:pt x="114300" y="210503"/>
                      <a:pt x="114300" y="209550"/>
                      <a:pt x="114300" y="209550"/>
                    </a:cubicBezTo>
                    <a:cubicBezTo>
                      <a:pt x="115252" y="209550"/>
                      <a:pt x="117157" y="208598"/>
                      <a:pt x="116205" y="208598"/>
                    </a:cubicBezTo>
                    <a:cubicBezTo>
                      <a:pt x="114300" y="206692"/>
                      <a:pt x="111443" y="210503"/>
                      <a:pt x="108585" y="208598"/>
                    </a:cubicBezTo>
                    <a:cubicBezTo>
                      <a:pt x="109538" y="207645"/>
                      <a:pt x="109538" y="205740"/>
                      <a:pt x="110490" y="205740"/>
                    </a:cubicBezTo>
                    <a:lnTo>
                      <a:pt x="112395" y="205740"/>
                    </a:lnTo>
                    <a:cubicBezTo>
                      <a:pt x="112395" y="204788"/>
                      <a:pt x="113348" y="203835"/>
                      <a:pt x="113348" y="203835"/>
                    </a:cubicBezTo>
                    <a:cubicBezTo>
                      <a:pt x="120968" y="199073"/>
                      <a:pt x="128588" y="195263"/>
                      <a:pt x="135255" y="191453"/>
                    </a:cubicBezTo>
                    <a:cubicBezTo>
                      <a:pt x="133350" y="191453"/>
                      <a:pt x="132398" y="193358"/>
                      <a:pt x="131445" y="192405"/>
                    </a:cubicBezTo>
                    <a:cubicBezTo>
                      <a:pt x="132398" y="192405"/>
                      <a:pt x="131445" y="190500"/>
                      <a:pt x="132398" y="190500"/>
                    </a:cubicBezTo>
                    <a:cubicBezTo>
                      <a:pt x="138113" y="188595"/>
                      <a:pt x="142875" y="185738"/>
                      <a:pt x="148590" y="183833"/>
                    </a:cubicBezTo>
                    <a:cubicBezTo>
                      <a:pt x="146685" y="183833"/>
                      <a:pt x="144780" y="185738"/>
                      <a:pt x="142875" y="183833"/>
                    </a:cubicBezTo>
                    <a:cubicBezTo>
                      <a:pt x="143827" y="182880"/>
                      <a:pt x="144780" y="181928"/>
                      <a:pt x="145733" y="181928"/>
                    </a:cubicBezTo>
                    <a:lnTo>
                      <a:pt x="145733" y="180023"/>
                    </a:lnTo>
                    <a:cubicBezTo>
                      <a:pt x="145733" y="179070"/>
                      <a:pt x="146685" y="179070"/>
                      <a:pt x="146685" y="179070"/>
                    </a:cubicBezTo>
                    <a:cubicBezTo>
                      <a:pt x="145733" y="179070"/>
                      <a:pt x="145733" y="178117"/>
                      <a:pt x="145733" y="178117"/>
                    </a:cubicBezTo>
                    <a:cubicBezTo>
                      <a:pt x="146685" y="177165"/>
                      <a:pt x="147638" y="177165"/>
                      <a:pt x="148590" y="176213"/>
                    </a:cubicBezTo>
                    <a:cubicBezTo>
                      <a:pt x="147638" y="176213"/>
                      <a:pt x="146685" y="176213"/>
                      <a:pt x="146685" y="175260"/>
                    </a:cubicBezTo>
                    <a:cubicBezTo>
                      <a:pt x="148590" y="173355"/>
                      <a:pt x="150495" y="172403"/>
                      <a:pt x="153352" y="172403"/>
                    </a:cubicBezTo>
                    <a:cubicBezTo>
                      <a:pt x="152400" y="171450"/>
                      <a:pt x="151448" y="172403"/>
                      <a:pt x="151448" y="171450"/>
                    </a:cubicBezTo>
                    <a:cubicBezTo>
                      <a:pt x="151448" y="170498"/>
                      <a:pt x="152400" y="170498"/>
                      <a:pt x="152400" y="170498"/>
                    </a:cubicBezTo>
                    <a:lnTo>
                      <a:pt x="152400" y="170498"/>
                    </a:lnTo>
                    <a:cubicBezTo>
                      <a:pt x="151448" y="169545"/>
                      <a:pt x="151448" y="168592"/>
                      <a:pt x="151448" y="168592"/>
                    </a:cubicBezTo>
                    <a:cubicBezTo>
                      <a:pt x="154305" y="164783"/>
                      <a:pt x="154305" y="160020"/>
                      <a:pt x="156210" y="156210"/>
                    </a:cubicBezTo>
                    <a:cubicBezTo>
                      <a:pt x="155258" y="156210"/>
                      <a:pt x="155258" y="156210"/>
                      <a:pt x="155258" y="155258"/>
                    </a:cubicBezTo>
                    <a:cubicBezTo>
                      <a:pt x="150495" y="160973"/>
                      <a:pt x="141923" y="162878"/>
                      <a:pt x="134302" y="164783"/>
                    </a:cubicBezTo>
                    <a:lnTo>
                      <a:pt x="131445" y="164783"/>
                    </a:lnTo>
                    <a:cubicBezTo>
                      <a:pt x="128588" y="165735"/>
                      <a:pt x="125730" y="165735"/>
                      <a:pt x="122873" y="163830"/>
                    </a:cubicBezTo>
                    <a:cubicBezTo>
                      <a:pt x="120968" y="162878"/>
                      <a:pt x="120015" y="160973"/>
                      <a:pt x="118110" y="160020"/>
                    </a:cubicBezTo>
                    <a:cubicBezTo>
                      <a:pt x="114300" y="157163"/>
                      <a:pt x="109538" y="155258"/>
                      <a:pt x="105727" y="154305"/>
                    </a:cubicBezTo>
                    <a:cubicBezTo>
                      <a:pt x="93345" y="150495"/>
                      <a:pt x="80010" y="148590"/>
                      <a:pt x="66675" y="148590"/>
                    </a:cubicBezTo>
                    <a:cubicBezTo>
                      <a:pt x="72390" y="145733"/>
                      <a:pt x="78105" y="145733"/>
                      <a:pt x="84773" y="143828"/>
                    </a:cubicBezTo>
                    <a:cubicBezTo>
                      <a:pt x="93345" y="140970"/>
                      <a:pt x="101918" y="138113"/>
                      <a:pt x="110490" y="139065"/>
                    </a:cubicBezTo>
                    <a:cubicBezTo>
                      <a:pt x="108585" y="138113"/>
                      <a:pt x="106680" y="139065"/>
                      <a:pt x="105727" y="139065"/>
                    </a:cubicBezTo>
                    <a:cubicBezTo>
                      <a:pt x="98107" y="138113"/>
                      <a:pt x="91440" y="140970"/>
                      <a:pt x="83820" y="141923"/>
                    </a:cubicBezTo>
                    <a:cubicBezTo>
                      <a:pt x="79057" y="142875"/>
                      <a:pt x="74295" y="144780"/>
                      <a:pt x="68580" y="145733"/>
                    </a:cubicBezTo>
                    <a:cubicBezTo>
                      <a:pt x="65723" y="146685"/>
                      <a:pt x="63818" y="149542"/>
                      <a:pt x="60007" y="149542"/>
                    </a:cubicBezTo>
                    <a:lnTo>
                      <a:pt x="60007" y="147638"/>
                    </a:lnTo>
                    <a:cubicBezTo>
                      <a:pt x="64770" y="141923"/>
                      <a:pt x="71438" y="135255"/>
                      <a:pt x="79057" y="135255"/>
                    </a:cubicBezTo>
                    <a:cubicBezTo>
                      <a:pt x="88582" y="133350"/>
                      <a:pt x="97155" y="135255"/>
                      <a:pt x="105727" y="136208"/>
                    </a:cubicBezTo>
                    <a:cubicBezTo>
                      <a:pt x="112395" y="137160"/>
                      <a:pt x="118110" y="138113"/>
                      <a:pt x="124777" y="140017"/>
                    </a:cubicBezTo>
                    <a:cubicBezTo>
                      <a:pt x="127635" y="140017"/>
                      <a:pt x="127635" y="143828"/>
                      <a:pt x="129540" y="144780"/>
                    </a:cubicBezTo>
                    <a:cubicBezTo>
                      <a:pt x="132398" y="145733"/>
                      <a:pt x="135255" y="144780"/>
                      <a:pt x="139065" y="146685"/>
                    </a:cubicBezTo>
                    <a:cubicBezTo>
                      <a:pt x="139065" y="145733"/>
                      <a:pt x="138113" y="144780"/>
                      <a:pt x="139065" y="143828"/>
                    </a:cubicBezTo>
                    <a:cubicBezTo>
                      <a:pt x="140970" y="141923"/>
                      <a:pt x="143827" y="144780"/>
                      <a:pt x="145733" y="142875"/>
                    </a:cubicBezTo>
                    <a:cubicBezTo>
                      <a:pt x="149543" y="140017"/>
                      <a:pt x="141923" y="136208"/>
                      <a:pt x="140018" y="132398"/>
                    </a:cubicBezTo>
                    <a:cubicBezTo>
                      <a:pt x="140018" y="131445"/>
                      <a:pt x="140970" y="131445"/>
                      <a:pt x="140970" y="131445"/>
                    </a:cubicBezTo>
                    <a:cubicBezTo>
                      <a:pt x="144780" y="135255"/>
                      <a:pt x="147638" y="139065"/>
                      <a:pt x="153352" y="141923"/>
                    </a:cubicBezTo>
                    <a:cubicBezTo>
                      <a:pt x="156210" y="142875"/>
                      <a:pt x="161925" y="144780"/>
                      <a:pt x="160973" y="140970"/>
                    </a:cubicBezTo>
                    <a:cubicBezTo>
                      <a:pt x="158115" y="135255"/>
                      <a:pt x="153352" y="130492"/>
                      <a:pt x="149543" y="125730"/>
                    </a:cubicBezTo>
                    <a:lnTo>
                      <a:pt x="149543" y="123825"/>
                    </a:lnTo>
                    <a:cubicBezTo>
                      <a:pt x="148590" y="123825"/>
                      <a:pt x="148590" y="122873"/>
                      <a:pt x="147638" y="122873"/>
                    </a:cubicBezTo>
                    <a:lnTo>
                      <a:pt x="147638" y="120015"/>
                    </a:lnTo>
                    <a:cubicBezTo>
                      <a:pt x="145733" y="119063"/>
                      <a:pt x="145733" y="117158"/>
                      <a:pt x="144780" y="115253"/>
                    </a:cubicBezTo>
                    <a:cubicBezTo>
                      <a:pt x="142875" y="112395"/>
                      <a:pt x="143827" y="109538"/>
                      <a:pt x="142875" y="105728"/>
                    </a:cubicBezTo>
                    <a:cubicBezTo>
                      <a:pt x="142875" y="103823"/>
                      <a:pt x="142875" y="100965"/>
                      <a:pt x="141923" y="98108"/>
                    </a:cubicBezTo>
                    <a:cubicBezTo>
                      <a:pt x="140018" y="89535"/>
                      <a:pt x="138113" y="81915"/>
                      <a:pt x="137160" y="73342"/>
                    </a:cubicBezTo>
                    <a:cubicBezTo>
                      <a:pt x="136208" y="63817"/>
                      <a:pt x="142875" y="56197"/>
                      <a:pt x="147638" y="47625"/>
                    </a:cubicBezTo>
                    <a:cubicBezTo>
                      <a:pt x="151448" y="41910"/>
                      <a:pt x="155258" y="35242"/>
                      <a:pt x="161925" y="31433"/>
                    </a:cubicBezTo>
                    <a:cubicBezTo>
                      <a:pt x="163830" y="25718"/>
                      <a:pt x="167640" y="20003"/>
                      <a:pt x="171450" y="15240"/>
                    </a:cubicBezTo>
                    <a:cubicBezTo>
                      <a:pt x="175260" y="10478"/>
                      <a:pt x="181927" y="7620"/>
                      <a:pt x="187643" y="4763"/>
                    </a:cubicBezTo>
                    <a:cubicBezTo>
                      <a:pt x="194310" y="1905"/>
                      <a:pt x="200977" y="0"/>
                      <a:pt x="200977" y="0"/>
                    </a:cubicBezTo>
                    <a:lnTo>
                      <a:pt x="302895" y="0"/>
                    </a:lnTo>
                    <a:cubicBezTo>
                      <a:pt x="302895" y="0"/>
                      <a:pt x="303848" y="0"/>
                      <a:pt x="305753" y="953"/>
                    </a:cubicBezTo>
                    <a:cubicBezTo>
                      <a:pt x="307658" y="1905"/>
                      <a:pt x="311467" y="3810"/>
                      <a:pt x="313373" y="4763"/>
                    </a:cubicBezTo>
                    <a:cubicBezTo>
                      <a:pt x="317183" y="6668"/>
                      <a:pt x="320992" y="9525"/>
                      <a:pt x="322898" y="13335"/>
                    </a:cubicBezTo>
                    <a:cubicBezTo>
                      <a:pt x="323850" y="15240"/>
                      <a:pt x="325755" y="18097"/>
                      <a:pt x="324803" y="20003"/>
                    </a:cubicBezTo>
                    <a:cubicBezTo>
                      <a:pt x="323850" y="22860"/>
                      <a:pt x="322898" y="26670"/>
                      <a:pt x="320992" y="27622"/>
                    </a:cubicBezTo>
                    <a:cubicBezTo>
                      <a:pt x="318135" y="29528"/>
                      <a:pt x="314325" y="29528"/>
                      <a:pt x="310515" y="28575"/>
                    </a:cubicBezTo>
                    <a:cubicBezTo>
                      <a:pt x="308610" y="28575"/>
                      <a:pt x="306705" y="27622"/>
                      <a:pt x="304800" y="27622"/>
                    </a:cubicBezTo>
                    <a:cubicBezTo>
                      <a:pt x="312420" y="30480"/>
                      <a:pt x="320040" y="34290"/>
                      <a:pt x="324803" y="40958"/>
                    </a:cubicBezTo>
                    <a:cubicBezTo>
                      <a:pt x="325755" y="41910"/>
                      <a:pt x="327660" y="42863"/>
                      <a:pt x="329565" y="42863"/>
                    </a:cubicBezTo>
                    <a:cubicBezTo>
                      <a:pt x="330517" y="42863"/>
                      <a:pt x="330517" y="43815"/>
                      <a:pt x="330517" y="44767"/>
                    </a:cubicBezTo>
                    <a:cubicBezTo>
                      <a:pt x="329565" y="45720"/>
                      <a:pt x="328613" y="46672"/>
                      <a:pt x="328613" y="47625"/>
                    </a:cubicBezTo>
                    <a:lnTo>
                      <a:pt x="330517" y="47625"/>
                    </a:lnTo>
                    <a:cubicBezTo>
                      <a:pt x="333375" y="46672"/>
                      <a:pt x="332423" y="41910"/>
                      <a:pt x="336233" y="42863"/>
                    </a:cubicBezTo>
                    <a:cubicBezTo>
                      <a:pt x="339090" y="44767"/>
                      <a:pt x="340042" y="47625"/>
                      <a:pt x="338138" y="50483"/>
                    </a:cubicBezTo>
                    <a:cubicBezTo>
                      <a:pt x="336233" y="52388"/>
                      <a:pt x="334328" y="54292"/>
                      <a:pt x="332423" y="55245"/>
                    </a:cubicBezTo>
                    <a:cubicBezTo>
                      <a:pt x="331470" y="56197"/>
                      <a:pt x="331470" y="58103"/>
                      <a:pt x="332423" y="59055"/>
                    </a:cubicBezTo>
                    <a:cubicBezTo>
                      <a:pt x="334328" y="60960"/>
                      <a:pt x="334328" y="62865"/>
                      <a:pt x="335280" y="64770"/>
                    </a:cubicBezTo>
                    <a:cubicBezTo>
                      <a:pt x="337185" y="68580"/>
                      <a:pt x="337185" y="72390"/>
                      <a:pt x="339090" y="76200"/>
                    </a:cubicBezTo>
                    <a:cubicBezTo>
                      <a:pt x="340995" y="83820"/>
                      <a:pt x="342900" y="91440"/>
                      <a:pt x="342900" y="99060"/>
                    </a:cubicBezTo>
                    <a:cubicBezTo>
                      <a:pt x="342900" y="102870"/>
                      <a:pt x="340995" y="106680"/>
                      <a:pt x="341948" y="110490"/>
                    </a:cubicBezTo>
                    <a:cubicBezTo>
                      <a:pt x="342900" y="114300"/>
                      <a:pt x="345758" y="118110"/>
                      <a:pt x="347663" y="120967"/>
                    </a:cubicBezTo>
                    <a:cubicBezTo>
                      <a:pt x="349567" y="123825"/>
                      <a:pt x="351473" y="125730"/>
                      <a:pt x="353378" y="129540"/>
                    </a:cubicBezTo>
                    <a:cubicBezTo>
                      <a:pt x="356235" y="134303"/>
                      <a:pt x="361950" y="140017"/>
                      <a:pt x="359092" y="145733"/>
                    </a:cubicBezTo>
                    <a:cubicBezTo>
                      <a:pt x="357188" y="149542"/>
                      <a:pt x="351473" y="148590"/>
                      <a:pt x="348615" y="150495"/>
                    </a:cubicBezTo>
                    <a:cubicBezTo>
                      <a:pt x="345758" y="153353"/>
                      <a:pt x="347663" y="157163"/>
                      <a:pt x="349567" y="160020"/>
                    </a:cubicBezTo>
                    <a:cubicBezTo>
                      <a:pt x="352425" y="164783"/>
                      <a:pt x="346710" y="167640"/>
                      <a:pt x="342900" y="169545"/>
                    </a:cubicBezTo>
                    <a:cubicBezTo>
                      <a:pt x="343853" y="171450"/>
                      <a:pt x="345758" y="170498"/>
                      <a:pt x="346710" y="171450"/>
                    </a:cubicBezTo>
                    <a:cubicBezTo>
                      <a:pt x="347663" y="174308"/>
                      <a:pt x="349567" y="175260"/>
                      <a:pt x="348615" y="178117"/>
                    </a:cubicBezTo>
                    <a:cubicBezTo>
                      <a:pt x="346710" y="180975"/>
                      <a:pt x="340042" y="182880"/>
                      <a:pt x="343853" y="187642"/>
                    </a:cubicBezTo>
                    <a:cubicBezTo>
                      <a:pt x="345758" y="191453"/>
                      <a:pt x="344805" y="195263"/>
                      <a:pt x="342900" y="199073"/>
                    </a:cubicBezTo>
                    <a:cubicBezTo>
                      <a:pt x="340995" y="203835"/>
                      <a:pt x="337185" y="205740"/>
                      <a:pt x="333375" y="206692"/>
                    </a:cubicBezTo>
                    <a:cubicBezTo>
                      <a:pt x="330517" y="207645"/>
                      <a:pt x="326708" y="207645"/>
                      <a:pt x="323850" y="207645"/>
                    </a:cubicBezTo>
                    <a:cubicBezTo>
                      <a:pt x="320040" y="205740"/>
                      <a:pt x="319088" y="205740"/>
                      <a:pt x="318135" y="205740"/>
                    </a:cubicBezTo>
                    <a:cubicBezTo>
                      <a:pt x="309563" y="204788"/>
                      <a:pt x="300990" y="201930"/>
                      <a:pt x="292417" y="201930"/>
                    </a:cubicBezTo>
                    <a:cubicBezTo>
                      <a:pt x="289560" y="202883"/>
                      <a:pt x="287655" y="202883"/>
                      <a:pt x="285750" y="203835"/>
                    </a:cubicBezTo>
                    <a:cubicBezTo>
                      <a:pt x="283845" y="205740"/>
                      <a:pt x="280988" y="207645"/>
                      <a:pt x="280035" y="209550"/>
                    </a:cubicBezTo>
                    <a:cubicBezTo>
                      <a:pt x="280035" y="209550"/>
                      <a:pt x="280035" y="209550"/>
                      <a:pt x="280035" y="209550"/>
                    </a:cubicBezTo>
                    <a:cubicBezTo>
                      <a:pt x="280035" y="209550"/>
                      <a:pt x="279083" y="210503"/>
                      <a:pt x="279083" y="210503"/>
                    </a:cubicBezTo>
                    <a:cubicBezTo>
                      <a:pt x="279083" y="210503"/>
                      <a:pt x="279083" y="211455"/>
                      <a:pt x="278130" y="211455"/>
                    </a:cubicBezTo>
                    <a:cubicBezTo>
                      <a:pt x="278130" y="211455"/>
                      <a:pt x="278130" y="211455"/>
                      <a:pt x="278130" y="212408"/>
                    </a:cubicBezTo>
                    <a:cubicBezTo>
                      <a:pt x="276225" y="214313"/>
                      <a:pt x="275273" y="216217"/>
                      <a:pt x="274320" y="218123"/>
                    </a:cubicBezTo>
                    <a:cubicBezTo>
                      <a:pt x="274320" y="218123"/>
                      <a:pt x="274320" y="218123"/>
                      <a:pt x="274320" y="218123"/>
                    </a:cubicBezTo>
                    <a:cubicBezTo>
                      <a:pt x="274320" y="218123"/>
                      <a:pt x="274320" y="219075"/>
                      <a:pt x="274320" y="219075"/>
                    </a:cubicBezTo>
                    <a:cubicBezTo>
                      <a:pt x="272415" y="221933"/>
                      <a:pt x="271463" y="225742"/>
                      <a:pt x="270510" y="228600"/>
                    </a:cubicBezTo>
                    <a:cubicBezTo>
                      <a:pt x="266700" y="240030"/>
                      <a:pt x="268605" y="250508"/>
                      <a:pt x="271463" y="252413"/>
                    </a:cubicBezTo>
                    <a:cubicBezTo>
                      <a:pt x="272415" y="253365"/>
                      <a:pt x="288608" y="258128"/>
                      <a:pt x="299085" y="262890"/>
                    </a:cubicBezTo>
                    <a:cubicBezTo>
                      <a:pt x="304800" y="264795"/>
                      <a:pt x="307658" y="266700"/>
                      <a:pt x="311467" y="268605"/>
                    </a:cubicBezTo>
                    <a:lnTo>
                      <a:pt x="101918" y="268605"/>
                    </a:lnTo>
                    <a:cubicBezTo>
                      <a:pt x="111443" y="261938"/>
                      <a:pt x="120968" y="258128"/>
                      <a:pt x="135255" y="251460"/>
                    </a:cubicBezTo>
                    <a:cubicBezTo>
                      <a:pt x="138113" y="249555"/>
                      <a:pt x="153352" y="242888"/>
                      <a:pt x="158115" y="237173"/>
                    </a:cubicBezTo>
                    <a:moveTo>
                      <a:pt x="79057" y="200978"/>
                    </a:moveTo>
                    <a:cubicBezTo>
                      <a:pt x="78105" y="200978"/>
                      <a:pt x="76200" y="201930"/>
                      <a:pt x="76200" y="200025"/>
                    </a:cubicBezTo>
                    <a:cubicBezTo>
                      <a:pt x="77152" y="197167"/>
                      <a:pt x="80010" y="197167"/>
                      <a:pt x="81915" y="196215"/>
                    </a:cubicBezTo>
                    <a:cubicBezTo>
                      <a:pt x="82868" y="195263"/>
                      <a:pt x="84773" y="194310"/>
                      <a:pt x="85725" y="195263"/>
                    </a:cubicBezTo>
                    <a:cubicBezTo>
                      <a:pt x="86677" y="197167"/>
                      <a:pt x="88582" y="196215"/>
                      <a:pt x="89535" y="197167"/>
                    </a:cubicBezTo>
                    <a:cubicBezTo>
                      <a:pt x="86677" y="200978"/>
                      <a:pt x="82868" y="200025"/>
                      <a:pt x="79057" y="200978"/>
                    </a:cubicBezTo>
                    <a:moveTo>
                      <a:pt x="952" y="189548"/>
                    </a:moveTo>
                    <a:cubicBezTo>
                      <a:pt x="952" y="189548"/>
                      <a:pt x="0" y="188595"/>
                      <a:pt x="0" y="188595"/>
                    </a:cubicBezTo>
                    <a:cubicBezTo>
                      <a:pt x="6668" y="180023"/>
                      <a:pt x="11430" y="171450"/>
                      <a:pt x="16193" y="162878"/>
                    </a:cubicBezTo>
                    <a:cubicBezTo>
                      <a:pt x="22860" y="159067"/>
                      <a:pt x="28575" y="154305"/>
                      <a:pt x="33338" y="148590"/>
                    </a:cubicBezTo>
                    <a:cubicBezTo>
                      <a:pt x="41910" y="139065"/>
                      <a:pt x="51435" y="131445"/>
                      <a:pt x="61913" y="125730"/>
                    </a:cubicBezTo>
                    <a:cubicBezTo>
                      <a:pt x="65723" y="123825"/>
                      <a:pt x="71438" y="124778"/>
                      <a:pt x="75248" y="126683"/>
                    </a:cubicBezTo>
                    <a:cubicBezTo>
                      <a:pt x="73343" y="128588"/>
                      <a:pt x="71438" y="128588"/>
                      <a:pt x="69532" y="129540"/>
                    </a:cubicBezTo>
                    <a:cubicBezTo>
                      <a:pt x="68580" y="129540"/>
                      <a:pt x="68580" y="129540"/>
                      <a:pt x="67627" y="128588"/>
                    </a:cubicBezTo>
                    <a:cubicBezTo>
                      <a:pt x="68580" y="127635"/>
                      <a:pt x="68580" y="127635"/>
                      <a:pt x="68580" y="126683"/>
                    </a:cubicBezTo>
                    <a:cubicBezTo>
                      <a:pt x="63818" y="132398"/>
                      <a:pt x="56198" y="135255"/>
                      <a:pt x="52388" y="141923"/>
                    </a:cubicBezTo>
                    <a:cubicBezTo>
                      <a:pt x="49530" y="146685"/>
                      <a:pt x="47625" y="153353"/>
                      <a:pt x="40957" y="155258"/>
                    </a:cubicBezTo>
                    <a:cubicBezTo>
                      <a:pt x="39052" y="156210"/>
                      <a:pt x="41910" y="153353"/>
                      <a:pt x="40005" y="154305"/>
                    </a:cubicBezTo>
                    <a:cubicBezTo>
                      <a:pt x="24765" y="164783"/>
                      <a:pt x="13335" y="176213"/>
                      <a:pt x="952" y="189548"/>
                    </a:cubicBezTo>
                    <a:moveTo>
                      <a:pt x="43815" y="156210"/>
                    </a:moveTo>
                    <a:cubicBezTo>
                      <a:pt x="42863" y="157163"/>
                      <a:pt x="42863" y="157163"/>
                      <a:pt x="41910" y="158115"/>
                    </a:cubicBezTo>
                    <a:cubicBezTo>
                      <a:pt x="40957" y="159067"/>
                      <a:pt x="40957" y="160020"/>
                      <a:pt x="40005" y="160020"/>
                    </a:cubicBezTo>
                    <a:cubicBezTo>
                      <a:pt x="39052" y="160020"/>
                      <a:pt x="39052" y="160020"/>
                      <a:pt x="39052" y="159067"/>
                    </a:cubicBezTo>
                    <a:cubicBezTo>
                      <a:pt x="40005" y="157163"/>
                      <a:pt x="40957" y="155258"/>
                      <a:pt x="42863" y="154305"/>
                    </a:cubicBezTo>
                    <a:cubicBezTo>
                      <a:pt x="43815" y="155258"/>
                      <a:pt x="43815" y="155258"/>
                      <a:pt x="43815" y="156210"/>
                    </a:cubicBezTo>
                    <a:moveTo>
                      <a:pt x="67627" y="232410"/>
                    </a:moveTo>
                    <a:cubicBezTo>
                      <a:pt x="67627" y="233363"/>
                      <a:pt x="66675" y="233363"/>
                      <a:pt x="66675" y="234315"/>
                    </a:cubicBezTo>
                    <a:cubicBezTo>
                      <a:pt x="67627" y="234315"/>
                      <a:pt x="67627" y="234315"/>
                      <a:pt x="67627" y="235267"/>
                    </a:cubicBezTo>
                    <a:cubicBezTo>
                      <a:pt x="66675" y="236220"/>
                      <a:pt x="65723" y="237173"/>
                      <a:pt x="63818" y="238125"/>
                    </a:cubicBezTo>
                    <a:cubicBezTo>
                      <a:pt x="63818" y="238125"/>
                      <a:pt x="63818" y="238125"/>
                      <a:pt x="62865" y="238125"/>
                    </a:cubicBezTo>
                    <a:cubicBezTo>
                      <a:pt x="61913" y="239078"/>
                      <a:pt x="61913" y="239078"/>
                      <a:pt x="60960" y="240030"/>
                    </a:cubicBezTo>
                    <a:cubicBezTo>
                      <a:pt x="60007" y="240983"/>
                      <a:pt x="57150" y="240030"/>
                      <a:pt x="58102" y="239078"/>
                    </a:cubicBezTo>
                    <a:cubicBezTo>
                      <a:pt x="59055" y="238125"/>
                      <a:pt x="60960" y="236220"/>
                      <a:pt x="61913" y="235267"/>
                    </a:cubicBezTo>
                    <a:cubicBezTo>
                      <a:pt x="62865" y="234315"/>
                      <a:pt x="63818" y="234315"/>
                      <a:pt x="63818" y="233363"/>
                    </a:cubicBezTo>
                    <a:cubicBezTo>
                      <a:pt x="63818" y="233363"/>
                      <a:pt x="64770" y="232410"/>
                      <a:pt x="64770" y="232410"/>
                    </a:cubicBezTo>
                    <a:cubicBezTo>
                      <a:pt x="64770" y="231458"/>
                      <a:pt x="67627" y="231458"/>
                      <a:pt x="67627" y="232410"/>
                    </a:cubicBezTo>
                    <a:moveTo>
                      <a:pt x="58102" y="228600"/>
                    </a:moveTo>
                    <a:cubicBezTo>
                      <a:pt x="58102" y="228600"/>
                      <a:pt x="58102" y="228600"/>
                      <a:pt x="58102" y="228600"/>
                    </a:cubicBezTo>
                    <a:cubicBezTo>
                      <a:pt x="56198" y="230505"/>
                      <a:pt x="54293" y="231458"/>
                      <a:pt x="52388" y="232410"/>
                    </a:cubicBezTo>
                    <a:cubicBezTo>
                      <a:pt x="50482" y="233363"/>
                      <a:pt x="47625" y="234315"/>
                      <a:pt x="45720" y="235267"/>
                    </a:cubicBezTo>
                    <a:cubicBezTo>
                      <a:pt x="45720" y="235267"/>
                      <a:pt x="45720" y="235267"/>
                      <a:pt x="45720" y="235267"/>
                    </a:cubicBezTo>
                    <a:cubicBezTo>
                      <a:pt x="45720" y="235267"/>
                      <a:pt x="44768" y="235267"/>
                      <a:pt x="44768" y="235267"/>
                    </a:cubicBezTo>
                    <a:cubicBezTo>
                      <a:pt x="42863" y="236220"/>
                      <a:pt x="40957" y="238125"/>
                      <a:pt x="40005" y="239078"/>
                    </a:cubicBezTo>
                    <a:cubicBezTo>
                      <a:pt x="40005" y="239078"/>
                      <a:pt x="40005" y="239078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7148" y="241935"/>
                      <a:pt x="37148" y="241935"/>
                    </a:cubicBezTo>
                    <a:cubicBezTo>
                      <a:pt x="37148" y="241935"/>
                      <a:pt x="37148" y="242888"/>
                      <a:pt x="36195" y="242888"/>
                    </a:cubicBezTo>
                    <a:cubicBezTo>
                      <a:pt x="36195" y="242888"/>
                      <a:pt x="35243" y="242888"/>
                      <a:pt x="35243" y="242888"/>
                    </a:cubicBezTo>
                    <a:cubicBezTo>
                      <a:pt x="35243" y="242888"/>
                      <a:pt x="35243" y="242888"/>
                      <a:pt x="35243" y="242888"/>
                    </a:cubicBezTo>
                    <a:cubicBezTo>
                      <a:pt x="35243" y="242888"/>
                      <a:pt x="34290" y="242888"/>
                      <a:pt x="34290" y="242888"/>
                    </a:cubicBezTo>
                    <a:cubicBezTo>
                      <a:pt x="34290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2385" y="243840"/>
                      <a:pt x="32385" y="243840"/>
                      <a:pt x="31432" y="244792"/>
                    </a:cubicBezTo>
                    <a:cubicBezTo>
                      <a:pt x="30480" y="245745"/>
                      <a:pt x="29527" y="246698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8603"/>
                    </a:cubicBezTo>
                    <a:lnTo>
                      <a:pt x="28575" y="248603"/>
                    </a:ln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7650"/>
                      <a:pt x="28575" y="247650"/>
                    </a:cubicBezTo>
                    <a:lnTo>
                      <a:pt x="28575" y="247650"/>
                    </a:ln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9527" y="246698"/>
                      <a:pt x="29527" y="246698"/>
                      <a:pt x="30480" y="245745"/>
                    </a:cubicBezTo>
                    <a:cubicBezTo>
                      <a:pt x="30480" y="245745"/>
                      <a:pt x="30480" y="245745"/>
                      <a:pt x="30480" y="245745"/>
                    </a:cubicBezTo>
                    <a:cubicBezTo>
                      <a:pt x="30480" y="245745"/>
                      <a:pt x="30480" y="245745"/>
                      <a:pt x="31432" y="244792"/>
                    </a:cubicBezTo>
                    <a:cubicBezTo>
                      <a:pt x="31432" y="244792"/>
                      <a:pt x="32385" y="243840"/>
                      <a:pt x="32385" y="243840"/>
                    </a:cubicBezTo>
                    <a:cubicBezTo>
                      <a:pt x="32385" y="243840"/>
                      <a:pt x="32385" y="243840"/>
                      <a:pt x="32385" y="243840"/>
                    </a:cubicBezTo>
                    <a:cubicBezTo>
                      <a:pt x="33338" y="242888"/>
                      <a:pt x="33338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5243" y="240983"/>
                      <a:pt x="35243" y="240983"/>
                    </a:cubicBezTo>
                    <a:cubicBezTo>
                      <a:pt x="35243" y="240983"/>
                      <a:pt x="35243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8125"/>
                    </a:cubicBezTo>
                    <a:cubicBezTo>
                      <a:pt x="37148" y="238125"/>
                      <a:pt x="37148" y="238125"/>
                      <a:pt x="37148" y="238125"/>
                    </a:cubicBezTo>
                    <a:cubicBezTo>
                      <a:pt x="37148" y="238125"/>
                      <a:pt x="37148" y="237173"/>
                      <a:pt x="37148" y="237173"/>
                    </a:cubicBezTo>
                    <a:cubicBezTo>
                      <a:pt x="37148" y="237173"/>
                      <a:pt x="37148" y="237173"/>
                      <a:pt x="37148" y="237173"/>
                    </a:cubicBezTo>
                    <a:cubicBezTo>
                      <a:pt x="38100" y="236220"/>
                      <a:pt x="38100" y="235267"/>
                      <a:pt x="39052" y="234315"/>
                    </a:cubicBezTo>
                    <a:cubicBezTo>
                      <a:pt x="39052" y="234315"/>
                      <a:pt x="39052" y="234315"/>
                      <a:pt x="39052" y="234315"/>
                    </a:cubicBezTo>
                    <a:cubicBezTo>
                      <a:pt x="38100" y="234315"/>
                      <a:pt x="38100" y="235267"/>
                      <a:pt x="37148" y="236220"/>
                    </a:cubicBezTo>
                    <a:cubicBezTo>
                      <a:pt x="36195" y="236220"/>
                      <a:pt x="35243" y="236220"/>
                      <a:pt x="36195" y="235267"/>
                    </a:cubicBezTo>
                    <a:cubicBezTo>
                      <a:pt x="36195" y="235267"/>
                      <a:pt x="37148" y="234315"/>
                      <a:pt x="37148" y="234315"/>
                    </a:cubicBezTo>
                    <a:cubicBezTo>
                      <a:pt x="37148" y="234315"/>
                      <a:pt x="37148" y="234315"/>
                      <a:pt x="37148" y="234315"/>
                    </a:cubicBezTo>
                    <a:cubicBezTo>
                      <a:pt x="38100" y="233363"/>
                      <a:pt x="39052" y="232410"/>
                      <a:pt x="40005" y="231458"/>
                    </a:cubicBezTo>
                    <a:cubicBezTo>
                      <a:pt x="40957" y="231458"/>
                      <a:pt x="40957" y="230505"/>
                      <a:pt x="41910" y="230505"/>
                    </a:cubicBezTo>
                    <a:cubicBezTo>
                      <a:pt x="41910" y="230505"/>
                      <a:pt x="41910" y="230505"/>
                      <a:pt x="41910" y="230505"/>
                    </a:cubicBezTo>
                    <a:cubicBezTo>
                      <a:pt x="41910" y="230505"/>
                      <a:pt x="42863" y="229553"/>
                      <a:pt x="42863" y="229553"/>
                    </a:cubicBezTo>
                    <a:cubicBezTo>
                      <a:pt x="42863" y="229553"/>
                      <a:pt x="42863" y="229553"/>
                      <a:pt x="42863" y="229553"/>
                    </a:cubicBezTo>
                    <a:cubicBezTo>
                      <a:pt x="47625" y="224790"/>
                      <a:pt x="56198" y="224790"/>
                      <a:pt x="62865" y="221933"/>
                    </a:cubicBezTo>
                    <a:cubicBezTo>
                      <a:pt x="65723" y="220980"/>
                      <a:pt x="68580" y="222885"/>
                      <a:pt x="71438" y="221933"/>
                    </a:cubicBezTo>
                    <a:cubicBezTo>
                      <a:pt x="73343" y="221933"/>
                      <a:pt x="74295" y="221933"/>
                      <a:pt x="76200" y="222885"/>
                    </a:cubicBezTo>
                    <a:cubicBezTo>
                      <a:pt x="66675" y="222885"/>
                      <a:pt x="62865" y="225742"/>
                      <a:pt x="58102" y="228600"/>
                    </a:cubicBezTo>
                    <a:moveTo>
                      <a:pt x="68580" y="193358"/>
                    </a:moveTo>
                    <a:cubicBezTo>
                      <a:pt x="67627" y="192405"/>
                      <a:pt x="70485" y="193358"/>
                      <a:pt x="70485" y="192405"/>
                    </a:cubicBezTo>
                    <a:lnTo>
                      <a:pt x="66675" y="192405"/>
                    </a:lnTo>
                    <a:cubicBezTo>
                      <a:pt x="65723" y="192405"/>
                      <a:pt x="65723" y="191453"/>
                      <a:pt x="65723" y="191453"/>
                    </a:cubicBezTo>
                    <a:cubicBezTo>
                      <a:pt x="62865" y="192405"/>
                      <a:pt x="60007" y="193358"/>
                      <a:pt x="57150" y="193358"/>
                    </a:cubicBezTo>
                    <a:cubicBezTo>
                      <a:pt x="53340" y="194310"/>
                      <a:pt x="50482" y="197167"/>
                      <a:pt x="46673" y="198120"/>
                    </a:cubicBezTo>
                    <a:cubicBezTo>
                      <a:pt x="40957" y="200025"/>
                      <a:pt x="36195" y="204788"/>
                      <a:pt x="30480" y="206692"/>
                    </a:cubicBezTo>
                    <a:cubicBezTo>
                      <a:pt x="29527" y="206692"/>
                      <a:pt x="29527" y="205740"/>
                      <a:pt x="29527" y="205740"/>
                    </a:cubicBezTo>
                    <a:cubicBezTo>
                      <a:pt x="30480" y="203835"/>
                      <a:pt x="32385" y="203835"/>
                      <a:pt x="33338" y="201930"/>
                    </a:cubicBezTo>
                    <a:cubicBezTo>
                      <a:pt x="33338" y="200978"/>
                      <a:pt x="33338" y="200978"/>
                      <a:pt x="32385" y="200978"/>
                    </a:cubicBezTo>
                    <a:cubicBezTo>
                      <a:pt x="36195" y="195263"/>
                      <a:pt x="41910" y="192405"/>
                      <a:pt x="47625" y="187642"/>
                    </a:cubicBezTo>
                    <a:lnTo>
                      <a:pt x="47625" y="185738"/>
                    </a:lnTo>
                    <a:cubicBezTo>
                      <a:pt x="49530" y="183833"/>
                      <a:pt x="51435" y="182880"/>
                      <a:pt x="52388" y="180023"/>
                    </a:cubicBezTo>
                    <a:cubicBezTo>
                      <a:pt x="53340" y="178117"/>
                      <a:pt x="55245" y="176213"/>
                      <a:pt x="57150" y="175260"/>
                    </a:cubicBezTo>
                    <a:cubicBezTo>
                      <a:pt x="56198" y="174308"/>
                      <a:pt x="55245" y="174308"/>
                      <a:pt x="55245" y="173355"/>
                    </a:cubicBezTo>
                    <a:cubicBezTo>
                      <a:pt x="53340" y="173355"/>
                      <a:pt x="51435" y="174308"/>
                      <a:pt x="49530" y="172403"/>
                    </a:cubicBezTo>
                    <a:cubicBezTo>
                      <a:pt x="50482" y="171450"/>
                      <a:pt x="51435" y="170498"/>
                      <a:pt x="52388" y="170498"/>
                    </a:cubicBezTo>
                    <a:cubicBezTo>
                      <a:pt x="52388" y="170498"/>
                      <a:pt x="51435" y="170498"/>
                      <a:pt x="51435" y="169545"/>
                    </a:cubicBezTo>
                    <a:cubicBezTo>
                      <a:pt x="50482" y="168592"/>
                      <a:pt x="52388" y="167640"/>
                      <a:pt x="54293" y="166688"/>
                    </a:cubicBezTo>
                    <a:cubicBezTo>
                      <a:pt x="56198" y="165735"/>
                      <a:pt x="59055" y="165735"/>
                      <a:pt x="60007" y="164783"/>
                    </a:cubicBezTo>
                    <a:cubicBezTo>
                      <a:pt x="56198" y="163830"/>
                      <a:pt x="52388" y="165735"/>
                      <a:pt x="48577" y="163830"/>
                    </a:cubicBezTo>
                    <a:cubicBezTo>
                      <a:pt x="51435" y="157163"/>
                      <a:pt x="55245" y="151448"/>
                      <a:pt x="60960" y="148590"/>
                    </a:cubicBezTo>
                    <a:cubicBezTo>
                      <a:pt x="61913" y="148590"/>
                      <a:pt x="62865" y="148590"/>
                      <a:pt x="62865" y="149542"/>
                    </a:cubicBezTo>
                    <a:cubicBezTo>
                      <a:pt x="62865" y="152400"/>
                      <a:pt x="60960" y="154305"/>
                      <a:pt x="59055" y="154305"/>
                    </a:cubicBezTo>
                    <a:cubicBezTo>
                      <a:pt x="62865" y="155258"/>
                      <a:pt x="67627" y="155258"/>
                      <a:pt x="71438" y="157163"/>
                    </a:cubicBezTo>
                    <a:cubicBezTo>
                      <a:pt x="70485" y="158115"/>
                      <a:pt x="69532" y="158115"/>
                      <a:pt x="69532" y="158115"/>
                    </a:cubicBezTo>
                    <a:cubicBezTo>
                      <a:pt x="72390" y="160020"/>
                      <a:pt x="75248" y="159067"/>
                      <a:pt x="78105" y="160973"/>
                    </a:cubicBezTo>
                    <a:cubicBezTo>
                      <a:pt x="76200" y="162878"/>
                      <a:pt x="75248" y="160973"/>
                      <a:pt x="73343" y="160973"/>
                    </a:cubicBezTo>
                    <a:cubicBezTo>
                      <a:pt x="89535" y="165735"/>
                      <a:pt x="105727" y="169545"/>
                      <a:pt x="119063" y="179070"/>
                    </a:cubicBezTo>
                    <a:cubicBezTo>
                      <a:pt x="107632" y="184785"/>
                      <a:pt x="96202" y="187642"/>
                      <a:pt x="83820" y="189548"/>
                    </a:cubicBezTo>
                    <a:cubicBezTo>
                      <a:pt x="81915" y="189548"/>
                      <a:pt x="80963" y="189548"/>
                      <a:pt x="80010" y="188595"/>
                    </a:cubicBezTo>
                    <a:cubicBezTo>
                      <a:pt x="80010" y="189548"/>
                      <a:pt x="80010" y="190500"/>
                      <a:pt x="79057" y="190500"/>
                    </a:cubicBezTo>
                    <a:cubicBezTo>
                      <a:pt x="77152" y="190500"/>
                      <a:pt x="75248" y="190500"/>
                      <a:pt x="74295" y="191453"/>
                    </a:cubicBezTo>
                    <a:cubicBezTo>
                      <a:pt x="73343" y="194310"/>
                      <a:pt x="70485" y="194310"/>
                      <a:pt x="68580" y="193358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6" name="Forme libre : forme 15">
                <a:extLst>
                  <a:ext uri="{FF2B5EF4-FFF2-40B4-BE49-F238E27FC236}">
                    <a16:creationId xmlns:a16="http://schemas.microsoft.com/office/drawing/2014/main" id="{D8D3202E-8F82-4420-97EA-F8CC611573DC}"/>
                  </a:ext>
                </a:extLst>
              </p:cNvPr>
              <p:cNvSpPr/>
              <p:nvPr/>
            </p:nvSpPr>
            <p:spPr>
              <a:xfrm>
                <a:off x="270509" y="270509"/>
                <a:ext cx="349567" cy="269557"/>
              </a:xfrm>
              <a:custGeom>
                <a:avLst/>
                <a:gdLst>
                  <a:gd name="connsiteX0" fmla="*/ 306705 w 349567"/>
                  <a:gd name="connsiteY0" fmla="*/ 237173 h 269557"/>
                  <a:gd name="connsiteX1" fmla="*/ 315278 w 349567"/>
                  <a:gd name="connsiteY1" fmla="*/ 227648 h 269557"/>
                  <a:gd name="connsiteX2" fmla="*/ 315278 w 349567"/>
                  <a:gd name="connsiteY2" fmla="*/ 227648 h 269557"/>
                  <a:gd name="connsiteX3" fmla="*/ 332423 w 349567"/>
                  <a:gd name="connsiteY3" fmla="*/ 210503 h 269557"/>
                  <a:gd name="connsiteX4" fmla="*/ 338138 w 349567"/>
                  <a:gd name="connsiteY4" fmla="*/ 205740 h 269557"/>
                  <a:gd name="connsiteX5" fmla="*/ 339090 w 349567"/>
                  <a:gd name="connsiteY5" fmla="*/ 203835 h 269557"/>
                  <a:gd name="connsiteX6" fmla="*/ 332423 w 349567"/>
                  <a:gd name="connsiteY6" fmla="*/ 207645 h 269557"/>
                  <a:gd name="connsiteX7" fmla="*/ 331470 w 349567"/>
                  <a:gd name="connsiteY7" fmla="*/ 206692 h 269557"/>
                  <a:gd name="connsiteX8" fmla="*/ 337185 w 349567"/>
                  <a:gd name="connsiteY8" fmla="*/ 202883 h 269557"/>
                  <a:gd name="connsiteX9" fmla="*/ 337185 w 349567"/>
                  <a:gd name="connsiteY9" fmla="*/ 202883 h 269557"/>
                  <a:gd name="connsiteX10" fmla="*/ 336233 w 349567"/>
                  <a:gd name="connsiteY10" fmla="*/ 201930 h 269557"/>
                  <a:gd name="connsiteX11" fmla="*/ 320040 w 349567"/>
                  <a:gd name="connsiteY11" fmla="*/ 210503 h 269557"/>
                  <a:gd name="connsiteX12" fmla="*/ 317183 w 349567"/>
                  <a:gd name="connsiteY12" fmla="*/ 209550 h 269557"/>
                  <a:gd name="connsiteX13" fmla="*/ 296228 w 349567"/>
                  <a:gd name="connsiteY13" fmla="*/ 221933 h 269557"/>
                  <a:gd name="connsiteX14" fmla="*/ 296228 w 349567"/>
                  <a:gd name="connsiteY14" fmla="*/ 220980 h 269557"/>
                  <a:gd name="connsiteX15" fmla="*/ 286703 w 349567"/>
                  <a:gd name="connsiteY15" fmla="*/ 224790 h 269557"/>
                  <a:gd name="connsiteX16" fmla="*/ 274320 w 349567"/>
                  <a:gd name="connsiteY16" fmla="*/ 225742 h 269557"/>
                  <a:gd name="connsiteX17" fmla="*/ 256223 w 349567"/>
                  <a:gd name="connsiteY17" fmla="*/ 228600 h 269557"/>
                  <a:gd name="connsiteX18" fmla="*/ 255270 w 349567"/>
                  <a:gd name="connsiteY18" fmla="*/ 228600 h 269557"/>
                  <a:gd name="connsiteX19" fmla="*/ 245745 w 349567"/>
                  <a:gd name="connsiteY19" fmla="*/ 232410 h 269557"/>
                  <a:gd name="connsiteX20" fmla="*/ 245745 w 349567"/>
                  <a:gd name="connsiteY20" fmla="*/ 232410 h 269557"/>
                  <a:gd name="connsiteX21" fmla="*/ 244792 w 349567"/>
                  <a:gd name="connsiteY21" fmla="*/ 233363 h 269557"/>
                  <a:gd name="connsiteX22" fmla="*/ 240983 w 349567"/>
                  <a:gd name="connsiteY22" fmla="*/ 236220 h 269557"/>
                  <a:gd name="connsiteX23" fmla="*/ 232410 w 349567"/>
                  <a:gd name="connsiteY23" fmla="*/ 242888 h 269557"/>
                  <a:gd name="connsiteX24" fmla="*/ 231458 w 349567"/>
                  <a:gd name="connsiteY24" fmla="*/ 242888 h 269557"/>
                  <a:gd name="connsiteX25" fmla="*/ 222885 w 349567"/>
                  <a:gd name="connsiteY25" fmla="*/ 250508 h 269557"/>
                  <a:gd name="connsiteX26" fmla="*/ 220980 w 349567"/>
                  <a:gd name="connsiteY26" fmla="*/ 250508 h 269557"/>
                  <a:gd name="connsiteX27" fmla="*/ 220980 w 349567"/>
                  <a:gd name="connsiteY27" fmla="*/ 250508 h 269557"/>
                  <a:gd name="connsiteX28" fmla="*/ 220980 w 349567"/>
                  <a:gd name="connsiteY28" fmla="*/ 249555 h 269557"/>
                  <a:gd name="connsiteX29" fmla="*/ 221933 w 349567"/>
                  <a:gd name="connsiteY29" fmla="*/ 247650 h 269557"/>
                  <a:gd name="connsiteX30" fmla="*/ 223838 w 349567"/>
                  <a:gd name="connsiteY30" fmla="*/ 245745 h 269557"/>
                  <a:gd name="connsiteX31" fmla="*/ 225742 w 349567"/>
                  <a:gd name="connsiteY31" fmla="*/ 242888 h 269557"/>
                  <a:gd name="connsiteX32" fmla="*/ 225742 w 349567"/>
                  <a:gd name="connsiteY32" fmla="*/ 241935 h 269557"/>
                  <a:gd name="connsiteX33" fmla="*/ 224790 w 349567"/>
                  <a:gd name="connsiteY33" fmla="*/ 241935 h 269557"/>
                  <a:gd name="connsiteX34" fmla="*/ 233363 w 349567"/>
                  <a:gd name="connsiteY34" fmla="*/ 235267 h 269557"/>
                  <a:gd name="connsiteX35" fmla="*/ 233363 w 349567"/>
                  <a:gd name="connsiteY35" fmla="*/ 235267 h 269557"/>
                  <a:gd name="connsiteX36" fmla="*/ 232410 w 349567"/>
                  <a:gd name="connsiteY36" fmla="*/ 234315 h 269557"/>
                  <a:gd name="connsiteX37" fmla="*/ 233363 w 349567"/>
                  <a:gd name="connsiteY37" fmla="*/ 233363 h 269557"/>
                  <a:gd name="connsiteX38" fmla="*/ 233363 w 349567"/>
                  <a:gd name="connsiteY38" fmla="*/ 233363 h 269557"/>
                  <a:gd name="connsiteX39" fmla="*/ 233363 w 349567"/>
                  <a:gd name="connsiteY39" fmla="*/ 233363 h 269557"/>
                  <a:gd name="connsiteX40" fmla="*/ 233363 w 349567"/>
                  <a:gd name="connsiteY40" fmla="*/ 234315 h 269557"/>
                  <a:gd name="connsiteX41" fmla="*/ 229553 w 349567"/>
                  <a:gd name="connsiteY41" fmla="*/ 237173 h 269557"/>
                  <a:gd name="connsiteX42" fmla="*/ 228600 w 349567"/>
                  <a:gd name="connsiteY42" fmla="*/ 237173 h 269557"/>
                  <a:gd name="connsiteX43" fmla="*/ 227648 w 349567"/>
                  <a:gd name="connsiteY43" fmla="*/ 237173 h 269557"/>
                  <a:gd name="connsiteX44" fmla="*/ 227648 w 349567"/>
                  <a:gd name="connsiteY44" fmla="*/ 237173 h 269557"/>
                  <a:gd name="connsiteX45" fmla="*/ 227648 w 349567"/>
                  <a:gd name="connsiteY45" fmla="*/ 237173 h 269557"/>
                  <a:gd name="connsiteX46" fmla="*/ 227648 w 349567"/>
                  <a:gd name="connsiteY46" fmla="*/ 237173 h 269557"/>
                  <a:gd name="connsiteX47" fmla="*/ 227648 w 349567"/>
                  <a:gd name="connsiteY47" fmla="*/ 237173 h 269557"/>
                  <a:gd name="connsiteX48" fmla="*/ 227648 w 349567"/>
                  <a:gd name="connsiteY48" fmla="*/ 237173 h 269557"/>
                  <a:gd name="connsiteX49" fmla="*/ 227648 w 349567"/>
                  <a:gd name="connsiteY49" fmla="*/ 237173 h 269557"/>
                  <a:gd name="connsiteX50" fmla="*/ 227648 w 349567"/>
                  <a:gd name="connsiteY50" fmla="*/ 236220 h 269557"/>
                  <a:gd name="connsiteX51" fmla="*/ 227648 w 349567"/>
                  <a:gd name="connsiteY51" fmla="*/ 236220 h 269557"/>
                  <a:gd name="connsiteX52" fmla="*/ 228600 w 349567"/>
                  <a:gd name="connsiteY52" fmla="*/ 235267 h 269557"/>
                  <a:gd name="connsiteX53" fmla="*/ 228600 w 349567"/>
                  <a:gd name="connsiteY53" fmla="*/ 234315 h 269557"/>
                  <a:gd name="connsiteX54" fmla="*/ 229553 w 349567"/>
                  <a:gd name="connsiteY54" fmla="*/ 233363 h 269557"/>
                  <a:gd name="connsiteX55" fmla="*/ 229553 w 349567"/>
                  <a:gd name="connsiteY55" fmla="*/ 232410 h 269557"/>
                  <a:gd name="connsiteX56" fmla="*/ 233363 w 349567"/>
                  <a:gd name="connsiteY56" fmla="*/ 229553 h 269557"/>
                  <a:gd name="connsiteX57" fmla="*/ 233363 w 349567"/>
                  <a:gd name="connsiteY57" fmla="*/ 229553 h 269557"/>
                  <a:gd name="connsiteX58" fmla="*/ 239078 w 349567"/>
                  <a:gd name="connsiteY58" fmla="*/ 226695 h 269557"/>
                  <a:gd name="connsiteX59" fmla="*/ 240030 w 349567"/>
                  <a:gd name="connsiteY59" fmla="*/ 225742 h 269557"/>
                  <a:gd name="connsiteX60" fmla="*/ 231458 w 349567"/>
                  <a:gd name="connsiteY60" fmla="*/ 229553 h 269557"/>
                  <a:gd name="connsiteX61" fmla="*/ 230505 w 349567"/>
                  <a:gd name="connsiteY61" fmla="*/ 229553 h 269557"/>
                  <a:gd name="connsiteX62" fmla="*/ 229553 w 349567"/>
                  <a:gd name="connsiteY62" fmla="*/ 229553 h 269557"/>
                  <a:gd name="connsiteX63" fmla="*/ 229553 w 349567"/>
                  <a:gd name="connsiteY63" fmla="*/ 229553 h 269557"/>
                  <a:gd name="connsiteX64" fmla="*/ 232410 w 349567"/>
                  <a:gd name="connsiteY64" fmla="*/ 226695 h 269557"/>
                  <a:gd name="connsiteX65" fmla="*/ 233363 w 349567"/>
                  <a:gd name="connsiteY65" fmla="*/ 227648 h 269557"/>
                  <a:gd name="connsiteX66" fmla="*/ 291465 w 349567"/>
                  <a:gd name="connsiteY66" fmla="*/ 211455 h 269557"/>
                  <a:gd name="connsiteX67" fmla="*/ 296228 w 349567"/>
                  <a:gd name="connsiteY67" fmla="*/ 208598 h 269557"/>
                  <a:gd name="connsiteX68" fmla="*/ 303848 w 349567"/>
                  <a:gd name="connsiteY68" fmla="*/ 203835 h 269557"/>
                  <a:gd name="connsiteX69" fmla="*/ 312420 w 349567"/>
                  <a:gd name="connsiteY69" fmla="*/ 192405 h 269557"/>
                  <a:gd name="connsiteX70" fmla="*/ 311468 w 349567"/>
                  <a:gd name="connsiteY70" fmla="*/ 191453 h 269557"/>
                  <a:gd name="connsiteX71" fmla="*/ 288608 w 349567"/>
                  <a:gd name="connsiteY71" fmla="*/ 208598 h 269557"/>
                  <a:gd name="connsiteX72" fmla="*/ 255270 w 349567"/>
                  <a:gd name="connsiteY72" fmla="*/ 214313 h 269557"/>
                  <a:gd name="connsiteX73" fmla="*/ 258128 w 349567"/>
                  <a:gd name="connsiteY73" fmla="*/ 213360 h 269557"/>
                  <a:gd name="connsiteX74" fmla="*/ 260033 w 349567"/>
                  <a:gd name="connsiteY74" fmla="*/ 210503 h 269557"/>
                  <a:gd name="connsiteX75" fmla="*/ 261938 w 349567"/>
                  <a:gd name="connsiteY75" fmla="*/ 210503 h 269557"/>
                  <a:gd name="connsiteX76" fmla="*/ 262890 w 349567"/>
                  <a:gd name="connsiteY76" fmla="*/ 209550 h 269557"/>
                  <a:gd name="connsiteX77" fmla="*/ 264795 w 349567"/>
                  <a:gd name="connsiteY77" fmla="*/ 208598 h 269557"/>
                  <a:gd name="connsiteX78" fmla="*/ 257175 w 349567"/>
                  <a:gd name="connsiteY78" fmla="*/ 208598 h 269557"/>
                  <a:gd name="connsiteX79" fmla="*/ 259080 w 349567"/>
                  <a:gd name="connsiteY79" fmla="*/ 205740 h 269557"/>
                  <a:gd name="connsiteX80" fmla="*/ 260985 w 349567"/>
                  <a:gd name="connsiteY80" fmla="*/ 205740 h 269557"/>
                  <a:gd name="connsiteX81" fmla="*/ 261938 w 349567"/>
                  <a:gd name="connsiteY81" fmla="*/ 203835 h 269557"/>
                  <a:gd name="connsiteX82" fmla="*/ 283845 w 349567"/>
                  <a:gd name="connsiteY82" fmla="*/ 191453 h 269557"/>
                  <a:gd name="connsiteX83" fmla="*/ 280035 w 349567"/>
                  <a:gd name="connsiteY83" fmla="*/ 192405 h 269557"/>
                  <a:gd name="connsiteX84" fmla="*/ 280988 w 349567"/>
                  <a:gd name="connsiteY84" fmla="*/ 190500 h 269557"/>
                  <a:gd name="connsiteX85" fmla="*/ 297180 w 349567"/>
                  <a:gd name="connsiteY85" fmla="*/ 183833 h 269557"/>
                  <a:gd name="connsiteX86" fmla="*/ 291465 w 349567"/>
                  <a:gd name="connsiteY86" fmla="*/ 183833 h 269557"/>
                  <a:gd name="connsiteX87" fmla="*/ 294323 w 349567"/>
                  <a:gd name="connsiteY87" fmla="*/ 181928 h 269557"/>
                  <a:gd name="connsiteX88" fmla="*/ 294323 w 349567"/>
                  <a:gd name="connsiteY88" fmla="*/ 180023 h 269557"/>
                  <a:gd name="connsiteX89" fmla="*/ 295275 w 349567"/>
                  <a:gd name="connsiteY89" fmla="*/ 179070 h 269557"/>
                  <a:gd name="connsiteX90" fmla="*/ 294323 w 349567"/>
                  <a:gd name="connsiteY90" fmla="*/ 178117 h 269557"/>
                  <a:gd name="connsiteX91" fmla="*/ 297180 w 349567"/>
                  <a:gd name="connsiteY91" fmla="*/ 176213 h 269557"/>
                  <a:gd name="connsiteX92" fmla="*/ 295275 w 349567"/>
                  <a:gd name="connsiteY92" fmla="*/ 175260 h 269557"/>
                  <a:gd name="connsiteX93" fmla="*/ 301943 w 349567"/>
                  <a:gd name="connsiteY93" fmla="*/ 172403 h 269557"/>
                  <a:gd name="connsiteX94" fmla="*/ 300038 w 349567"/>
                  <a:gd name="connsiteY94" fmla="*/ 171450 h 269557"/>
                  <a:gd name="connsiteX95" fmla="*/ 300990 w 349567"/>
                  <a:gd name="connsiteY95" fmla="*/ 170498 h 269557"/>
                  <a:gd name="connsiteX96" fmla="*/ 300990 w 349567"/>
                  <a:gd name="connsiteY96" fmla="*/ 170498 h 269557"/>
                  <a:gd name="connsiteX97" fmla="*/ 300038 w 349567"/>
                  <a:gd name="connsiteY97" fmla="*/ 168592 h 269557"/>
                  <a:gd name="connsiteX98" fmla="*/ 304800 w 349567"/>
                  <a:gd name="connsiteY98" fmla="*/ 156210 h 269557"/>
                  <a:gd name="connsiteX99" fmla="*/ 303848 w 349567"/>
                  <a:gd name="connsiteY99" fmla="*/ 155258 h 269557"/>
                  <a:gd name="connsiteX100" fmla="*/ 282893 w 349567"/>
                  <a:gd name="connsiteY100" fmla="*/ 164783 h 269557"/>
                  <a:gd name="connsiteX101" fmla="*/ 280035 w 349567"/>
                  <a:gd name="connsiteY101" fmla="*/ 164783 h 269557"/>
                  <a:gd name="connsiteX102" fmla="*/ 271463 w 349567"/>
                  <a:gd name="connsiteY102" fmla="*/ 163830 h 269557"/>
                  <a:gd name="connsiteX103" fmla="*/ 266700 w 349567"/>
                  <a:gd name="connsiteY103" fmla="*/ 160020 h 269557"/>
                  <a:gd name="connsiteX104" fmla="*/ 254317 w 349567"/>
                  <a:gd name="connsiteY104" fmla="*/ 154305 h 269557"/>
                  <a:gd name="connsiteX105" fmla="*/ 215265 w 349567"/>
                  <a:gd name="connsiteY105" fmla="*/ 148590 h 269557"/>
                  <a:gd name="connsiteX106" fmla="*/ 233363 w 349567"/>
                  <a:gd name="connsiteY106" fmla="*/ 143828 h 269557"/>
                  <a:gd name="connsiteX107" fmla="*/ 259080 w 349567"/>
                  <a:gd name="connsiteY107" fmla="*/ 139065 h 269557"/>
                  <a:gd name="connsiteX108" fmla="*/ 254317 w 349567"/>
                  <a:gd name="connsiteY108" fmla="*/ 139065 h 269557"/>
                  <a:gd name="connsiteX109" fmla="*/ 232410 w 349567"/>
                  <a:gd name="connsiteY109" fmla="*/ 141923 h 269557"/>
                  <a:gd name="connsiteX110" fmla="*/ 217170 w 349567"/>
                  <a:gd name="connsiteY110" fmla="*/ 145733 h 269557"/>
                  <a:gd name="connsiteX111" fmla="*/ 208598 w 349567"/>
                  <a:gd name="connsiteY111" fmla="*/ 149542 h 269557"/>
                  <a:gd name="connsiteX112" fmla="*/ 208598 w 349567"/>
                  <a:gd name="connsiteY112" fmla="*/ 147638 h 269557"/>
                  <a:gd name="connsiteX113" fmla="*/ 227648 w 349567"/>
                  <a:gd name="connsiteY113" fmla="*/ 135255 h 269557"/>
                  <a:gd name="connsiteX114" fmla="*/ 254317 w 349567"/>
                  <a:gd name="connsiteY114" fmla="*/ 136208 h 269557"/>
                  <a:gd name="connsiteX115" fmla="*/ 273368 w 349567"/>
                  <a:gd name="connsiteY115" fmla="*/ 140017 h 269557"/>
                  <a:gd name="connsiteX116" fmla="*/ 278130 w 349567"/>
                  <a:gd name="connsiteY116" fmla="*/ 144780 h 269557"/>
                  <a:gd name="connsiteX117" fmla="*/ 287655 w 349567"/>
                  <a:gd name="connsiteY117" fmla="*/ 146685 h 269557"/>
                  <a:gd name="connsiteX118" fmla="*/ 287655 w 349567"/>
                  <a:gd name="connsiteY118" fmla="*/ 143828 h 269557"/>
                  <a:gd name="connsiteX119" fmla="*/ 294323 w 349567"/>
                  <a:gd name="connsiteY119" fmla="*/ 142875 h 269557"/>
                  <a:gd name="connsiteX120" fmla="*/ 288608 w 349567"/>
                  <a:gd name="connsiteY120" fmla="*/ 132398 h 269557"/>
                  <a:gd name="connsiteX121" fmla="*/ 289560 w 349567"/>
                  <a:gd name="connsiteY121" fmla="*/ 131445 h 269557"/>
                  <a:gd name="connsiteX122" fmla="*/ 301943 w 349567"/>
                  <a:gd name="connsiteY122" fmla="*/ 141923 h 269557"/>
                  <a:gd name="connsiteX123" fmla="*/ 309563 w 349567"/>
                  <a:gd name="connsiteY123" fmla="*/ 140970 h 269557"/>
                  <a:gd name="connsiteX124" fmla="*/ 298133 w 349567"/>
                  <a:gd name="connsiteY124" fmla="*/ 125730 h 269557"/>
                  <a:gd name="connsiteX125" fmla="*/ 298133 w 349567"/>
                  <a:gd name="connsiteY125" fmla="*/ 123825 h 269557"/>
                  <a:gd name="connsiteX126" fmla="*/ 296228 w 349567"/>
                  <a:gd name="connsiteY126" fmla="*/ 122873 h 269557"/>
                  <a:gd name="connsiteX127" fmla="*/ 296228 w 349567"/>
                  <a:gd name="connsiteY127" fmla="*/ 120015 h 269557"/>
                  <a:gd name="connsiteX128" fmla="*/ 293370 w 349567"/>
                  <a:gd name="connsiteY128" fmla="*/ 115253 h 269557"/>
                  <a:gd name="connsiteX129" fmla="*/ 291465 w 349567"/>
                  <a:gd name="connsiteY129" fmla="*/ 105728 h 269557"/>
                  <a:gd name="connsiteX130" fmla="*/ 290513 w 349567"/>
                  <a:gd name="connsiteY130" fmla="*/ 98108 h 269557"/>
                  <a:gd name="connsiteX131" fmla="*/ 285750 w 349567"/>
                  <a:gd name="connsiteY131" fmla="*/ 73342 h 269557"/>
                  <a:gd name="connsiteX132" fmla="*/ 296228 w 349567"/>
                  <a:gd name="connsiteY132" fmla="*/ 47625 h 269557"/>
                  <a:gd name="connsiteX133" fmla="*/ 310515 w 349567"/>
                  <a:gd name="connsiteY133" fmla="*/ 31433 h 269557"/>
                  <a:gd name="connsiteX134" fmla="*/ 320040 w 349567"/>
                  <a:gd name="connsiteY134" fmla="*/ 15240 h 269557"/>
                  <a:gd name="connsiteX135" fmla="*/ 336233 w 349567"/>
                  <a:gd name="connsiteY135" fmla="*/ 4763 h 269557"/>
                  <a:gd name="connsiteX136" fmla="*/ 349568 w 349567"/>
                  <a:gd name="connsiteY136" fmla="*/ 0 h 269557"/>
                  <a:gd name="connsiteX137" fmla="*/ 0 w 349567"/>
                  <a:gd name="connsiteY137" fmla="*/ 0 h 269557"/>
                  <a:gd name="connsiteX138" fmla="*/ 0 w 349567"/>
                  <a:gd name="connsiteY138" fmla="*/ 269558 h 269557"/>
                  <a:gd name="connsiteX139" fmla="*/ 247650 w 349567"/>
                  <a:gd name="connsiteY139" fmla="*/ 269558 h 269557"/>
                  <a:gd name="connsiteX140" fmla="*/ 280988 w 349567"/>
                  <a:gd name="connsiteY140" fmla="*/ 252413 h 269557"/>
                  <a:gd name="connsiteX141" fmla="*/ 306705 w 349567"/>
                  <a:gd name="connsiteY141" fmla="*/ 237173 h 269557"/>
                  <a:gd name="connsiteX142" fmla="*/ 227648 w 349567"/>
                  <a:gd name="connsiteY142" fmla="*/ 200978 h 269557"/>
                  <a:gd name="connsiteX143" fmla="*/ 224790 w 349567"/>
                  <a:gd name="connsiteY143" fmla="*/ 200025 h 269557"/>
                  <a:gd name="connsiteX144" fmla="*/ 230505 w 349567"/>
                  <a:gd name="connsiteY144" fmla="*/ 196215 h 269557"/>
                  <a:gd name="connsiteX145" fmla="*/ 234315 w 349567"/>
                  <a:gd name="connsiteY145" fmla="*/ 195263 h 269557"/>
                  <a:gd name="connsiteX146" fmla="*/ 238125 w 349567"/>
                  <a:gd name="connsiteY146" fmla="*/ 197167 h 269557"/>
                  <a:gd name="connsiteX147" fmla="*/ 227648 w 349567"/>
                  <a:gd name="connsiteY147" fmla="*/ 200978 h 269557"/>
                  <a:gd name="connsiteX148" fmla="*/ 149542 w 349567"/>
                  <a:gd name="connsiteY148" fmla="*/ 189548 h 269557"/>
                  <a:gd name="connsiteX149" fmla="*/ 148590 w 349567"/>
                  <a:gd name="connsiteY149" fmla="*/ 188595 h 269557"/>
                  <a:gd name="connsiteX150" fmla="*/ 164783 w 349567"/>
                  <a:gd name="connsiteY150" fmla="*/ 162878 h 269557"/>
                  <a:gd name="connsiteX151" fmla="*/ 181928 w 349567"/>
                  <a:gd name="connsiteY151" fmla="*/ 148590 h 269557"/>
                  <a:gd name="connsiteX152" fmla="*/ 210503 w 349567"/>
                  <a:gd name="connsiteY152" fmla="*/ 125730 h 269557"/>
                  <a:gd name="connsiteX153" fmla="*/ 223838 w 349567"/>
                  <a:gd name="connsiteY153" fmla="*/ 126683 h 269557"/>
                  <a:gd name="connsiteX154" fmla="*/ 218123 w 349567"/>
                  <a:gd name="connsiteY154" fmla="*/ 129540 h 269557"/>
                  <a:gd name="connsiteX155" fmla="*/ 216217 w 349567"/>
                  <a:gd name="connsiteY155" fmla="*/ 128588 h 269557"/>
                  <a:gd name="connsiteX156" fmla="*/ 217170 w 349567"/>
                  <a:gd name="connsiteY156" fmla="*/ 126683 h 269557"/>
                  <a:gd name="connsiteX157" fmla="*/ 200978 w 349567"/>
                  <a:gd name="connsiteY157" fmla="*/ 141923 h 269557"/>
                  <a:gd name="connsiteX158" fmla="*/ 189548 w 349567"/>
                  <a:gd name="connsiteY158" fmla="*/ 155258 h 269557"/>
                  <a:gd name="connsiteX159" fmla="*/ 188595 w 349567"/>
                  <a:gd name="connsiteY159" fmla="*/ 154305 h 269557"/>
                  <a:gd name="connsiteX160" fmla="*/ 149542 w 349567"/>
                  <a:gd name="connsiteY160" fmla="*/ 189548 h 269557"/>
                  <a:gd name="connsiteX161" fmla="*/ 192405 w 349567"/>
                  <a:gd name="connsiteY161" fmla="*/ 156210 h 269557"/>
                  <a:gd name="connsiteX162" fmla="*/ 190500 w 349567"/>
                  <a:gd name="connsiteY162" fmla="*/ 158115 h 269557"/>
                  <a:gd name="connsiteX163" fmla="*/ 188595 w 349567"/>
                  <a:gd name="connsiteY163" fmla="*/ 160020 h 269557"/>
                  <a:gd name="connsiteX164" fmla="*/ 187642 w 349567"/>
                  <a:gd name="connsiteY164" fmla="*/ 159067 h 269557"/>
                  <a:gd name="connsiteX165" fmla="*/ 191453 w 349567"/>
                  <a:gd name="connsiteY165" fmla="*/ 154305 h 269557"/>
                  <a:gd name="connsiteX166" fmla="*/ 192405 w 349567"/>
                  <a:gd name="connsiteY166" fmla="*/ 156210 h 269557"/>
                  <a:gd name="connsiteX167" fmla="*/ 216217 w 349567"/>
                  <a:gd name="connsiteY167" fmla="*/ 232410 h 269557"/>
                  <a:gd name="connsiteX168" fmla="*/ 215265 w 349567"/>
                  <a:gd name="connsiteY168" fmla="*/ 234315 h 269557"/>
                  <a:gd name="connsiteX169" fmla="*/ 216217 w 349567"/>
                  <a:gd name="connsiteY169" fmla="*/ 235267 h 269557"/>
                  <a:gd name="connsiteX170" fmla="*/ 212408 w 349567"/>
                  <a:gd name="connsiteY170" fmla="*/ 238125 h 269557"/>
                  <a:gd name="connsiteX171" fmla="*/ 211455 w 349567"/>
                  <a:gd name="connsiteY171" fmla="*/ 238125 h 269557"/>
                  <a:gd name="connsiteX172" fmla="*/ 209550 w 349567"/>
                  <a:gd name="connsiteY172" fmla="*/ 240030 h 269557"/>
                  <a:gd name="connsiteX173" fmla="*/ 206692 w 349567"/>
                  <a:gd name="connsiteY173" fmla="*/ 239078 h 269557"/>
                  <a:gd name="connsiteX174" fmla="*/ 210503 w 349567"/>
                  <a:gd name="connsiteY174" fmla="*/ 235267 h 269557"/>
                  <a:gd name="connsiteX175" fmla="*/ 212408 w 349567"/>
                  <a:gd name="connsiteY175" fmla="*/ 233363 h 269557"/>
                  <a:gd name="connsiteX176" fmla="*/ 213360 w 349567"/>
                  <a:gd name="connsiteY176" fmla="*/ 232410 h 269557"/>
                  <a:gd name="connsiteX177" fmla="*/ 216217 w 349567"/>
                  <a:gd name="connsiteY177" fmla="*/ 232410 h 269557"/>
                  <a:gd name="connsiteX178" fmla="*/ 206692 w 349567"/>
                  <a:gd name="connsiteY178" fmla="*/ 228600 h 269557"/>
                  <a:gd name="connsiteX179" fmla="*/ 206692 w 349567"/>
                  <a:gd name="connsiteY179" fmla="*/ 228600 h 269557"/>
                  <a:gd name="connsiteX180" fmla="*/ 200978 w 349567"/>
                  <a:gd name="connsiteY180" fmla="*/ 232410 h 269557"/>
                  <a:gd name="connsiteX181" fmla="*/ 194310 w 349567"/>
                  <a:gd name="connsiteY181" fmla="*/ 235267 h 269557"/>
                  <a:gd name="connsiteX182" fmla="*/ 194310 w 349567"/>
                  <a:gd name="connsiteY182" fmla="*/ 235267 h 269557"/>
                  <a:gd name="connsiteX183" fmla="*/ 193358 w 349567"/>
                  <a:gd name="connsiteY183" fmla="*/ 235267 h 269557"/>
                  <a:gd name="connsiteX184" fmla="*/ 188595 w 349567"/>
                  <a:gd name="connsiteY184" fmla="*/ 239078 h 269557"/>
                  <a:gd name="connsiteX185" fmla="*/ 187642 w 349567"/>
                  <a:gd name="connsiteY185" fmla="*/ 240030 h 269557"/>
                  <a:gd name="connsiteX186" fmla="*/ 187642 w 349567"/>
                  <a:gd name="connsiteY186" fmla="*/ 240030 h 269557"/>
                  <a:gd name="connsiteX187" fmla="*/ 187642 w 349567"/>
                  <a:gd name="connsiteY187" fmla="*/ 240030 h 269557"/>
                  <a:gd name="connsiteX188" fmla="*/ 186690 w 349567"/>
                  <a:gd name="connsiteY188" fmla="*/ 240983 h 269557"/>
                  <a:gd name="connsiteX189" fmla="*/ 186690 w 349567"/>
                  <a:gd name="connsiteY189" fmla="*/ 240983 h 269557"/>
                  <a:gd name="connsiteX190" fmla="*/ 186690 w 349567"/>
                  <a:gd name="connsiteY190" fmla="*/ 240983 h 269557"/>
                  <a:gd name="connsiteX191" fmla="*/ 185738 w 349567"/>
                  <a:gd name="connsiteY191" fmla="*/ 241935 h 269557"/>
                  <a:gd name="connsiteX192" fmla="*/ 184785 w 349567"/>
                  <a:gd name="connsiteY192" fmla="*/ 242888 h 269557"/>
                  <a:gd name="connsiteX193" fmla="*/ 183833 w 349567"/>
                  <a:gd name="connsiteY193" fmla="*/ 242888 h 269557"/>
                  <a:gd name="connsiteX194" fmla="*/ 183833 w 349567"/>
                  <a:gd name="connsiteY194" fmla="*/ 242888 h 269557"/>
                  <a:gd name="connsiteX195" fmla="*/ 182880 w 349567"/>
                  <a:gd name="connsiteY195" fmla="*/ 242888 h 269557"/>
                  <a:gd name="connsiteX196" fmla="*/ 181928 w 349567"/>
                  <a:gd name="connsiteY196" fmla="*/ 242888 h 269557"/>
                  <a:gd name="connsiteX197" fmla="*/ 181928 w 349567"/>
                  <a:gd name="connsiteY197" fmla="*/ 242888 h 269557"/>
                  <a:gd name="connsiteX198" fmla="*/ 181928 w 349567"/>
                  <a:gd name="connsiteY198" fmla="*/ 242888 h 269557"/>
                  <a:gd name="connsiteX199" fmla="*/ 180023 w 349567"/>
                  <a:gd name="connsiteY199" fmla="*/ 244792 h 269557"/>
                  <a:gd name="connsiteX200" fmla="*/ 177165 w 349567"/>
                  <a:gd name="connsiteY200" fmla="*/ 247650 h 269557"/>
                  <a:gd name="connsiteX201" fmla="*/ 177165 w 349567"/>
                  <a:gd name="connsiteY201" fmla="*/ 247650 h 269557"/>
                  <a:gd name="connsiteX202" fmla="*/ 177165 w 349567"/>
                  <a:gd name="connsiteY202" fmla="*/ 247650 h 269557"/>
                  <a:gd name="connsiteX203" fmla="*/ 177165 w 349567"/>
                  <a:gd name="connsiteY203" fmla="*/ 247650 h 269557"/>
                  <a:gd name="connsiteX204" fmla="*/ 177165 w 349567"/>
                  <a:gd name="connsiteY204" fmla="*/ 247650 h 269557"/>
                  <a:gd name="connsiteX205" fmla="*/ 177165 w 349567"/>
                  <a:gd name="connsiteY205" fmla="*/ 247650 h 269557"/>
                  <a:gd name="connsiteX206" fmla="*/ 177165 w 349567"/>
                  <a:gd name="connsiteY206" fmla="*/ 248603 h 269557"/>
                  <a:gd name="connsiteX207" fmla="*/ 177165 w 349567"/>
                  <a:gd name="connsiteY207" fmla="*/ 248603 h 269557"/>
                  <a:gd name="connsiteX208" fmla="*/ 177165 w 349567"/>
                  <a:gd name="connsiteY208" fmla="*/ 248603 h 269557"/>
                  <a:gd name="connsiteX209" fmla="*/ 177165 w 349567"/>
                  <a:gd name="connsiteY209" fmla="*/ 248603 h 269557"/>
                  <a:gd name="connsiteX210" fmla="*/ 177165 w 349567"/>
                  <a:gd name="connsiteY210" fmla="*/ 248603 h 269557"/>
                  <a:gd name="connsiteX211" fmla="*/ 177165 w 349567"/>
                  <a:gd name="connsiteY211" fmla="*/ 247650 h 269557"/>
                  <a:gd name="connsiteX212" fmla="*/ 177165 w 349567"/>
                  <a:gd name="connsiteY212" fmla="*/ 247650 h 269557"/>
                  <a:gd name="connsiteX213" fmla="*/ 177165 w 349567"/>
                  <a:gd name="connsiteY213" fmla="*/ 247650 h 269557"/>
                  <a:gd name="connsiteX214" fmla="*/ 179070 w 349567"/>
                  <a:gd name="connsiteY214" fmla="*/ 245745 h 269557"/>
                  <a:gd name="connsiteX215" fmla="*/ 179070 w 349567"/>
                  <a:gd name="connsiteY215" fmla="*/ 245745 h 269557"/>
                  <a:gd name="connsiteX216" fmla="*/ 180023 w 349567"/>
                  <a:gd name="connsiteY216" fmla="*/ 244792 h 269557"/>
                  <a:gd name="connsiteX217" fmla="*/ 180975 w 349567"/>
                  <a:gd name="connsiteY217" fmla="*/ 243840 h 269557"/>
                  <a:gd name="connsiteX218" fmla="*/ 180975 w 349567"/>
                  <a:gd name="connsiteY218" fmla="*/ 243840 h 269557"/>
                  <a:gd name="connsiteX219" fmla="*/ 182880 w 349567"/>
                  <a:gd name="connsiteY219" fmla="*/ 241935 h 269557"/>
                  <a:gd name="connsiteX220" fmla="*/ 182880 w 349567"/>
                  <a:gd name="connsiteY220" fmla="*/ 241935 h 269557"/>
                  <a:gd name="connsiteX221" fmla="*/ 182880 w 349567"/>
                  <a:gd name="connsiteY221" fmla="*/ 241935 h 269557"/>
                  <a:gd name="connsiteX222" fmla="*/ 183833 w 349567"/>
                  <a:gd name="connsiteY222" fmla="*/ 240983 h 269557"/>
                  <a:gd name="connsiteX223" fmla="*/ 184785 w 349567"/>
                  <a:gd name="connsiteY223" fmla="*/ 240030 h 269557"/>
                  <a:gd name="connsiteX224" fmla="*/ 184785 w 349567"/>
                  <a:gd name="connsiteY224" fmla="*/ 240030 h 269557"/>
                  <a:gd name="connsiteX225" fmla="*/ 184785 w 349567"/>
                  <a:gd name="connsiteY225" fmla="*/ 240030 h 269557"/>
                  <a:gd name="connsiteX226" fmla="*/ 184785 w 349567"/>
                  <a:gd name="connsiteY226" fmla="*/ 240030 h 269557"/>
                  <a:gd name="connsiteX227" fmla="*/ 185738 w 349567"/>
                  <a:gd name="connsiteY227" fmla="*/ 239078 h 269557"/>
                  <a:gd name="connsiteX228" fmla="*/ 185738 w 349567"/>
                  <a:gd name="connsiteY228" fmla="*/ 239078 h 269557"/>
                  <a:gd name="connsiteX229" fmla="*/ 185738 w 349567"/>
                  <a:gd name="connsiteY229" fmla="*/ 239078 h 269557"/>
                  <a:gd name="connsiteX230" fmla="*/ 185738 w 349567"/>
                  <a:gd name="connsiteY230" fmla="*/ 238125 h 269557"/>
                  <a:gd name="connsiteX231" fmla="*/ 185738 w 349567"/>
                  <a:gd name="connsiteY231" fmla="*/ 238125 h 269557"/>
                  <a:gd name="connsiteX232" fmla="*/ 185738 w 349567"/>
                  <a:gd name="connsiteY232" fmla="*/ 237173 h 269557"/>
                  <a:gd name="connsiteX233" fmla="*/ 185738 w 349567"/>
                  <a:gd name="connsiteY233" fmla="*/ 237173 h 269557"/>
                  <a:gd name="connsiteX234" fmla="*/ 187642 w 349567"/>
                  <a:gd name="connsiteY234" fmla="*/ 234315 h 269557"/>
                  <a:gd name="connsiteX235" fmla="*/ 187642 w 349567"/>
                  <a:gd name="connsiteY235" fmla="*/ 234315 h 269557"/>
                  <a:gd name="connsiteX236" fmla="*/ 185738 w 349567"/>
                  <a:gd name="connsiteY236" fmla="*/ 236220 h 269557"/>
                  <a:gd name="connsiteX237" fmla="*/ 184785 w 349567"/>
                  <a:gd name="connsiteY237" fmla="*/ 235267 h 269557"/>
                  <a:gd name="connsiteX238" fmla="*/ 185738 w 349567"/>
                  <a:gd name="connsiteY238" fmla="*/ 234315 h 269557"/>
                  <a:gd name="connsiteX239" fmla="*/ 185738 w 349567"/>
                  <a:gd name="connsiteY239" fmla="*/ 234315 h 269557"/>
                  <a:gd name="connsiteX240" fmla="*/ 188595 w 349567"/>
                  <a:gd name="connsiteY240" fmla="*/ 231458 h 269557"/>
                  <a:gd name="connsiteX241" fmla="*/ 190500 w 349567"/>
                  <a:gd name="connsiteY241" fmla="*/ 230505 h 269557"/>
                  <a:gd name="connsiteX242" fmla="*/ 190500 w 349567"/>
                  <a:gd name="connsiteY242" fmla="*/ 230505 h 269557"/>
                  <a:gd name="connsiteX243" fmla="*/ 191453 w 349567"/>
                  <a:gd name="connsiteY243" fmla="*/ 229553 h 269557"/>
                  <a:gd name="connsiteX244" fmla="*/ 191453 w 349567"/>
                  <a:gd name="connsiteY244" fmla="*/ 229553 h 269557"/>
                  <a:gd name="connsiteX245" fmla="*/ 211455 w 349567"/>
                  <a:gd name="connsiteY245" fmla="*/ 221933 h 269557"/>
                  <a:gd name="connsiteX246" fmla="*/ 220028 w 349567"/>
                  <a:gd name="connsiteY246" fmla="*/ 221933 h 269557"/>
                  <a:gd name="connsiteX247" fmla="*/ 224790 w 349567"/>
                  <a:gd name="connsiteY247" fmla="*/ 222885 h 269557"/>
                  <a:gd name="connsiteX248" fmla="*/ 206692 w 349567"/>
                  <a:gd name="connsiteY248" fmla="*/ 228600 h 269557"/>
                  <a:gd name="connsiteX249" fmla="*/ 217170 w 349567"/>
                  <a:gd name="connsiteY249" fmla="*/ 193358 h 269557"/>
                  <a:gd name="connsiteX250" fmla="*/ 219075 w 349567"/>
                  <a:gd name="connsiteY250" fmla="*/ 192405 h 269557"/>
                  <a:gd name="connsiteX251" fmla="*/ 215265 w 349567"/>
                  <a:gd name="connsiteY251" fmla="*/ 192405 h 269557"/>
                  <a:gd name="connsiteX252" fmla="*/ 214313 w 349567"/>
                  <a:gd name="connsiteY252" fmla="*/ 191453 h 269557"/>
                  <a:gd name="connsiteX253" fmla="*/ 205740 w 349567"/>
                  <a:gd name="connsiteY253" fmla="*/ 193358 h 269557"/>
                  <a:gd name="connsiteX254" fmla="*/ 195263 w 349567"/>
                  <a:gd name="connsiteY254" fmla="*/ 198120 h 269557"/>
                  <a:gd name="connsiteX255" fmla="*/ 179070 w 349567"/>
                  <a:gd name="connsiteY255" fmla="*/ 206692 h 269557"/>
                  <a:gd name="connsiteX256" fmla="*/ 178117 w 349567"/>
                  <a:gd name="connsiteY256" fmla="*/ 205740 h 269557"/>
                  <a:gd name="connsiteX257" fmla="*/ 181928 w 349567"/>
                  <a:gd name="connsiteY257" fmla="*/ 201930 h 269557"/>
                  <a:gd name="connsiteX258" fmla="*/ 180975 w 349567"/>
                  <a:gd name="connsiteY258" fmla="*/ 200978 h 269557"/>
                  <a:gd name="connsiteX259" fmla="*/ 196215 w 349567"/>
                  <a:gd name="connsiteY259" fmla="*/ 187642 h 269557"/>
                  <a:gd name="connsiteX260" fmla="*/ 196215 w 349567"/>
                  <a:gd name="connsiteY260" fmla="*/ 185738 h 269557"/>
                  <a:gd name="connsiteX261" fmla="*/ 200978 w 349567"/>
                  <a:gd name="connsiteY261" fmla="*/ 180023 h 269557"/>
                  <a:gd name="connsiteX262" fmla="*/ 205740 w 349567"/>
                  <a:gd name="connsiteY262" fmla="*/ 175260 h 269557"/>
                  <a:gd name="connsiteX263" fmla="*/ 203835 w 349567"/>
                  <a:gd name="connsiteY263" fmla="*/ 173355 h 269557"/>
                  <a:gd name="connsiteX264" fmla="*/ 198120 w 349567"/>
                  <a:gd name="connsiteY264" fmla="*/ 172403 h 269557"/>
                  <a:gd name="connsiteX265" fmla="*/ 200978 w 349567"/>
                  <a:gd name="connsiteY265" fmla="*/ 170498 h 269557"/>
                  <a:gd name="connsiteX266" fmla="*/ 200025 w 349567"/>
                  <a:gd name="connsiteY266" fmla="*/ 169545 h 269557"/>
                  <a:gd name="connsiteX267" fmla="*/ 202883 w 349567"/>
                  <a:gd name="connsiteY267" fmla="*/ 166688 h 269557"/>
                  <a:gd name="connsiteX268" fmla="*/ 208598 w 349567"/>
                  <a:gd name="connsiteY268" fmla="*/ 164783 h 269557"/>
                  <a:gd name="connsiteX269" fmla="*/ 197167 w 349567"/>
                  <a:gd name="connsiteY269" fmla="*/ 163830 h 269557"/>
                  <a:gd name="connsiteX270" fmla="*/ 209550 w 349567"/>
                  <a:gd name="connsiteY270" fmla="*/ 148590 h 269557"/>
                  <a:gd name="connsiteX271" fmla="*/ 211455 w 349567"/>
                  <a:gd name="connsiteY271" fmla="*/ 149542 h 269557"/>
                  <a:gd name="connsiteX272" fmla="*/ 207645 w 349567"/>
                  <a:gd name="connsiteY272" fmla="*/ 154305 h 269557"/>
                  <a:gd name="connsiteX273" fmla="*/ 220028 w 349567"/>
                  <a:gd name="connsiteY273" fmla="*/ 157163 h 269557"/>
                  <a:gd name="connsiteX274" fmla="*/ 218123 w 349567"/>
                  <a:gd name="connsiteY274" fmla="*/ 158115 h 269557"/>
                  <a:gd name="connsiteX275" fmla="*/ 226695 w 349567"/>
                  <a:gd name="connsiteY275" fmla="*/ 160973 h 269557"/>
                  <a:gd name="connsiteX276" fmla="*/ 221933 w 349567"/>
                  <a:gd name="connsiteY276" fmla="*/ 160973 h 269557"/>
                  <a:gd name="connsiteX277" fmla="*/ 267653 w 349567"/>
                  <a:gd name="connsiteY277" fmla="*/ 179070 h 269557"/>
                  <a:gd name="connsiteX278" fmla="*/ 232410 w 349567"/>
                  <a:gd name="connsiteY278" fmla="*/ 189548 h 269557"/>
                  <a:gd name="connsiteX279" fmla="*/ 228600 w 349567"/>
                  <a:gd name="connsiteY279" fmla="*/ 188595 h 269557"/>
                  <a:gd name="connsiteX280" fmla="*/ 227648 w 349567"/>
                  <a:gd name="connsiteY280" fmla="*/ 190500 h 269557"/>
                  <a:gd name="connsiteX281" fmla="*/ 222885 w 349567"/>
                  <a:gd name="connsiteY281" fmla="*/ 191453 h 269557"/>
                  <a:gd name="connsiteX282" fmla="*/ 217170 w 349567"/>
                  <a:gd name="connsiteY282" fmla="*/ 193358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</a:cxnLst>
                <a:rect l="l" t="t" r="r" b="b"/>
                <a:pathLst>
                  <a:path w="349567" h="269557">
                    <a:moveTo>
                      <a:pt x="306705" y="237173"/>
                    </a:moveTo>
                    <a:cubicBezTo>
                      <a:pt x="309563" y="234315"/>
                      <a:pt x="312420" y="231458"/>
                      <a:pt x="315278" y="227648"/>
                    </a:cubicBezTo>
                    <a:lnTo>
                      <a:pt x="315278" y="227648"/>
                    </a:lnTo>
                    <a:cubicBezTo>
                      <a:pt x="320993" y="221933"/>
                      <a:pt x="325755" y="215265"/>
                      <a:pt x="332423" y="210503"/>
                    </a:cubicBezTo>
                    <a:cubicBezTo>
                      <a:pt x="334328" y="208598"/>
                      <a:pt x="336233" y="207645"/>
                      <a:pt x="338138" y="205740"/>
                    </a:cubicBezTo>
                    <a:cubicBezTo>
                      <a:pt x="339090" y="204788"/>
                      <a:pt x="339090" y="203835"/>
                      <a:pt x="339090" y="203835"/>
                    </a:cubicBezTo>
                    <a:cubicBezTo>
                      <a:pt x="336233" y="204788"/>
                      <a:pt x="335280" y="206692"/>
                      <a:pt x="332423" y="207645"/>
                    </a:cubicBezTo>
                    <a:cubicBezTo>
                      <a:pt x="331470" y="207645"/>
                      <a:pt x="331470" y="206692"/>
                      <a:pt x="331470" y="206692"/>
                    </a:cubicBezTo>
                    <a:cubicBezTo>
                      <a:pt x="333375" y="205740"/>
                      <a:pt x="335280" y="203835"/>
                      <a:pt x="337185" y="202883"/>
                    </a:cubicBezTo>
                    <a:cubicBezTo>
                      <a:pt x="337185" y="202883"/>
                      <a:pt x="337185" y="202883"/>
                      <a:pt x="337185" y="202883"/>
                    </a:cubicBezTo>
                    <a:cubicBezTo>
                      <a:pt x="336233" y="202883"/>
                      <a:pt x="336233" y="201930"/>
                      <a:pt x="336233" y="201930"/>
                    </a:cubicBezTo>
                    <a:cubicBezTo>
                      <a:pt x="329565" y="201930"/>
                      <a:pt x="324803" y="205740"/>
                      <a:pt x="320040" y="210503"/>
                    </a:cubicBezTo>
                    <a:cubicBezTo>
                      <a:pt x="319088" y="211455"/>
                      <a:pt x="318135" y="209550"/>
                      <a:pt x="317183" y="209550"/>
                    </a:cubicBezTo>
                    <a:cubicBezTo>
                      <a:pt x="309563" y="212408"/>
                      <a:pt x="303848" y="219075"/>
                      <a:pt x="296228" y="221933"/>
                    </a:cubicBezTo>
                    <a:lnTo>
                      <a:pt x="296228" y="220980"/>
                    </a:lnTo>
                    <a:cubicBezTo>
                      <a:pt x="293370" y="221933"/>
                      <a:pt x="290513" y="223838"/>
                      <a:pt x="286703" y="224790"/>
                    </a:cubicBezTo>
                    <a:cubicBezTo>
                      <a:pt x="281940" y="225742"/>
                      <a:pt x="278130" y="225742"/>
                      <a:pt x="274320" y="225742"/>
                    </a:cubicBezTo>
                    <a:cubicBezTo>
                      <a:pt x="268605" y="226695"/>
                      <a:pt x="261938" y="227648"/>
                      <a:pt x="256223" y="228600"/>
                    </a:cubicBezTo>
                    <a:cubicBezTo>
                      <a:pt x="256223" y="228600"/>
                      <a:pt x="256223" y="228600"/>
                      <a:pt x="255270" y="228600"/>
                    </a:cubicBezTo>
                    <a:cubicBezTo>
                      <a:pt x="252413" y="229553"/>
                      <a:pt x="248603" y="230505"/>
                      <a:pt x="245745" y="232410"/>
                    </a:cubicBezTo>
                    <a:cubicBezTo>
                      <a:pt x="245745" y="232410"/>
                      <a:pt x="245745" y="232410"/>
                      <a:pt x="245745" y="232410"/>
                    </a:cubicBezTo>
                    <a:cubicBezTo>
                      <a:pt x="245745" y="232410"/>
                      <a:pt x="244792" y="233363"/>
                      <a:pt x="244792" y="233363"/>
                    </a:cubicBezTo>
                    <a:cubicBezTo>
                      <a:pt x="243840" y="234315"/>
                      <a:pt x="242888" y="235267"/>
                      <a:pt x="240983" y="236220"/>
                    </a:cubicBezTo>
                    <a:cubicBezTo>
                      <a:pt x="238125" y="238125"/>
                      <a:pt x="235267" y="240983"/>
                      <a:pt x="232410" y="242888"/>
                    </a:cubicBezTo>
                    <a:cubicBezTo>
                      <a:pt x="232410" y="242888"/>
                      <a:pt x="231458" y="242888"/>
                      <a:pt x="231458" y="242888"/>
                    </a:cubicBezTo>
                    <a:cubicBezTo>
                      <a:pt x="228600" y="245745"/>
                      <a:pt x="225742" y="248603"/>
                      <a:pt x="222885" y="250508"/>
                    </a:cubicBezTo>
                    <a:cubicBezTo>
                      <a:pt x="222885" y="250508"/>
                      <a:pt x="221933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49555"/>
                    </a:cubicBezTo>
                    <a:cubicBezTo>
                      <a:pt x="220980" y="248603"/>
                      <a:pt x="221933" y="247650"/>
                      <a:pt x="221933" y="247650"/>
                    </a:cubicBezTo>
                    <a:cubicBezTo>
                      <a:pt x="222885" y="246698"/>
                      <a:pt x="222885" y="245745"/>
                      <a:pt x="223838" y="245745"/>
                    </a:cubicBezTo>
                    <a:cubicBezTo>
                      <a:pt x="224790" y="244792"/>
                      <a:pt x="224790" y="243840"/>
                      <a:pt x="225742" y="242888"/>
                    </a:cubicBezTo>
                    <a:cubicBezTo>
                      <a:pt x="225742" y="242888"/>
                      <a:pt x="225742" y="241935"/>
                      <a:pt x="225742" y="241935"/>
                    </a:cubicBezTo>
                    <a:cubicBezTo>
                      <a:pt x="225742" y="241935"/>
                      <a:pt x="225742" y="241935"/>
                      <a:pt x="224790" y="241935"/>
                    </a:cubicBezTo>
                    <a:cubicBezTo>
                      <a:pt x="227648" y="239078"/>
                      <a:pt x="230505" y="237173"/>
                      <a:pt x="233363" y="235267"/>
                    </a:cubicBezTo>
                    <a:lnTo>
                      <a:pt x="233363" y="235267"/>
                    </a:lnTo>
                    <a:cubicBezTo>
                      <a:pt x="233363" y="235267"/>
                      <a:pt x="232410" y="235267"/>
                      <a:pt x="232410" y="234315"/>
                    </a:cubicBezTo>
                    <a:cubicBezTo>
                      <a:pt x="232410" y="234315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4315" y="233363"/>
                      <a:pt x="233363" y="234315"/>
                      <a:pt x="233363" y="234315"/>
                    </a:cubicBezTo>
                    <a:cubicBezTo>
                      <a:pt x="232410" y="235267"/>
                      <a:pt x="231458" y="238125"/>
                      <a:pt x="229553" y="237173"/>
                    </a:cubicBezTo>
                    <a:cubicBezTo>
                      <a:pt x="229553" y="237173"/>
                      <a:pt x="228600" y="237173"/>
                      <a:pt x="228600" y="237173"/>
                    </a:cubicBezTo>
                    <a:cubicBezTo>
                      <a:pt x="228600" y="237173"/>
                      <a:pt x="228600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6220"/>
                    </a:cubicBezTo>
                    <a:cubicBezTo>
                      <a:pt x="227648" y="236220"/>
                      <a:pt x="227648" y="236220"/>
                      <a:pt x="227648" y="236220"/>
                    </a:cubicBezTo>
                    <a:cubicBezTo>
                      <a:pt x="227648" y="236220"/>
                      <a:pt x="227648" y="235267"/>
                      <a:pt x="228600" y="235267"/>
                    </a:cubicBezTo>
                    <a:cubicBezTo>
                      <a:pt x="228600" y="235267"/>
                      <a:pt x="228600" y="235267"/>
                      <a:pt x="228600" y="234315"/>
                    </a:cubicBezTo>
                    <a:cubicBezTo>
                      <a:pt x="228600" y="234315"/>
                      <a:pt x="228600" y="233363"/>
                      <a:pt x="229553" y="233363"/>
                    </a:cubicBezTo>
                    <a:cubicBezTo>
                      <a:pt x="229553" y="233363"/>
                      <a:pt x="229553" y="232410"/>
                      <a:pt x="229553" y="232410"/>
                    </a:cubicBezTo>
                    <a:cubicBezTo>
                      <a:pt x="230505" y="231458"/>
                      <a:pt x="231458" y="230505"/>
                      <a:pt x="233363" y="229553"/>
                    </a:cubicBezTo>
                    <a:lnTo>
                      <a:pt x="233363" y="229553"/>
                    </a:lnTo>
                    <a:cubicBezTo>
                      <a:pt x="235267" y="228600"/>
                      <a:pt x="237173" y="227648"/>
                      <a:pt x="239078" y="226695"/>
                    </a:cubicBezTo>
                    <a:cubicBezTo>
                      <a:pt x="239078" y="226695"/>
                      <a:pt x="240030" y="225742"/>
                      <a:pt x="240030" y="225742"/>
                    </a:cubicBezTo>
                    <a:cubicBezTo>
                      <a:pt x="237173" y="226695"/>
                      <a:pt x="234315" y="227648"/>
                      <a:pt x="231458" y="229553"/>
                    </a:cubicBezTo>
                    <a:cubicBezTo>
                      <a:pt x="231458" y="229553"/>
                      <a:pt x="230505" y="229553"/>
                      <a:pt x="230505" y="229553"/>
                    </a:cubicBezTo>
                    <a:cubicBezTo>
                      <a:pt x="230505" y="229553"/>
                      <a:pt x="229553" y="229553"/>
                      <a:pt x="229553" y="229553"/>
                    </a:cubicBezTo>
                    <a:cubicBezTo>
                      <a:pt x="229553" y="229553"/>
                      <a:pt x="229553" y="229553"/>
                      <a:pt x="229553" y="229553"/>
                    </a:cubicBezTo>
                    <a:cubicBezTo>
                      <a:pt x="230505" y="228600"/>
                      <a:pt x="231458" y="227648"/>
                      <a:pt x="232410" y="226695"/>
                    </a:cubicBezTo>
                    <a:cubicBezTo>
                      <a:pt x="233363" y="226695"/>
                      <a:pt x="233363" y="226695"/>
                      <a:pt x="233363" y="227648"/>
                    </a:cubicBezTo>
                    <a:cubicBezTo>
                      <a:pt x="249555" y="215265"/>
                      <a:pt x="272415" y="218123"/>
                      <a:pt x="291465" y="211455"/>
                    </a:cubicBezTo>
                    <a:cubicBezTo>
                      <a:pt x="293370" y="210503"/>
                      <a:pt x="294323" y="209550"/>
                      <a:pt x="296228" y="208598"/>
                    </a:cubicBezTo>
                    <a:cubicBezTo>
                      <a:pt x="299085" y="207645"/>
                      <a:pt x="300990" y="204788"/>
                      <a:pt x="303848" y="203835"/>
                    </a:cubicBezTo>
                    <a:cubicBezTo>
                      <a:pt x="307658" y="200978"/>
                      <a:pt x="310515" y="197167"/>
                      <a:pt x="312420" y="192405"/>
                    </a:cubicBezTo>
                    <a:cubicBezTo>
                      <a:pt x="312420" y="191453"/>
                      <a:pt x="311468" y="191453"/>
                      <a:pt x="311468" y="191453"/>
                    </a:cubicBezTo>
                    <a:cubicBezTo>
                      <a:pt x="304800" y="199073"/>
                      <a:pt x="297180" y="203835"/>
                      <a:pt x="288608" y="208598"/>
                    </a:cubicBezTo>
                    <a:cubicBezTo>
                      <a:pt x="278130" y="214313"/>
                      <a:pt x="265748" y="213360"/>
                      <a:pt x="255270" y="214313"/>
                    </a:cubicBezTo>
                    <a:cubicBezTo>
                      <a:pt x="256223" y="213360"/>
                      <a:pt x="257175" y="213360"/>
                      <a:pt x="258128" y="213360"/>
                    </a:cubicBezTo>
                    <a:cubicBezTo>
                      <a:pt x="258128" y="211455"/>
                      <a:pt x="259080" y="211455"/>
                      <a:pt x="260033" y="210503"/>
                    </a:cubicBezTo>
                    <a:lnTo>
                      <a:pt x="261938" y="210503"/>
                    </a:lnTo>
                    <a:cubicBezTo>
                      <a:pt x="262890" y="210503"/>
                      <a:pt x="262890" y="209550"/>
                      <a:pt x="262890" y="209550"/>
                    </a:cubicBezTo>
                    <a:cubicBezTo>
                      <a:pt x="263843" y="209550"/>
                      <a:pt x="265748" y="208598"/>
                      <a:pt x="264795" y="208598"/>
                    </a:cubicBezTo>
                    <a:cubicBezTo>
                      <a:pt x="262890" y="206692"/>
                      <a:pt x="260033" y="210503"/>
                      <a:pt x="257175" y="208598"/>
                    </a:cubicBezTo>
                    <a:cubicBezTo>
                      <a:pt x="258128" y="207645"/>
                      <a:pt x="258128" y="205740"/>
                      <a:pt x="259080" y="205740"/>
                    </a:cubicBezTo>
                    <a:lnTo>
                      <a:pt x="260985" y="205740"/>
                    </a:lnTo>
                    <a:cubicBezTo>
                      <a:pt x="260985" y="204788"/>
                      <a:pt x="261938" y="203835"/>
                      <a:pt x="261938" y="203835"/>
                    </a:cubicBezTo>
                    <a:cubicBezTo>
                      <a:pt x="269558" y="199073"/>
                      <a:pt x="277178" y="195263"/>
                      <a:pt x="283845" y="191453"/>
                    </a:cubicBezTo>
                    <a:cubicBezTo>
                      <a:pt x="281940" y="191453"/>
                      <a:pt x="280988" y="193358"/>
                      <a:pt x="280035" y="192405"/>
                    </a:cubicBezTo>
                    <a:cubicBezTo>
                      <a:pt x="280988" y="192405"/>
                      <a:pt x="280035" y="190500"/>
                      <a:pt x="280988" y="190500"/>
                    </a:cubicBezTo>
                    <a:cubicBezTo>
                      <a:pt x="286703" y="188595"/>
                      <a:pt x="291465" y="185738"/>
                      <a:pt x="297180" y="183833"/>
                    </a:cubicBezTo>
                    <a:cubicBezTo>
                      <a:pt x="295275" y="183833"/>
                      <a:pt x="293370" y="185738"/>
                      <a:pt x="291465" y="183833"/>
                    </a:cubicBezTo>
                    <a:cubicBezTo>
                      <a:pt x="292418" y="182880"/>
                      <a:pt x="293370" y="181928"/>
                      <a:pt x="294323" y="181928"/>
                    </a:cubicBezTo>
                    <a:lnTo>
                      <a:pt x="294323" y="180023"/>
                    </a:lnTo>
                    <a:cubicBezTo>
                      <a:pt x="294323" y="179070"/>
                      <a:pt x="295275" y="179070"/>
                      <a:pt x="295275" y="179070"/>
                    </a:cubicBezTo>
                    <a:cubicBezTo>
                      <a:pt x="294323" y="179070"/>
                      <a:pt x="294323" y="178117"/>
                      <a:pt x="294323" y="178117"/>
                    </a:cubicBezTo>
                    <a:cubicBezTo>
                      <a:pt x="295275" y="177165"/>
                      <a:pt x="296228" y="177165"/>
                      <a:pt x="297180" y="176213"/>
                    </a:cubicBezTo>
                    <a:cubicBezTo>
                      <a:pt x="296228" y="176213"/>
                      <a:pt x="295275" y="176213"/>
                      <a:pt x="295275" y="175260"/>
                    </a:cubicBezTo>
                    <a:cubicBezTo>
                      <a:pt x="297180" y="173355"/>
                      <a:pt x="299085" y="172403"/>
                      <a:pt x="301943" y="172403"/>
                    </a:cubicBezTo>
                    <a:cubicBezTo>
                      <a:pt x="300990" y="171450"/>
                      <a:pt x="300038" y="172403"/>
                      <a:pt x="300038" y="171450"/>
                    </a:cubicBezTo>
                    <a:cubicBezTo>
                      <a:pt x="300038" y="170498"/>
                      <a:pt x="300990" y="170498"/>
                      <a:pt x="300990" y="170498"/>
                    </a:cubicBezTo>
                    <a:lnTo>
                      <a:pt x="300990" y="170498"/>
                    </a:lnTo>
                    <a:cubicBezTo>
                      <a:pt x="300038" y="169545"/>
                      <a:pt x="300038" y="168592"/>
                      <a:pt x="300038" y="168592"/>
                    </a:cubicBezTo>
                    <a:cubicBezTo>
                      <a:pt x="302895" y="164783"/>
                      <a:pt x="302895" y="160020"/>
                      <a:pt x="304800" y="156210"/>
                    </a:cubicBezTo>
                    <a:cubicBezTo>
                      <a:pt x="303848" y="156210"/>
                      <a:pt x="303848" y="156210"/>
                      <a:pt x="303848" y="155258"/>
                    </a:cubicBezTo>
                    <a:cubicBezTo>
                      <a:pt x="299085" y="160973"/>
                      <a:pt x="290513" y="162878"/>
                      <a:pt x="282893" y="164783"/>
                    </a:cubicBezTo>
                    <a:lnTo>
                      <a:pt x="280035" y="164783"/>
                    </a:lnTo>
                    <a:cubicBezTo>
                      <a:pt x="277178" y="165735"/>
                      <a:pt x="274320" y="165735"/>
                      <a:pt x="271463" y="163830"/>
                    </a:cubicBezTo>
                    <a:cubicBezTo>
                      <a:pt x="269558" y="162878"/>
                      <a:pt x="268605" y="160973"/>
                      <a:pt x="266700" y="160020"/>
                    </a:cubicBezTo>
                    <a:cubicBezTo>
                      <a:pt x="262890" y="157163"/>
                      <a:pt x="258128" y="155258"/>
                      <a:pt x="254317" y="154305"/>
                    </a:cubicBezTo>
                    <a:cubicBezTo>
                      <a:pt x="240983" y="150495"/>
                      <a:pt x="227648" y="148590"/>
                      <a:pt x="215265" y="148590"/>
                    </a:cubicBezTo>
                    <a:cubicBezTo>
                      <a:pt x="220980" y="145733"/>
                      <a:pt x="226695" y="145733"/>
                      <a:pt x="233363" y="143828"/>
                    </a:cubicBezTo>
                    <a:cubicBezTo>
                      <a:pt x="241935" y="140970"/>
                      <a:pt x="250508" y="138113"/>
                      <a:pt x="259080" y="139065"/>
                    </a:cubicBezTo>
                    <a:cubicBezTo>
                      <a:pt x="257175" y="138113"/>
                      <a:pt x="255270" y="139065"/>
                      <a:pt x="254317" y="139065"/>
                    </a:cubicBezTo>
                    <a:cubicBezTo>
                      <a:pt x="246698" y="138113"/>
                      <a:pt x="240030" y="140970"/>
                      <a:pt x="232410" y="141923"/>
                    </a:cubicBezTo>
                    <a:cubicBezTo>
                      <a:pt x="227648" y="142875"/>
                      <a:pt x="222885" y="144780"/>
                      <a:pt x="217170" y="145733"/>
                    </a:cubicBezTo>
                    <a:cubicBezTo>
                      <a:pt x="214313" y="146685"/>
                      <a:pt x="212408" y="149542"/>
                      <a:pt x="208598" y="149542"/>
                    </a:cubicBezTo>
                    <a:lnTo>
                      <a:pt x="208598" y="147638"/>
                    </a:lnTo>
                    <a:cubicBezTo>
                      <a:pt x="213360" y="141923"/>
                      <a:pt x="220028" y="135255"/>
                      <a:pt x="227648" y="135255"/>
                    </a:cubicBezTo>
                    <a:cubicBezTo>
                      <a:pt x="237173" y="133350"/>
                      <a:pt x="245745" y="135255"/>
                      <a:pt x="254317" y="136208"/>
                    </a:cubicBezTo>
                    <a:cubicBezTo>
                      <a:pt x="260985" y="137160"/>
                      <a:pt x="266700" y="138113"/>
                      <a:pt x="273368" y="140017"/>
                    </a:cubicBezTo>
                    <a:cubicBezTo>
                      <a:pt x="276225" y="140017"/>
                      <a:pt x="276225" y="143828"/>
                      <a:pt x="278130" y="144780"/>
                    </a:cubicBezTo>
                    <a:cubicBezTo>
                      <a:pt x="280988" y="145733"/>
                      <a:pt x="283845" y="144780"/>
                      <a:pt x="287655" y="146685"/>
                    </a:cubicBezTo>
                    <a:cubicBezTo>
                      <a:pt x="287655" y="145733"/>
                      <a:pt x="286703" y="144780"/>
                      <a:pt x="287655" y="143828"/>
                    </a:cubicBezTo>
                    <a:cubicBezTo>
                      <a:pt x="289560" y="141923"/>
                      <a:pt x="292418" y="144780"/>
                      <a:pt x="294323" y="142875"/>
                    </a:cubicBezTo>
                    <a:cubicBezTo>
                      <a:pt x="298133" y="140017"/>
                      <a:pt x="290513" y="136208"/>
                      <a:pt x="288608" y="132398"/>
                    </a:cubicBezTo>
                    <a:cubicBezTo>
                      <a:pt x="288608" y="131445"/>
                      <a:pt x="289560" y="131445"/>
                      <a:pt x="289560" y="131445"/>
                    </a:cubicBezTo>
                    <a:cubicBezTo>
                      <a:pt x="293370" y="135255"/>
                      <a:pt x="296228" y="139065"/>
                      <a:pt x="301943" y="141923"/>
                    </a:cubicBezTo>
                    <a:cubicBezTo>
                      <a:pt x="304800" y="142875"/>
                      <a:pt x="310515" y="144780"/>
                      <a:pt x="309563" y="140970"/>
                    </a:cubicBezTo>
                    <a:cubicBezTo>
                      <a:pt x="306705" y="135255"/>
                      <a:pt x="301943" y="130492"/>
                      <a:pt x="298133" y="125730"/>
                    </a:cubicBezTo>
                    <a:lnTo>
                      <a:pt x="298133" y="123825"/>
                    </a:lnTo>
                    <a:cubicBezTo>
                      <a:pt x="297180" y="123825"/>
                      <a:pt x="297180" y="122873"/>
                      <a:pt x="296228" y="122873"/>
                    </a:cubicBezTo>
                    <a:lnTo>
                      <a:pt x="296228" y="120015"/>
                    </a:lnTo>
                    <a:cubicBezTo>
                      <a:pt x="294323" y="119063"/>
                      <a:pt x="294323" y="117158"/>
                      <a:pt x="293370" y="115253"/>
                    </a:cubicBezTo>
                    <a:cubicBezTo>
                      <a:pt x="291465" y="112395"/>
                      <a:pt x="292418" y="109538"/>
                      <a:pt x="291465" y="105728"/>
                    </a:cubicBezTo>
                    <a:cubicBezTo>
                      <a:pt x="291465" y="103823"/>
                      <a:pt x="291465" y="100965"/>
                      <a:pt x="290513" y="98108"/>
                    </a:cubicBezTo>
                    <a:cubicBezTo>
                      <a:pt x="288608" y="89535"/>
                      <a:pt x="286703" y="81915"/>
                      <a:pt x="285750" y="73342"/>
                    </a:cubicBezTo>
                    <a:cubicBezTo>
                      <a:pt x="284798" y="63817"/>
                      <a:pt x="291465" y="56197"/>
                      <a:pt x="296228" y="47625"/>
                    </a:cubicBezTo>
                    <a:cubicBezTo>
                      <a:pt x="300038" y="41910"/>
                      <a:pt x="303848" y="35242"/>
                      <a:pt x="310515" y="31433"/>
                    </a:cubicBezTo>
                    <a:cubicBezTo>
                      <a:pt x="312420" y="25718"/>
                      <a:pt x="316230" y="20003"/>
                      <a:pt x="320040" y="15240"/>
                    </a:cubicBezTo>
                    <a:cubicBezTo>
                      <a:pt x="323850" y="10478"/>
                      <a:pt x="330518" y="7620"/>
                      <a:pt x="336233" y="4763"/>
                    </a:cubicBezTo>
                    <a:cubicBezTo>
                      <a:pt x="342900" y="1905"/>
                      <a:pt x="349568" y="0"/>
                      <a:pt x="349568" y="0"/>
                    </a:cubicBezTo>
                    <a:lnTo>
                      <a:pt x="0" y="0"/>
                    </a:lnTo>
                    <a:lnTo>
                      <a:pt x="0" y="269558"/>
                    </a:lnTo>
                    <a:lnTo>
                      <a:pt x="247650" y="269558"/>
                    </a:lnTo>
                    <a:cubicBezTo>
                      <a:pt x="257175" y="262890"/>
                      <a:pt x="266700" y="259080"/>
                      <a:pt x="280988" y="252413"/>
                    </a:cubicBezTo>
                    <a:cubicBezTo>
                      <a:pt x="286703" y="249555"/>
                      <a:pt x="301943" y="242888"/>
                      <a:pt x="306705" y="237173"/>
                    </a:cubicBezTo>
                    <a:moveTo>
                      <a:pt x="227648" y="200978"/>
                    </a:moveTo>
                    <a:cubicBezTo>
                      <a:pt x="226695" y="200978"/>
                      <a:pt x="224790" y="201930"/>
                      <a:pt x="224790" y="200025"/>
                    </a:cubicBezTo>
                    <a:cubicBezTo>
                      <a:pt x="225742" y="197167"/>
                      <a:pt x="228600" y="197167"/>
                      <a:pt x="230505" y="196215"/>
                    </a:cubicBezTo>
                    <a:cubicBezTo>
                      <a:pt x="231458" y="195263"/>
                      <a:pt x="233363" y="194310"/>
                      <a:pt x="234315" y="195263"/>
                    </a:cubicBezTo>
                    <a:cubicBezTo>
                      <a:pt x="235267" y="197167"/>
                      <a:pt x="237173" y="196215"/>
                      <a:pt x="238125" y="197167"/>
                    </a:cubicBezTo>
                    <a:cubicBezTo>
                      <a:pt x="235267" y="200978"/>
                      <a:pt x="231458" y="200025"/>
                      <a:pt x="227648" y="200978"/>
                    </a:cubicBezTo>
                    <a:moveTo>
                      <a:pt x="149542" y="189548"/>
                    </a:moveTo>
                    <a:cubicBezTo>
                      <a:pt x="149542" y="189548"/>
                      <a:pt x="148590" y="188595"/>
                      <a:pt x="148590" y="188595"/>
                    </a:cubicBezTo>
                    <a:cubicBezTo>
                      <a:pt x="155258" y="180023"/>
                      <a:pt x="160020" y="171450"/>
                      <a:pt x="164783" y="162878"/>
                    </a:cubicBezTo>
                    <a:cubicBezTo>
                      <a:pt x="171450" y="159067"/>
                      <a:pt x="177165" y="154305"/>
                      <a:pt x="181928" y="148590"/>
                    </a:cubicBezTo>
                    <a:cubicBezTo>
                      <a:pt x="190500" y="139065"/>
                      <a:pt x="200025" y="131445"/>
                      <a:pt x="210503" y="125730"/>
                    </a:cubicBezTo>
                    <a:cubicBezTo>
                      <a:pt x="214313" y="123825"/>
                      <a:pt x="220028" y="124778"/>
                      <a:pt x="223838" y="126683"/>
                    </a:cubicBezTo>
                    <a:cubicBezTo>
                      <a:pt x="221933" y="128588"/>
                      <a:pt x="220028" y="128588"/>
                      <a:pt x="218123" y="129540"/>
                    </a:cubicBezTo>
                    <a:cubicBezTo>
                      <a:pt x="217170" y="129540"/>
                      <a:pt x="217170" y="129540"/>
                      <a:pt x="216217" y="128588"/>
                    </a:cubicBezTo>
                    <a:cubicBezTo>
                      <a:pt x="217170" y="127635"/>
                      <a:pt x="217170" y="127635"/>
                      <a:pt x="217170" y="126683"/>
                    </a:cubicBezTo>
                    <a:cubicBezTo>
                      <a:pt x="212408" y="132398"/>
                      <a:pt x="204788" y="135255"/>
                      <a:pt x="200978" y="141923"/>
                    </a:cubicBezTo>
                    <a:cubicBezTo>
                      <a:pt x="198120" y="146685"/>
                      <a:pt x="196215" y="153353"/>
                      <a:pt x="189548" y="155258"/>
                    </a:cubicBezTo>
                    <a:cubicBezTo>
                      <a:pt x="187642" y="156210"/>
                      <a:pt x="190500" y="153353"/>
                      <a:pt x="188595" y="154305"/>
                    </a:cubicBezTo>
                    <a:cubicBezTo>
                      <a:pt x="173355" y="164783"/>
                      <a:pt x="161925" y="176213"/>
                      <a:pt x="149542" y="189548"/>
                    </a:cubicBezTo>
                    <a:moveTo>
                      <a:pt x="192405" y="156210"/>
                    </a:moveTo>
                    <a:cubicBezTo>
                      <a:pt x="191453" y="157163"/>
                      <a:pt x="191453" y="157163"/>
                      <a:pt x="190500" y="158115"/>
                    </a:cubicBezTo>
                    <a:cubicBezTo>
                      <a:pt x="189548" y="159067"/>
                      <a:pt x="189548" y="160020"/>
                      <a:pt x="188595" y="160020"/>
                    </a:cubicBezTo>
                    <a:cubicBezTo>
                      <a:pt x="187642" y="160020"/>
                      <a:pt x="187642" y="160020"/>
                      <a:pt x="187642" y="159067"/>
                    </a:cubicBezTo>
                    <a:cubicBezTo>
                      <a:pt x="188595" y="157163"/>
                      <a:pt x="189548" y="155258"/>
                      <a:pt x="191453" y="154305"/>
                    </a:cubicBezTo>
                    <a:cubicBezTo>
                      <a:pt x="192405" y="155258"/>
                      <a:pt x="192405" y="155258"/>
                      <a:pt x="192405" y="156210"/>
                    </a:cubicBezTo>
                    <a:moveTo>
                      <a:pt x="216217" y="232410"/>
                    </a:moveTo>
                    <a:cubicBezTo>
                      <a:pt x="216217" y="233363"/>
                      <a:pt x="215265" y="233363"/>
                      <a:pt x="215265" y="234315"/>
                    </a:cubicBezTo>
                    <a:cubicBezTo>
                      <a:pt x="216217" y="234315"/>
                      <a:pt x="216217" y="234315"/>
                      <a:pt x="216217" y="235267"/>
                    </a:cubicBezTo>
                    <a:cubicBezTo>
                      <a:pt x="215265" y="236220"/>
                      <a:pt x="214313" y="237173"/>
                      <a:pt x="212408" y="238125"/>
                    </a:cubicBezTo>
                    <a:cubicBezTo>
                      <a:pt x="212408" y="238125"/>
                      <a:pt x="212408" y="238125"/>
                      <a:pt x="211455" y="238125"/>
                    </a:cubicBezTo>
                    <a:cubicBezTo>
                      <a:pt x="210503" y="239078"/>
                      <a:pt x="210503" y="239078"/>
                      <a:pt x="209550" y="240030"/>
                    </a:cubicBezTo>
                    <a:cubicBezTo>
                      <a:pt x="208598" y="240983"/>
                      <a:pt x="205740" y="240030"/>
                      <a:pt x="206692" y="239078"/>
                    </a:cubicBezTo>
                    <a:cubicBezTo>
                      <a:pt x="207645" y="238125"/>
                      <a:pt x="209550" y="236220"/>
                      <a:pt x="210503" y="235267"/>
                    </a:cubicBezTo>
                    <a:cubicBezTo>
                      <a:pt x="211455" y="234315"/>
                      <a:pt x="212408" y="234315"/>
                      <a:pt x="212408" y="233363"/>
                    </a:cubicBezTo>
                    <a:cubicBezTo>
                      <a:pt x="212408" y="233363"/>
                      <a:pt x="213360" y="232410"/>
                      <a:pt x="213360" y="232410"/>
                    </a:cubicBezTo>
                    <a:cubicBezTo>
                      <a:pt x="213360" y="231458"/>
                      <a:pt x="216217" y="231458"/>
                      <a:pt x="216217" y="232410"/>
                    </a:cubicBezTo>
                    <a:moveTo>
                      <a:pt x="206692" y="228600"/>
                    </a:moveTo>
                    <a:cubicBezTo>
                      <a:pt x="206692" y="228600"/>
                      <a:pt x="206692" y="228600"/>
                      <a:pt x="206692" y="228600"/>
                    </a:cubicBezTo>
                    <a:cubicBezTo>
                      <a:pt x="204788" y="230505"/>
                      <a:pt x="202883" y="231458"/>
                      <a:pt x="200978" y="232410"/>
                    </a:cubicBezTo>
                    <a:cubicBezTo>
                      <a:pt x="199073" y="233363"/>
                      <a:pt x="196215" y="234315"/>
                      <a:pt x="194310" y="235267"/>
                    </a:cubicBezTo>
                    <a:cubicBezTo>
                      <a:pt x="194310" y="235267"/>
                      <a:pt x="194310" y="235267"/>
                      <a:pt x="194310" y="235267"/>
                    </a:cubicBezTo>
                    <a:cubicBezTo>
                      <a:pt x="194310" y="235267"/>
                      <a:pt x="193358" y="235267"/>
                      <a:pt x="193358" y="235267"/>
                    </a:cubicBezTo>
                    <a:cubicBezTo>
                      <a:pt x="191453" y="236220"/>
                      <a:pt x="189548" y="238125"/>
                      <a:pt x="188595" y="239078"/>
                    </a:cubicBezTo>
                    <a:cubicBezTo>
                      <a:pt x="188595" y="239078"/>
                      <a:pt x="188595" y="239078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5738" y="241935"/>
                      <a:pt x="185738" y="241935"/>
                    </a:cubicBezTo>
                    <a:cubicBezTo>
                      <a:pt x="185738" y="241935"/>
                      <a:pt x="185738" y="242888"/>
                      <a:pt x="184785" y="242888"/>
                    </a:cubicBezTo>
                    <a:cubicBezTo>
                      <a:pt x="184785" y="242888"/>
                      <a:pt x="183833" y="242888"/>
                      <a:pt x="183833" y="242888"/>
                    </a:cubicBezTo>
                    <a:cubicBezTo>
                      <a:pt x="183833" y="242888"/>
                      <a:pt x="183833" y="242888"/>
                      <a:pt x="183833" y="242888"/>
                    </a:cubicBezTo>
                    <a:cubicBezTo>
                      <a:pt x="183833" y="242888"/>
                      <a:pt x="182880" y="242888"/>
                      <a:pt x="182880" y="242888"/>
                    </a:cubicBezTo>
                    <a:cubicBezTo>
                      <a:pt x="182880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0975" y="243840"/>
                      <a:pt x="180975" y="243840"/>
                      <a:pt x="180023" y="244792"/>
                    </a:cubicBezTo>
                    <a:cubicBezTo>
                      <a:pt x="179070" y="245745"/>
                      <a:pt x="178117" y="246698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8603"/>
                    </a:cubicBezTo>
                    <a:lnTo>
                      <a:pt x="177165" y="248603"/>
                    </a:ln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7650"/>
                      <a:pt x="177165" y="247650"/>
                    </a:cubicBezTo>
                    <a:lnTo>
                      <a:pt x="177165" y="247650"/>
                    </a:ln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8117" y="246698"/>
                      <a:pt x="178117" y="246698"/>
                      <a:pt x="179070" y="245745"/>
                    </a:cubicBezTo>
                    <a:cubicBezTo>
                      <a:pt x="179070" y="245745"/>
                      <a:pt x="179070" y="245745"/>
                      <a:pt x="179070" y="245745"/>
                    </a:cubicBezTo>
                    <a:cubicBezTo>
                      <a:pt x="179070" y="245745"/>
                      <a:pt x="179070" y="245745"/>
                      <a:pt x="180023" y="244792"/>
                    </a:cubicBezTo>
                    <a:cubicBezTo>
                      <a:pt x="180023" y="244792"/>
                      <a:pt x="180975" y="243840"/>
                      <a:pt x="180975" y="243840"/>
                    </a:cubicBezTo>
                    <a:cubicBezTo>
                      <a:pt x="180975" y="243840"/>
                      <a:pt x="180975" y="243840"/>
                      <a:pt x="180975" y="243840"/>
                    </a:cubicBezTo>
                    <a:cubicBezTo>
                      <a:pt x="181928" y="242888"/>
                      <a:pt x="181928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3833" y="240983"/>
                      <a:pt x="183833" y="240983"/>
                    </a:cubicBezTo>
                    <a:cubicBezTo>
                      <a:pt x="183833" y="240983"/>
                      <a:pt x="183833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8125"/>
                    </a:cubicBezTo>
                    <a:cubicBezTo>
                      <a:pt x="185738" y="238125"/>
                      <a:pt x="185738" y="238125"/>
                      <a:pt x="185738" y="238125"/>
                    </a:cubicBezTo>
                    <a:cubicBezTo>
                      <a:pt x="185738" y="238125"/>
                      <a:pt x="185738" y="237173"/>
                      <a:pt x="185738" y="237173"/>
                    </a:cubicBezTo>
                    <a:cubicBezTo>
                      <a:pt x="185738" y="237173"/>
                      <a:pt x="185738" y="237173"/>
                      <a:pt x="185738" y="237173"/>
                    </a:cubicBezTo>
                    <a:cubicBezTo>
                      <a:pt x="186690" y="236220"/>
                      <a:pt x="186690" y="235267"/>
                      <a:pt x="187642" y="234315"/>
                    </a:cubicBezTo>
                    <a:cubicBezTo>
                      <a:pt x="187642" y="234315"/>
                      <a:pt x="187642" y="234315"/>
                      <a:pt x="187642" y="234315"/>
                    </a:cubicBezTo>
                    <a:cubicBezTo>
                      <a:pt x="186690" y="234315"/>
                      <a:pt x="186690" y="235267"/>
                      <a:pt x="185738" y="236220"/>
                    </a:cubicBezTo>
                    <a:cubicBezTo>
                      <a:pt x="184785" y="236220"/>
                      <a:pt x="183833" y="236220"/>
                      <a:pt x="184785" y="235267"/>
                    </a:cubicBezTo>
                    <a:cubicBezTo>
                      <a:pt x="184785" y="235267"/>
                      <a:pt x="185738" y="234315"/>
                      <a:pt x="185738" y="234315"/>
                    </a:cubicBezTo>
                    <a:cubicBezTo>
                      <a:pt x="185738" y="234315"/>
                      <a:pt x="185738" y="234315"/>
                      <a:pt x="185738" y="234315"/>
                    </a:cubicBezTo>
                    <a:cubicBezTo>
                      <a:pt x="186690" y="233363"/>
                      <a:pt x="187642" y="232410"/>
                      <a:pt x="188595" y="231458"/>
                    </a:cubicBezTo>
                    <a:cubicBezTo>
                      <a:pt x="189548" y="231458"/>
                      <a:pt x="189548" y="230505"/>
                      <a:pt x="190500" y="230505"/>
                    </a:cubicBezTo>
                    <a:cubicBezTo>
                      <a:pt x="190500" y="230505"/>
                      <a:pt x="190500" y="230505"/>
                      <a:pt x="190500" y="230505"/>
                    </a:cubicBezTo>
                    <a:cubicBezTo>
                      <a:pt x="190500" y="230505"/>
                      <a:pt x="191453" y="229553"/>
                      <a:pt x="191453" y="229553"/>
                    </a:cubicBezTo>
                    <a:cubicBezTo>
                      <a:pt x="191453" y="229553"/>
                      <a:pt x="191453" y="229553"/>
                      <a:pt x="191453" y="229553"/>
                    </a:cubicBezTo>
                    <a:cubicBezTo>
                      <a:pt x="196215" y="224790"/>
                      <a:pt x="204788" y="224790"/>
                      <a:pt x="211455" y="221933"/>
                    </a:cubicBezTo>
                    <a:cubicBezTo>
                      <a:pt x="214313" y="220980"/>
                      <a:pt x="217170" y="222885"/>
                      <a:pt x="220028" y="221933"/>
                    </a:cubicBezTo>
                    <a:cubicBezTo>
                      <a:pt x="221933" y="221933"/>
                      <a:pt x="222885" y="221933"/>
                      <a:pt x="224790" y="222885"/>
                    </a:cubicBezTo>
                    <a:cubicBezTo>
                      <a:pt x="215265" y="222885"/>
                      <a:pt x="211455" y="225742"/>
                      <a:pt x="206692" y="228600"/>
                    </a:cubicBezTo>
                    <a:moveTo>
                      <a:pt x="217170" y="193358"/>
                    </a:moveTo>
                    <a:cubicBezTo>
                      <a:pt x="216217" y="192405"/>
                      <a:pt x="219075" y="193358"/>
                      <a:pt x="219075" y="192405"/>
                    </a:cubicBezTo>
                    <a:lnTo>
                      <a:pt x="215265" y="192405"/>
                    </a:lnTo>
                    <a:cubicBezTo>
                      <a:pt x="214313" y="192405"/>
                      <a:pt x="214313" y="191453"/>
                      <a:pt x="214313" y="191453"/>
                    </a:cubicBezTo>
                    <a:cubicBezTo>
                      <a:pt x="211455" y="192405"/>
                      <a:pt x="208598" y="193358"/>
                      <a:pt x="205740" y="193358"/>
                    </a:cubicBezTo>
                    <a:cubicBezTo>
                      <a:pt x="201930" y="194310"/>
                      <a:pt x="199073" y="197167"/>
                      <a:pt x="195263" y="198120"/>
                    </a:cubicBezTo>
                    <a:cubicBezTo>
                      <a:pt x="189548" y="200025"/>
                      <a:pt x="184785" y="204788"/>
                      <a:pt x="179070" y="206692"/>
                    </a:cubicBezTo>
                    <a:cubicBezTo>
                      <a:pt x="178117" y="206692"/>
                      <a:pt x="178117" y="205740"/>
                      <a:pt x="178117" y="205740"/>
                    </a:cubicBezTo>
                    <a:cubicBezTo>
                      <a:pt x="179070" y="203835"/>
                      <a:pt x="180975" y="203835"/>
                      <a:pt x="181928" y="201930"/>
                    </a:cubicBezTo>
                    <a:cubicBezTo>
                      <a:pt x="181928" y="200978"/>
                      <a:pt x="181928" y="200978"/>
                      <a:pt x="180975" y="200978"/>
                    </a:cubicBezTo>
                    <a:cubicBezTo>
                      <a:pt x="184785" y="195263"/>
                      <a:pt x="190500" y="192405"/>
                      <a:pt x="196215" y="187642"/>
                    </a:cubicBezTo>
                    <a:lnTo>
                      <a:pt x="196215" y="185738"/>
                    </a:lnTo>
                    <a:cubicBezTo>
                      <a:pt x="198120" y="183833"/>
                      <a:pt x="200025" y="182880"/>
                      <a:pt x="200978" y="180023"/>
                    </a:cubicBezTo>
                    <a:cubicBezTo>
                      <a:pt x="201930" y="178117"/>
                      <a:pt x="203835" y="176213"/>
                      <a:pt x="205740" y="175260"/>
                    </a:cubicBezTo>
                    <a:cubicBezTo>
                      <a:pt x="204788" y="174308"/>
                      <a:pt x="203835" y="174308"/>
                      <a:pt x="203835" y="173355"/>
                    </a:cubicBezTo>
                    <a:cubicBezTo>
                      <a:pt x="201930" y="173355"/>
                      <a:pt x="200025" y="174308"/>
                      <a:pt x="198120" y="172403"/>
                    </a:cubicBezTo>
                    <a:cubicBezTo>
                      <a:pt x="199073" y="171450"/>
                      <a:pt x="200025" y="170498"/>
                      <a:pt x="200978" y="170498"/>
                    </a:cubicBezTo>
                    <a:cubicBezTo>
                      <a:pt x="200978" y="170498"/>
                      <a:pt x="200025" y="170498"/>
                      <a:pt x="200025" y="169545"/>
                    </a:cubicBezTo>
                    <a:cubicBezTo>
                      <a:pt x="199073" y="168592"/>
                      <a:pt x="200978" y="167640"/>
                      <a:pt x="202883" y="166688"/>
                    </a:cubicBezTo>
                    <a:cubicBezTo>
                      <a:pt x="204788" y="165735"/>
                      <a:pt x="207645" y="165735"/>
                      <a:pt x="208598" y="164783"/>
                    </a:cubicBezTo>
                    <a:cubicBezTo>
                      <a:pt x="204788" y="163830"/>
                      <a:pt x="200978" y="165735"/>
                      <a:pt x="197167" y="163830"/>
                    </a:cubicBezTo>
                    <a:cubicBezTo>
                      <a:pt x="200025" y="157163"/>
                      <a:pt x="203835" y="151448"/>
                      <a:pt x="209550" y="148590"/>
                    </a:cubicBezTo>
                    <a:cubicBezTo>
                      <a:pt x="210503" y="148590"/>
                      <a:pt x="211455" y="148590"/>
                      <a:pt x="211455" y="149542"/>
                    </a:cubicBezTo>
                    <a:cubicBezTo>
                      <a:pt x="211455" y="152400"/>
                      <a:pt x="209550" y="154305"/>
                      <a:pt x="207645" y="154305"/>
                    </a:cubicBezTo>
                    <a:cubicBezTo>
                      <a:pt x="211455" y="155258"/>
                      <a:pt x="216217" y="155258"/>
                      <a:pt x="220028" y="157163"/>
                    </a:cubicBezTo>
                    <a:cubicBezTo>
                      <a:pt x="219075" y="158115"/>
                      <a:pt x="218123" y="158115"/>
                      <a:pt x="218123" y="158115"/>
                    </a:cubicBezTo>
                    <a:cubicBezTo>
                      <a:pt x="220980" y="160020"/>
                      <a:pt x="223838" y="159067"/>
                      <a:pt x="226695" y="160973"/>
                    </a:cubicBezTo>
                    <a:cubicBezTo>
                      <a:pt x="224790" y="162878"/>
                      <a:pt x="223838" y="160973"/>
                      <a:pt x="221933" y="160973"/>
                    </a:cubicBezTo>
                    <a:cubicBezTo>
                      <a:pt x="238125" y="165735"/>
                      <a:pt x="254317" y="169545"/>
                      <a:pt x="267653" y="179070"/>
                    </a:cubicBezTo>
                    <a:cubicBezTo>
                      <a:pt x="256223" y="184785"/>
                      <a:pt x="244792" y="187642"/>
                      <a:pt x="232410" y="189548"/>
                    </a:cubicBezTo>
                    <a:cubicBezTo>
                      <a:pt x="230505" y="189548"/>
                      <a:pt x="229553" y="189548"/>
                      <a:pt x="228600" y="188595"/>
                    </a:cubicBezTo>
                    <a:cubicBezTo>
                      <a:pt x="228600" y="189548"/>
                      <a:pt x="228600" y="190500"/>
                      <a:pt x="227648" y="190500"/>
                    </a:cubicBezTo>
                    <a:cubicBezTo>
                      <a:pt x="225742" y="190500"/>
                      <a:pt x="223838" y="190500"/>
                      <a:pt x="222885" y="191453"/>
                    </a:cubicBezTo>
                    <a:cubicBezTo>
                      <a:pt x="221933" y="194310"/>
                      <a:pt x="219075" y="194310"/>
                      <a:pt x="217170" y="193358"/>
                    </a:cubicBezTo>
                  </a:path>
                </a:pathLst>
              </a:custGeom>
              <a:solidFill>
                <a:srgbClr val="0000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7" name="Forme libre : forme 16">
                <a:extLst>
                  <a:ext uri="{FF2B5EF4-FFF2-40B4-BE49-F238E27FC236}">
                    <a16:creationId xmlns:a16="http://schemas.microsoft.com/office/drawing/2014/main" id="{41FC6F51-0348-4282-861C-87E9A6355D24}"/>
                  </a:ext>
                </a:extLst>
              </p:cNvPr>
              <p:cNvSpPr/>
              <p:nvPr/>
            </p:nvSpPr>
            <p:spPr>
              <a:xfrm>
                <a:off x="687476" y="269557"/>
                <a:ext cx="327888" cy="269557"/>
              </a:xfrm>
              <a:custGeom>
                <a:avLst/>
                <a:gdLst>
                  <a:gd name="connsiteX0" fmla="*/ 325031 w 327888"/>
                  <a:gd name="connsiteY0" fmla="*/ 0 h 269557"/>
                  <a:gd name="connsiteX1" fmla="*/ 34519 w 327888"/>
                  <a:gd name="connsiteY1" fmla="*/ 0 h 269557"/>
                  <a:gd name="connsiteX2" fmla="*/ 37376 w 327888"/>
                  <a:gd name="connsiteY2" fmla="*/ 953 h 269557"/>
                  <a:gd name="connsiteX3" fmla="*/ 44996 w 327888"/>
                  <a:gd name="connsiteY3" fmla="*/ 4763 h 269557"/>
                  <a:gd name="connsiteX4" fmla="*/ 54521 w 327888"/>
                  <a:gd name="connsiteY4" fmla="*/ 13335 h 269557"/>
                  <a:gd name="connsiteX5" fmla="*/ 56426 w 327888"/>
                  <a:gd name="connsiteY5" fmla="*/ 20003 h 269557"/>
                  <a:gd name="connsiteX6" fmla="*/ 52616 w 327888"/>
                  <a:gd name="connsiteY6" fmla="*/ 27623 h 269557"/>
                  <a:gd name="connsiteX7" fmla="*/ 42139 w 327888"/>
                  <a:gd name="connsiteY7" fmla="*/ 28575 h 269557"/>
                  <a:gd name="connsiteX8" fmla="*/ 36424 w 327888"/>
                  <a:gd name="connsiteY8" fmla="*/ 27623 h 269557"/>
                  <a:gd name="connsiteX9" fmla="*/ 56426 w 327888"/>
                  <a:gd name="connsiteY9" fmla="*/ 40957 h 269557"/>
                  <a:gd name="connsiteX10" fmla="*/ 61189 w 327888"/>
                  <a:gd name="connsiteY10" fmla="*/ 42863 h 269557"/>
                  <a:gd name="connsiteX11" fmla="*/ 62141 w 327888"/>
                  <a:gd name="connsiteY11" fmla="*/ 44768 h 269557"/>
                  <a:gd name="connsiteX12" fmla="*/ 60236 w 327888"/>
                  <a:gd name="connsiteY12" fmla="*/ 47625 h 269557"/>
                  <a:gd name="connsiteX13" fmla="*/ 62141 w 327888"/>
                  <a:gd name="connsiteY13" fmla="*/ 47625 h 269557"/>
                  <a:gd name="connsiteX14" fmla="*/ 67856 w 327888"/>
                  <a:gd name="connsiteY14" fmla="*/ 42863 h 269557"/>
                  <a:gd name="connsiteX15" fmla="*/ 69761 w 327888"/>
                  <a:gd name="connsiteY15" fmla="*/ 50482 h 269557"/>
                  <a:gd name="connsiteX16" fmla="*/ 64046 w 327888"/>
                  <a:gd name="connsiteY16" fmla="*/ 55245 h 269557"/>
                  <a:gd name="connsiteX17" fmla="*/ 64046 w 327888"/>
                  <a:gd name="connsiteY17" fmla="*/ 59055 h 269557"/>
                  <a:gd name="connsiteX18" fmla="*/ 66904 w 327888"/>
                  <a:gd name="connsiteY18" fmla="*/ 64770 h 269557"/>
                  <a:gd name="connsiteX19" fmla="*/ 70714 w 327888"/>
                  <a:gd name="connsiteY19" fmla="*/ 76200 h 269557"/>
                  <a:gd name="connsiteX20" fmla="*/ 74524 w 327888"/>
                  <a:gd name="connsiteY20" fmla="*/ 99060 h 269557"/>
                  <a:gd name="connsiteX21" fmla="*/ 73571 w 327888"/>
                  <a:gd name="connsiteY21" fmla="*/ 110490 h 269557"/>
                  <a:gd name="connsiteX22" fmla="*/ 79286 w 327888"/>
                  <a:gd name="connsiteY22" fmla="*/ 120968 h 269557"/>
                  <a:gd name="connsiteX23" fmla="*/ 85001 w 327888"/>
                  <a:gd name="connsiteY23" fmla="*/ 129540 h 269557"/>
                  <a:gd name="connsiteX24" fmla="*/ 90716 w 327888"/>
                  <a:gd name="connsiteY24" fmla="*/ 145733 h 269557"/>
                  <a:gd name="connsiteX25" fmla="*/ 80239 w 327888"/>
                  <a:gd name="connsiteY25" fmla="*/ 150495 h 269557"/>
                  <a:gd name="connsiteX26" fmla="*/ 81191 w 327888"/>
                  <a:gd name="connsiteY26" fmla="*/ 160020 h 269557"/>
                  <a:gd name="connsiteX27" fmla="*/ 74524 w 327888"/>
                  <a:gd name="connsiteY27" fmla="*/ 169545 h 269557"/>
                  <a:gd name="connsiteX28" fmla="*/ 78334 w 327888"/>
                  <a:gd name="connsiteY28" fmla="*/ 171450 h 269557"/>
                  <a:gd name="connsiteX29" fmla="*/ 80239 w 327888"/>
                  <a:gd name="connsiteY29" fmla="*/ 178118 h 269557"/>
                  <a:gd name="connsiteX30" fmla="*/ 75476 w 327888"/>
                  <a:gd name="connsiteY30" fmla="*/ 187643 h 269557"/>
                  <a:gd name="connsiteX31" fmla="*/ 74524 w 327888"/>
                  <a:gd name="connsiteY31" fmla="*/ 199073 h 269557"/>
                  <a:gd name="connsiteX32" fmla="*/ 64999 w 327888"/>
                  <a:gd name="connsiteY32" fmla="*/ 206693 h 269557"/>
                  <a:gd name="connsiteX33" fmla="*/ 55474 w 327888"/>
                  <a:gd name="connsiteY33" fmla="*/ 207645 h 269557"/>
                  <a:gd name="connsiteX34" fmla="*/ 49759 w 327888"/>
                  <a:gd name="connsiteY34" fmla="*/ 206693 h 269557"/>
                  <a:gd name="connsiteX35" fmla="*/ 24041 w 327888"/>
                  <a:gd name="connsiteY35" fmla="*/ 202883 h 269557"/>
                  <a:gd name="connsiteX36" fmla="*/ 17374 w 327888"/>
                  <a:gd name="connsiteY36" fmla="*/ 204788 h 269557"/>
                  <a:gd name="connsiteX37" fmla="*/ 11659 w 327888"/>
                  <a:gd name="connsiteY37" fmla="*/ 210503 h 269557"/>
                  <a:gd name="connsiteX38" fmla="*/ 11659 w 327888"/>
                  <a:gd name="connsiteY38" fmla="*/ 210503 h 269557"/>
                  <a:gd name="connsiteX39" fmla="*/ 10706 w 327888"/>
                  <a:gd name="connsiteY39" fmla="*/ 211455 h 269557"/>
                  <a:gd name="connsiteX40" fmla="*/ 9754 w 327888"/>
                  <a:gd name="connsiteY40" fmla="*/ 212408 h 269557"/>
                  <a:gd name="connsiteX41" fmla="*/ 9754 w 327888"/>
                  <a:gd name="connsiteY41" fmla="*/ 213360 h 269557"/>
                  <a:gd name="connsiteX42" fmla="*/ 5944 w 327888"/>
                  <a:gd name="connsiteY42" fmla="*/ 219075 h 269557"/>
                  <a:gd name="connsiteX43" fmla="*/ 5944 w 327888"/>
                  <a:gd name="connsiteY43" fmla="*/ 219075 h 269557"/>
                  <a:gd name="connsiteX44" fmla="*/ 5944 w 327888"/>
                  <a:gd name="connsiteY44" fmla="*/ 220028 h 269557"/>
                  <a:gd name="connsiteX45" fmla="*/ 2134 w 327888"/>
                  <a:gd name="connsiteY45" fmla="*/ 229553 h 269557"/>
                  <a:gd name="connsiteX46" fmla="*/ 3086 w 327888"/>
                  <a:gd name="connsiteY46" fmla="*/ 253365 h 269557"/>
                  <a:gd name="connsiteX47" fmla="*/ 30709 w 327888"/>
                  <a:gd name="connsiteY47" fmla="*/ 263843 h 269557"/>
                  <a:gd name="connsiteX48" fmla="*/ 43091 w 327888"/>
                  <a:gd name="connsiteY48" fmla="*/ 269558 h 269557"/>
                  <a:gd name="connsiteX49" fmla="*/ 327889 w 327888"/>
                  <a:gd name="connsiteY49" fmla="*/ 269558 h 269557"/>
                  <a:gd name="connsiteX50" fmla="*/ 327889 w 327888"/>
                  <a:gd name="connsiteY50" fmla="*/ 0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327888" h="269557">
                    <a:moveTo>
                      <a:pt x="325031" y="0"/>
                    </a:moveTo>
                    <a:lnTo>
                      <a:pt x="34519" y="0"/>
                    </a:lnTo>
                    <a:cubicBezTo>
                      <a:pt x="34519" y="0"/>
                      <a:pt x="35471" y="0"/>
                      <a:pt x="37376" y="953"/>
                    </a:cubicBezTo>
                    <a:cubicBezTo>
                      <a:pt x="39281" y="1905"/>
                      <a:pt x="43091" y="3810"/>
                      <a:pt x="44996" y="4763"/>
                    </a:cubicBezTo>
                    <a:cubicBezTo>
                      <a:pt x="48806" y="6668"/>
                      <a:pt x="52616" y="9525"/>
                      <a:pt x="54521" y="13335"/>
                    </a:cubicBezTo>
                    <a:cubicBezTo>
                      <a:pt x="55474" y="15240"/>
                      <a:pt x="57379" y="18098"/>
                      <a:pt x="56426" y="20003"/>
                    </a:cubicBezTo>
                    <a:cubicBezTo>
                      <a:pt x="55474" y="22860"/>
                      <a:pt x="54521" y="26670"/>
                      <a:pt x="52616" y="27623"/>
                    </a:cubicBezTo>
                    <a:cubicBezTo>
                      <a:pt x="49759" y="29528"/>
                      <a:pt x="45949" y="29528"/>
                      <a:pt x="42139" y="28575"/>
                    </a:cubicBezTo>
                    <a:cubicBezTo>
                      <a:pt x="40234" y="28575"/>
                      <a:pt x="38329" y="27623"/>
                      <a:pt x="36424" y="27623"/>
                    </a:cubicBezTo>
                    <a:cubicBezTo>
                      <a:pt x="44044" y="30480"/>
                      <a:pt x="51664" y="34290"/>
                      <a:pt x="56426" y="40957"/>
                    </a:cubicBezTo>
                    <a:cubicBezTo>
                      <a:pt x="57379" y="41910"/>
                      <a:pt x="59284" y="42863"/>
                      <a:pt x="61189" y="42863"/>
                    </a:cubicBezTo>
                    <a:cubicBezTo>
                      <a:pt x="62141" y="42863"/>
                      <a:pt x="62141" y="43815"/>
                      <a:pt x="62141" y="44768"/>
                    </a:cubicBezTo>
                    <a:cubicBezTo>
                      <a:pt x="61189" y="45720"/>
                      <a:pt x="60236" y="46673"/>
                      <a:pt x="60236" y="47625"/>
                    </a:cubicBezTo>
                    <a:lnTo>
                      <a:pt x="62141" y="47625"/>
                    </a:lnTo>
                    <a:cubicBezTo>
                      <a:pt x="64999" y="46673"/>
                      <a:pt x="64046" y="41910"/>
                      <a:pt x="67856" y="42863"/>
                    </a:cubicBezTo>
                    <a:cubicBezTo>
                      <a:pt x="70714" y="44768"/>
                      <a:pt x="71666" y="47625"/>
                      <a:pt x="69761" y="50482"/>
                    </a:cubicBezTo>
                    <a:cubicBezTo>
                      <a:pt x="67856" y="52388"/>
                      <a:pt x="65951" y="54293"/>
                      <a:pt x="64046" y="55245"/>
                    </a:cubicBezTo>
                    <a:cubicBezTo>
                      <a:pt x="63094" y="56198"/>
                      <a:pt x="63094" y="58103"/>
                      <a:pt x="64046" y="59055"/>
                    </a:cubicBezTo>
                    <a:cubicBezTo>
                      <a:pt x="65951" y="60960"/>
                      <a:pt x="65951" y="62865"/>
                      <a:pt x="66904" y="64770"/>
                    </a:cubicBezTo>
                    <a:cubicBezTo>
                      <a:pt x="68809" y="68580"/>
                      <a:pt x="68809" y="72390"/>
                      <a:pt x="70714" y="76200"/>
                    </a:cubicBezTo>
                    <a:cubicBezTo>
                      <a:pt x="72619" y="83820"/>
                      <a:pt x="74524" y="91440"/>
                      <a:pt x="74524" y="99060"/>
                    </a:cubicBezTo>
                    <a:cubicBezTo>
                      <a:pt x="74524" y="102870"/>
                      <a:pt x="72619" y="106680"/>
                      <a:pt x="73571" y="110490"/>
                    </a:cubicBezTo>
                    <a:cubicBezTo>
                      <a:pt x="74524" y="114300"/>
                      <a:pt x="77381" y="118110"/>
                      <a:pt x="79286" y="120968"/>
                    </a:cubicBezTo>
                    <a:cubicBezTo>
                      <a:pt x="81191" y="123825"/>
                      <a:pt x="83096" y="125730"/>
                      <a:pt x="85001" y="129540"/>
                    </a:cubicBezTo>
                    <a:cubicBezTo>
                      <a:pt x="87859" y="134303"/>
                      <a:pt x="93574" y="140018"/>
                      <a:pt x="90716" y="145733"/>
                    </a:cubicBezTo>
                    <a:cubicBezTo>
                      <a:pt x="88811" y="149543"/>
                      <a:pt x="83096" y="148590"/>
                      <a:pt x="80239" y="150495"/>
                    </a:cubicBezTo>
                    <a:cubicBezTo>
                      <a:pt x="77381" y="153353"/>
                      <a:pt x="79286" y="157163"/>
                      <a:pt x="81191" y="160020"/>
                    </a:cubicBezTo>
                    <a:cubicBezTo>
                      <a:pt x="84049" y="164783"/>
                      <a:pt x="78334" y="167640"/>
                      <a:pt x="74524" y="169545"/>
                    </a:cubicBezTo>
                    <a:cubicBezTo>
                      <a:pt x="75476" y="171450"/>
                      <a:pt x="77381" y="170498"/>
                      <a:pt x="78334" y="171450"/>
                    </a:cubicBezTo>
                    <a:cubicBezTo>
                      <a:pt x="79286" y="174308"/>
                      <a:pt x="81191" y="175260"/>
                      <a:pt x="80239" y="178118"/>
                    </a:cubicBezTo>
                    <a:cubicBezTo>
                      <a:pt x="78334" y="180975"/>
                      <a:pt x="71666" y="182880"/>
                      <a:pt x="75476" y="187643"/>
                    </a:cubicBezTo>
                    <a:cubicBezTo>
                      <a:pt x="77381" y="191453"/>
                      <a:pt x="76429" y="195263"/>
                      <a:pt x="74524" y="199073"/>
                    </a:cubicBezTo>
                    <a:cubicBezTo>
                      <a:pt x="72619" y="203835"/>
                      <a:pt x="68809" y="205740"/>
                      <a:pt x="64999" y="206693"/>
                    </a:cubicBezTo>
                    <a:cubicBezTo>
                      <a:pt x="62141" y="207645"/>
                      <a:pt x="58331" y="207645"/>
                      <a:pt x="55474" y="207645"/>
                    </a:cubicBezTo>
                    <a:cubicBezTo>
                      <a:pt x="51664" y="206693"/>
                      <a:pt x="50711" y="206693"/>
                      <a:pt x="49759" y="206693"/>
                    </a:cubicBezTo>
                    <a:cubicBezTo>
                      <a:pt x="41186" y="205740"/>
                      <a:pt x="32614" y="202883"/>
                      <a:pt x="24041" y="202883"/>
                    </a:cubicBezTo>
                    <a:cubicBezTo>
                      <a:pt x="21184" y="203835"/>
                      <a:pt x="19279" y="203835"/>
                      <a:pt x="17374" y="204788"/>
                    </a:cubicBezTo>
                    <a:cubicBezTo>
                      <a:pt x="15469" y="206693"/>
                      <a:pt x="12611" y="208598"/>
                      <a:pt x="11659" y="210503"/>
                    </a:cubicBezTo>
                    <a:cubicBezTo>
                      <a:pt x="11659" y="210503"/>
                      <a:pt x="11659" y="210503"/>
                      <a:pt x="11659" y="210503"/>
                    </a:cubicBezTo>
                    <a:cubicBezTo>
                      <a:pt x="11659" y="210503"/>
                      <a:pt x="10706" y="211455"/>
                      <a:pt x="10706" y="211455"/>
                    </a:cubicBezTo>
                    <a:cubicBezTo>
                      <a:pt x="10706" y="211455"/>
                      <a:pt x="10706" y="212408"/>
                      <a:pt x="9754" y="212408"/>
                    </a:cubicBezTo>
                    <a:cubicBezTo>
                      <a:pt x="9754" y="212408"/>
                      <a:pt x="9754" y="212408"/>
                      <a:pt x="9754" y="213360"/>
                    </a:cubicBezTo>
                    <a:cubicBezTo>
                      <a:pt x="7849" y="215265"/>
                      <a:pt x="6896" y="217170"/>
                      <a:pt x="5944" y="219075"/>
                    </a:cubicBezTo>
                    <a:cubicBezTo>
                      <a:pt x="5944" y="219075"/>
                      <a:pt x="5944" y="219075"/>
                      <a:pt x="5944" y="219075"/>
                    </a:cubicBezTo>
                    <a:cubicBezTo>
                      <a:pt x="5944" y="219075"/>
                      <a:pt x="5944" y="220028"/>
                      <a:pt x="5944" y="220028"/>
                    </a:cubicBezTo>
                    <a:cubicBezTo>
                      <a:pt x="4039" y="222885"/>
                      <a:pt x="3086" y="226695"/>
                      <a:pt x="2134" y="229553"/>
                    </a:cubicBezTo>
                    <a:cubicBezTo>
                      <a:pt x="-1676" y="240983"/>
                      <a:pt x="229" y="251460"/>
                      <a:pt x="3086" y="253365"/>
                    </a:cubicBezTo>
                    <a:cubicBezTo>
                      <a:pt x="4039" y="254318"/>
                      <a:pt x="20231" y="259080"/>
                      <a:pt x="30709" y="263843"/>
                    </a:cubicBezTo>
                    <a:cubicBezTo>
                      <a:pt x="36424" y="265748"/>
                      <a:pt x="39281" y="267653"/>
                      <a:pt x="43091" y="269558"/>
                    </a:cubicBezTo>
                    <a:lnTo>
                      <a:pt x="327889" y="269558"/>
                    </a:lnTo>
                    <a:lnTo>
                      <a:pt x="327889" y="0"/>
                    </a:lnTo>
                    <a:close/>
                  </a:path>
                </a:pathLst>
              </a:custGeom>
              <a:solidFill>
                <a:srgbClr val="E1000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8" name="Forme libre : forme 17">
                <a:extLst>
                  <a:ext uri="{FF2B5EF4-FFF2-40B4-BE49-F238E27FC236}">
                    <a16:creationId xmlns:a16="http://schemas.microsoft.com/office/drawing/2014/main" id="{C721A0DA-2CD2-4A93-9D0C-C1DEBB82B2D7}"/>
                  </a:ext>
                </a:extLst>
              </p:cNvPr>
              <p:cNvSpPr/>
              <p:nvPr/>
            </p:nvSpPr>
            <p:spPr>
              <a:xfrm>
                <a:off x="717232" y="362507"/>
                <a:ext cx="33524" cy="30636"/>
              </a:xfrm>
              <a:custGeom>
                <a:avLst/>
                <a:gdLst>
                  <a:gd name="connsiteX0" fmla="*/ 21907 w 33524"/>
                  <a:gd name="connsiteY0" fmla="*/ 6110 h 30636"/>
                  <a:gd name="connsiteX1" fmla="*/ 26670 w 33524"/>
                  <a:gd name="connsiteY1" fmla="*/ 8015 h 30636"/>
                  <a:gd name="connsiteX2" fmla="*/ 16192 w 33524"/>
                  <a:gd name="connsiteY2" fmla="*/ 17540 h 30636"/>
                  <a:gd name="connsiteX3" fmla="*/ 14288 w 33524"/>
                  <a:gd name="connsiteY3" fmla="*/ 17540 h 30636"/>
                  <a:gd name="connsiteX4" fmla="*/ 11430 w 33524"/>
                  <a:gd name="connsiteY4" fmla="*/ 21350 h 30636"/>
                  <a:gd name="connsiteX5" fmla="*/ 6667 w 33524"/>
                  <a:gd name="connsiteY5" fmla="*/ 22302 h 30636"/>
                  <a:gd name="connsiteX6" fmla="*/ 14288 w 33524"/>
                  <a:gd name="connsiteY6" fmla="*/ 25160 h 30636"/>
                  <a:gd name="connsiteX7" fmla="*/ 16192 w 33524"/>
                  <a:gd name="connsiteY7" fmla="*/ 27065 h 30636"/>
                  <a:gd name="connsiteX8" fmla="*/ 17145 w 33524"/>
                  <a:gd name="connsiteY8" fmla="*/ 26112 h 30636"/>
                  <a:gd name="connsiteX9" fmla="*/ 18097 w 33524"/>
                  <a:gd name="connsiteY9" fmla="*/ 27065 h 30636"/>
                  <a:gd name="connsiteX10" fmla="*/ 18097 w 33524"/>
                  <a:gd name="connsiteY10" fmla="*/ 28017 h 30636"/>
                  <a:gd name="connsiteX11" fmla="*/ 12382 w 33524"/>
                  <a:gd name="connsiteY11" fmla="*/ 29922 h 30636"/>
                  <a:gd name="connsiteX12" fmla="*/ 23813 w 33524"/>
                  <a:gd name="connsiteY12" fmla="*/ 29922 h 30636"/>
                  <a:gd name="connsiteX13" fmla="*/ 25717 w 33524"/>
                  <a:gd name="connsiteY13" fmla="*/ 21350 h 30636"/>
                  <a:gd name="connsiteX14" fmla="*/ 24765 w 33524"/>
                  <a:gd name="connsiteY14" fmla="*/ 19445 h 30636"/>
                  <a:gd name="connsiteX15" fmla="*/ 27622 w 33524"/>
                  <a:gd name="connsiteY15" fmla="*/ 16587 h 30636"/>
                  <a:gd name="connsiteX16" fmla="*/ 30480 w 33524"/>
                  <a:gd name="connsiteY16" fmla="*/ 14682 h 30636"/>
                  <a:gd name="connsiteX17" fmla="*/ 28575 w 33524"/>
                  <a:gd name="connsiteY17" fmla="*/ 11825 h 30636"/>
                  <a:gd name="connsiteX18" fmla="*/ 33338 w 33524"/>
                  <a:gd name="connsiteY18" fmla="*/ 3252 h 30636"/>
                  <a:gd name="connsiteX19" fmla="*/ 25717 w 33524"/>
                  <a:gd name="connsiteY19" fmla="*/ 395 h 30636"/>
                  <a:gd name="connsiteX20" fmla="*/ 17145 w 33524"/>
                  <a:gd name="connsiteY20" fmla="*/ 1347 h 30636"/>
                  <a:gd name="connsiteX21" fmla="*/ 9525 w 33524"/>
                  <a:gd name="connsiteY21" fmla="*/ 3252 h 30636"/>
                  <a:gd name="connsiteX22" fmla="*/ 0 w 33524"/>
                  <a:gd name="connsiteY22" fmla="*/ 8015 h 30636"/>
                  <a:gd name="connsiteX23" fmla="*/ 11430 w 33524"/>
                  <a:gd name="connsiteY23" fmla="*/ 5157 h 30636"/>
                  <a:gd name="connsiteX24" fmla="*/ 21907 w 33524"/>
                  <a:gd name="connsiteY24" fmla="*/ 6110 h 3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3524" h="30636">
                    <a:moveTo>
                      <a:pt x="21907" y="6110"/>
                    </a:moveTo>
                    <a:cubicBezTo>
                      <a:pt x="23813" y="7062"/>
                      <a:pt x="26670" y="7062"/>
                      <a:pt x="26670" y="8015"/>
                    </a:cubicBezTo>
                    <a:cubicBezTo>
                      <a:pt x="25717" y="11825"/>
                      <a:pt x="20002" y="12777"/>
                      <a:pt x="16192" y="17540"/>
                    </a:cubicBezTo>
                    <a:lnTo>
                      <a:pt x="14288" y="17540"/>
                    </a:lnTo>
                    <a:cubicBezTo>
                      <a:pt x="12382" y="18492"/>
                      <a:pt x="13335" y="21350"/>
                      <a:pt x="11430" y="21350"/>
                    </a:cubicBezTo>
                    <a:cubicBezTo>
                      <a:pt x="9525" y="20397"/>
                      <a:pt x="8572" y="21350"/>
                      <a:pt x="6667" y="22302"/>
                    </a:cubicBezTo>
                    <a:cubicBezTo>
                      <a:pt x="8572" y="24207"/>
                      <a:pt x="11430" y="26112"/>
                      <a:pt x="14288" y="25160"/>
                    </a:cubicBezTo>
                    <a:cubicBezTo>
                      <a:pt x="15240" y="25160"/>
                      <a:pt x="16192" y="26112"/>
                      <a:pt x="16192" y="27065"/>
                    </a:cubicBezTo>
                    <a:cubicBezTo>
                      <a:pt x="16192" y="27065"/>
                      <a:pt x="17145" y="27065"/>
                      <a:pt x="17145" y="26112"/>
                    </a:cubicBezTo>
                    <a:cubicBezTo>
                      <a:pt x="18097" y="26112"/>
                      <a:pt x="18097" y="26112"/>
                      <a:pt x="18097" y="27065"/>
                    </a:cubicBezTo>
                    <a:lnTo>
                      <a:pt x="18097" y="28017"/>
                    </a:lnTo>
                    <a:cubicBezTo>
                      <a:pt x="16192" y="29922"/>
                      <a:pt x="14288" y="28970"/>
                      <a:pt x="12382" y="29922"/>
                    </a:cubicBezTo>
                    <a:cubicBezTo>
                      <a:pt x="16192" y="30875"/>
                      <a:pt x="20955" y="30875"/>
                      <a:pt x="23813" y="29922"/>
                    </a:cubicBezTo>
                    <a:cubicBezTo>
                      <a:pt x="26670" y="28970"/>
                      <a:pt x="23813" y="24207"/>
                      <a:pt x="25717" y="21350"/>
                    </a:cubicBezTo>
                    <a:cubicBezTo>
                      <a:pt x="24765" y="21350"/>
                      <a:pt x="25717" y="19445"/>
                      <a:pt x="24765" y="19445"/>
                    </a:cubicBezTo>
                    <a:cubicBezTo>
                      <a:pt x="25717" y="18492"/>
                      <a:pt x="26670" y="16587"/>
                      <a:pt x="27622" y="16587"/>
                    </a:cubicBezTo>
                    <a:cubicBezTo>
                      <a:pt x="28575" y="16587"/>
                      <a:pt x="30480" y="15635"/>
                      <a:pt x="30480" y="14682"/>
                    </a:cubicBezTo>
                    <a:cubicBezTo>
                      <a:pt x="30480" y="13730"/>
                      <a:pt x="28575" y="12777"/>
                      <a:pt x="28575" y="11825"/>
                    </a:cubicBezTo>
                    <a:cubicBezTo>
                      <a:pt x="31432" y="9920"/>
                      <a:pt x="34290" y="7062"/>
                      <a:pt x="33338" y="3252"/>
                    </a:cubicBezTo>
                    <a:cubicBezTo>
                      <a:pt x="32385" y="1347"/>
                      <a:pt x="28575" y="1347"/>
                      <a:pt x="25717" y="395"/>
                    </a:cubicBezTo>
                    <a:cubicBezTo>
                      <a:pt x="22860" y="-558"/>
                      <a:pt x="20002" y="395"/>
                      <a:pt x="17145" y="1347"/>
                    </a:cubicBezTo>
                    <a:cubicBezTo>
                      <a:pt x="14288" y="1347"/>
                      <a:pt x="12382" y="3252"/>
                      <a:pt x="9525" y="3252"/>
                    </a:cubicBezTo>
                    <a:cubicBezTo>
                      <a:pt x="5715" y="4205"/>
                      <a:pt x="2857" y="6110"/>
                      <a:pt x="0" y="8015"/>
                    </a:cubicBezTo>
                    <a:cubicBezTo>
                      <a:pt x="3810" y="6110"/>
                      <a:pt x="7620" y="6110"/>
                      <a:pt x="11430" y="5157"/>
                    </a:cubicBezTo>
                    <a:cubicBezTo>
                      <a:pt x="16192" y="6110"/>
                      <a:pt x="19050" y="5157"/>
                      <a:pt x="21907" y="6110"/>
                    </a:cubicBezTo>
                  </a:path>
                </a:pathLst>
              </a:custGeom>
              <a:solidFill>
                <a:srgbClr val="9C9B9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AFE3D777-CF3D-4D93-B6B9-F8E87727534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38163" y="6318000"/>
            <a:ext cx="11113837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9BDF9B0C-A546-4F48-832A-6F6263C1C4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0000" y="1327983"/>
            <a:ext cx="11111999" cy="418576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1"/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600" b="1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1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600" b="1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1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1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1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600" b="1"/>
            </a:lvl9pPr>
          </a:lstStyle>
          <a:p>
            <a:pPr lvl="0"/>
            <a:r>
              <a:rPr lang="fr-FR" dirty="0"/>
              <a:t>Sommaire</a:t>
            </a:r>
          </a:p>
        </p:txBody>
      </p:sp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100756D5-C78A-432E-AB8C-8AC18D8599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8163" y="2613600"/>
            <a:ext cx="11115675" cy="3060000"/>
          </a:xfrm>
        </p:spPr>
        <p:txBody>
          <a:bodyPr numCol="3" spcCol="540000"/>
          <a:lstStyle>
            <a:lvl1pPr marL="216000" indent="-216000">
              <a:lnSpc>
                <a:spcPct val="100000"/>
              </a:lnSpc>
              <a:spcBef>
                <a:spcPts val="1800"/>
              </a:spcBef>
              <a:spcAft>
                <a:spcPts val="400"/>
              </a:spcAft>
              <a:buFont typeface="+mj-lt"/>
              <a:buAutoNum type="arabicPeriod"/>
              <a:defRPr sz="1400">
                <a:solidFill>
                  <a:schemeClr val="tx1"/>
                </a:solidFill>
              </a:defRPr>
            </a:lvl1pPr>
            <a:lvl2pPr marL="432000" indent="-18000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lphaLcPeriod"/>
              <a:defRPr sz="1200"/>
            </a:lvl2pPr>
            <a:lvl3pPr marL="252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1"/>
                </a:solidFill>
              </a:defRPr>
            </a:lvl3pPr>
            <a:lvl4pPr marL="252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4pPr>
            <a:lvl5pPr marL="252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tx1"/>
                </a:solidFill>
              </a:defRPr>
            </a:lvl5pPr>
            <a:lvl6pPr marL="252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6pPr>
            <a:lvl7pPr marL="252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7pPr>
            <a:lvl8pPr marL="252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8pPr>
            <a:lvl9pPr marL="252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6</a:t>
            </a:r>
          </a:p>
          <a:p>
            <a:pPr lvl="6"/>
            <a:r>
              <a:rPr lang="fr-FR" dirty="0"/>
              <a:t>7</a:t>
            </a:r>
          </a:p>
          <a:p>
            <a:pPr lvl="7"/>
            <a:r>
              <a:rPr lang="fr-FR" dirty="0"/>
              <a:t>8</a:t>
            </a:r>
          </a:p>
          <a:p>
            <a:pPr lvl="8"/>
            <a:r>
              <a:rPr lang="fr-FR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15652543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calair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A52FDD7-76B5-4B8E-A008-DBC75B8F4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E622182-9503-47B3-86EC-4DB299C9BA25}" type="datetime1">
              <a:rPr lang="fr-FR" smtClean="0"/>
              <a:t>22/11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02BE54F-4953-4F0A-AA2E-99A3D6292F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COMEX – 9 avril 2021 - POUR INFORMATION</a:t>
            </a:r>
            <a:endParaRPr lang="fr-FR">
              <a:solidFill>
                <a:schemeClr val="tx1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35E73AA-FFC7-4E68-A1E5-2653FA5B5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3598" y="6511056"/>
            <a:ext cx="650240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C02D038-4989-45BB-AD16-38E0E231338A}" type="slidenum">
              <a:rPr lang="fr-FR" smtClean="0"/>
              <a:pPr/>
              <a:t>‹N°›</a:t>
            </a:fld>
            <a:endParaRPr lang="fr-FR" dirty="0"/>
          </a:p>
        </p:txBody>
      </p:sp>
      <p:grpSp>
        <p:nvGrpSpPr>
          <p:cNvPr id="11" name="Graphique 2">
            <a:extLst>
              <a:ext uri="{FF2B5EF4-FFF2-40B4-BE49-F238E27FC236}">
                <a16:creationId xmlns:a16="http://schemas.microsoft.com/office/drawing/2014/main" id="{889398C8-CCDA-460C-8D6D-66F796CDB51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40000" y="270000"/>
            <a:ext cx="432404" cy="504000"/>
            <a:chOff x="269557" y="269557"/>
            <a:chExt cx="1311592" cy="1528762"/>
          </a:xfrm>
        </p:grpSpPr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B68CE830-96CE-42DC-A43C-3F0242DFFD10}"/>
                </a:ext>
              </a:extLst>
            </p:cNvPr>
            <p:cNvSpPr/>
            <p:nvPr/>
          </p:nvSpPr>
          <p:spPr>
            <a:xfrm>
              <a:off x="269557" y="1304925"/>
              <a:ext cx="693419" cy="493395"/>
            </a:xfrm>
            <a:custGeom>
              <a:avLst/>
              <a:gdLst>
                <a:gd name="connsiteX0" fmla="*/ 659130 w 693419"/>
                <a:gd name="connsiteY0" fmla="*/ 422910 h 493395"/>
                <a:gd name="connsiteX1" fmla="*/ 666750 w 693419"/>
                <a:gd name="connsiteY1" fmla="*/ 437197 h 493395"/>
                <a:gd name="connsiteX2" fmla="*/ 641033 w 693419"/>
                <a:gd name="connsiteY2" fmla="*/ 442913 h 493395"/>
                <a:gd name="connsiteX3" fmla="*/ 659130 w 693419"/>
                <a:gd name="connsiteY3" fmla="*/ 422910 h 493395"/>
                <a:gd name="connsiteX4" fmla="*/ 673418 w 693419"/>
                <a:gd name="connsiteY4" fmla="*/ 464820 h 493395"/>
                <a:gd name="connsiteX5" fmla="*/ 668655 w 693419"/>
                <a:gd name="connsiteY5" fmla="*/ 464820 h 493395"/>
                <a:gd name="connsiteX6" fmla="*/ 648653 w 693419"/>
                <a:gd name="connsiteY6" fmla="*/ 478155 h 493395"/>
                <a:gd name="connsiteX7" fmla="*/ 638175 w 693419"/>
                <a:gd name="connsiteY7" fmla="*/ 464820 h 493395"/>
                <a:gd name="connsiteX8" fmla="*/ 639128 w 693419"/>
                <a:gd name="connsiteY8" fmla="*/ 453390 h 493395"/>
                <a:gd name="connsiteX9" fmla="*/ 680085 w 693419"/>
                <a:gd name="connsiteY9" fmla="*/ 440055 h 493395"/>
                <a:gd name="connsiteX10" fmla="*/ 666750 w 693419"/>
                <a:gd name="connsiteY10" fmla="*/ 412433 h 493395"/>
                <a:gd name="connsiteX11" fmla="*/ 624840 w 693419"/>
                <a:gd name="connsiteY11" fmla="*/ 473392 h 493395"/>
                <a:gd name="connsiteX12" fmla="*/ 640080 w 693419"/>
                <a:gd name="connsiteY12" fmla="*/ 493395 h 493395"/>
                <a:gd name="connsiteX13" fmla="*/ 673418 w 693419"/>
                <a:gd name="connsiteY13" fmla="*/ 464820 h 493395"/>
                <a:gd name="connsiteX14" fmla="*/ 664845 w 693419"/>
                <a:gd name="connsiteY14" fmla="*/ 404813 h 493395"/>
                <a:gd name="connsiteX15" fmla="*/ 693420 w 693419"/>
                <a:gd name="connsiteY15" fmla="*/ 378142 h 493395"/>
                <a:gd name="connsiteX16" fmla="*/ 693420 w 693419"/>
                <a:gd name="connsiteY16" fmla="*/ 375285 h 493395"/>
                <a:gd name="connsiteX17" fmla="*/ 678180 w 693419"/>
                <a:gd name="connsiteY17" fmla="*/ 375285 h 493395"/>
                <a:gd name="connsiteX18" fmla="*/ 660083 w 693419"/>
                <a:gd name="connsiteY18" fmla="*/ 405765 h 493395"/>
                <a:gd name="connsiteX19" fmla="*/ 664845 w 693419"/>
                <a:gd name="connsiteY19" fmla="*/ 405765 h 493395"/>
                <a:gd name="connsiteX20" fmla="*/ 576263 w 693419"/>
                <a:gd name="connsiteY20" fmla="*/ 423863 h 493395"/>
                <a:gd name="connsiteX21" fmla="*/ 589598 w 693419"/>
                <a:gd name="connsiteY21" fmla="*/ 423863 h 493395"/>
                <a:gd name="connsiteX22" fmla="*/ 567690 w 693419"/>
                <a:gd name="connsiteY22" fmla="*/ 482917 h 493395"/>
                <a:gd name="connsiteX23" fmla="*/ 573405 w 693419"/>
                <a:gd name="connsiteY23" fmla="*/ 493395 h 493395"/>
                <a:gd name="connsiteX24" fmla="*/ 612458 w 693419"/>
                <a:gd name="connsiteY24" fmla="*/ 464820 h 493395"/>
                <a:gd name="connsiteX25" fmla="*/ 608648 w 693419"/>
                <a:gd name="connsiteY25" fmla="*/ 464820 h 493395"/>
                <a:gd name="connsiteX26" fmla="*/ 583883 w 693419"/>
                <a:gd name="connsiteY26" fmla="*/ 480060 h 493395"/>
                <a:gd name="connsiteX27" fmla="*/ 603885 w 693419"/>
                <a:gd name="connsiteY27" fmla="*/ 424815 h 493395"/>
                <a:gd name="connsiteX28" fmla="*/ 623888 w 693419"/>
                <a:gd name="connsiteY28" fmla="*/ 424815 h 493395"/>
                <a:gd name="connsiteX29" fmla="*/ 626745 w 693419"/>
                <a:gd name="connsiteY29" fmla="*/ 416242 h 493395"/>
                <a:gd name="connsiteX30" fmla="*/ 606743 w 693419"/>
                <a:gd name="connsiteY30" fmla="*/ 416242 h 493395"/>
                <a:gd name="connsiteX31" fmla="*/ 614363 w 693419"/>
                <a:gd name="connsiteY31" fmla="*/ 395288 h 493395"/>
                <a:gd name="connsiteX32" fmla="*/ 606743 w 693419"/>
                <a:gd name="connsiteY32" fmla="*/ 395288 h 493395"/>
                <a:gd name="connsiteX33" fmla="*/ 592455 w 693419"/>
                <a:gd name="connsiteY33" fmla="*/ 416242 h 493395"/>
                <a:gd name="connsiteX34" fmla="*/ 575310 w 693419"/>
                <a:gd name="connsiteY34" fmla="*/ 418147 h 493395"/>
                <a:gd name="connsiteX35" fmla="*/ 575310 w 693419"/>
                <a:gd name="connsiteY35" fmla="*/ 423863 h 493395"/>
                <a:gd name="connsiteX36" fmla="*/ 558165 w 693419"/>
                <a:gd name="connsiteY36" fmla="*/ 421005 h 493395"/>
                <a:gd name="connsiteX37" fmla="*/ 553403 w 693419"/>
                <a:gd name="connsiteY37" fmla="*/ 412433 h 493395"/>
                <a:gd name="connsiteX38" fmla="*/ 521970 w 693419"/>
                <a:gd name="connsiteY38" fmla="*/ 438150 h 493395"/>
                <a:gd name="connsiteX39" fmla="*/ 525780 w 693419"/>
                <a:gd name="connsiteY39" fmla="*/ 438150 h 493395"/>
                <a:gd name="connsiteX40" fmla="*/ 541973 w 693419"/>
                <a:gd name="connsiteY40" fmla="*/ 425767 h 493395"/>
                <a:gd name="connsiteX41" fmla="*/ 519113 w 693419"/>
                <a:gd name="connsiteY41" fmla="*/ 484822 h 493395"/>
                <a:gd name="connsiteX42" fmla="*/ 523875 w 693419"/>
                <a:gd name="connsiteY42" fmla="*/ 493395 h 493395"/>
                <a:gd name="connsiteX43" fmla="*/ 554355 w 693419"/>
                <a:gd name="connsiteY43" fmla="*/ 467678 h 493395"/>
                <a:gd name="connsiteX44" fmla="*/ 550545 w 693419"/>
                <a:gd name="connsiteY44" fmla="*/ 467678 h 493395"/>
                <a:gd name="connsiteX45" fmla="*/ 534353 w 693419"/>
                <a:gd name="connsiteY45" fmla="*/ 480060 h 493395"/>
                <a:gd name="connsiteX46" fmla="*/ 558165 w 693419"/>
                <a:gd name="connsiteY46" fmla="*/ 421005 h 493395"/>
                <a:gd name="connsiteX47" fmla="*/ 561975 w 693419"/>
                <a:gd name="connsiteY47" fmla="*/ 391478 h 493395"/>
                <a:gd name="connsiteX48" fmla="*/ 571500 w 693419"/>
                <a:gd name="connsiteY48" fmla="*/ 381953 h 493395"/>
                <a:gd name="connsiteX49" fmla="*/ 561975 w 693419"/>
                <a:gd name="connsiteY49" fmla="*/ 372428 h 493395"/>
                <a:gd name="connsiteX50" fmla="*/ 552450 w 693419"/>
                <a:gd name="connsiteY50" fmla="*/ 381953 h 493395"/>
                <a:gd name="connsiteX51" fmla="*/ 561975 w 693419"/>
                <a:gd name="connsiteY51" fmla="*/ 391478 h 493395"/>
                <a:gd name="connsiteX52" fmla="*/ 431483 w 693419"/>
                <a:gd name="connsiteY52" fmla="*/ 481965 h 493395"/>
                <a:gd name="connsiteX53" fmla="*/ 438150 w 693419"/>
                <a:gd name="connsiteY53" fmla="*/ 493395 h 493395"/>
                <a:gd name="connsiteX54" fmla="*/ 445770 w 693419"/>
                <a:gd name="connsiteY54" fmla="*/ 487680 h 493395"/>
                <a:gd name="connsiteX55" fmla="*/ 461963 w 693419"/>
                <a:gd name="connsiteY55" fmla="*/ 445770 h 493395"/>
                <a:gd name="connsiteX56" fmla="*/ 490538 w 693419"/>
                <a:gd name="connsiteY56" fmla="*/ 427672 h 493395"/>
                <a:gd name="connsiteX57" fmla="*/ 491490 w 693419"/>
                <a:gd name="connsiteY57" fmla="*/ 436245 h 493395"/>
                <a:gd name="connsiteX58" fmla="*/ 467678 w 693419"/>
                <a:gd name="connsiteY58" fmla="*/ 482917 h 493395"/>
                <a:gd name="connsiteX59" fmla="*/ 473393 w 693419"/>
                <a:gd name="connsiteY59" fmla="*/ 493395 h 493395"/>
                <a:gd name="connsiteX60" fmla="*/ 504825 w 693419"/>
                <a:gd name="connsiteY60" fmla="*/ 467678 h 493395"/>
                <a:gd name="connsiteX61" fmla="*/ 501015 w 693419"/>
                <a:gd name="connsiteY61" fmla="*/ 467678 h 493395"/>
                <a:gd name="connsiteX62" fmla="*/ 484822 w 693419"/>
                <a:gd name="connsiteY62" fmla="*/ 480060 h 493395"/>
                <a:gd name="connsiteX63" fmla="*/ 505778 w 693419"/>
                <a:gd name="connsiteY63" fmla="*/ 438150 h 493395"/>
                <a:gd name="connsiteX64" fmla="*/ 509588 w 693419"/>
                <a:gd name="connsiteY64" fmla="*/ 423863 h 493395"/>
                <a:gd name="connsiteX65" fmla="*/ 498158 w 693419"/>
                <a:gd name="connsiteY65" fmla="*/ 412433 h 493395"/>
                <a:gd name="connsiteX66" fmla="*/ 464820 w 693419"/>
                <a:gd name="connsiteY66" fmla="*/ 438150 h 493395"/>
                <a:gd name="connsiteX67" fmla="*/ 464820 w 693419"/>
                <a:gd name="connsiteY67" fmla="*/ 426720 h 493395"/>
                <a:gd name="connsiteX68" fmla="*/ 455295 w 693419"/>
                <a:gd name="connsiteY68" fmla="*/ 411480 h 493395"/>
                <a:gd name="connsiteX69" fmla="*/ 442913 w 693419"/>
                <a:gd name="connsiteY69" fmla="*/ 421005 h 493395"/>
                <a:gd name="connsiteX70" fmla="*/ 442913 w 693419"/>
                <a:gd name="connsiteY70" fmla="*/ 422910 h 493395"/>
                <a:gd name="connsiteX71" fmla="*/ 448628 w 693419"/>
                <a:gd name="connsiteY71" fmla="*/ 445770 h 493395"/>
                <a:gd name="connsiteX72" fmla="*/ 431483 w 693419"/>
                <a:gd name="connsiteY72" fmla="*/ 481965 h 493395"/>
                <a:gd name="connsiteX73" fmla="*/ 431483 w 693419"/>
                <a:gd name="connsiteY73" fmla="*/ 430530 h 493395"/>
                <a:gd name="connsiteX74" fmla="*/ 425768 w 693419"/>
                <a:gd name="connsiteY74" fmla="*/ 412433 h 493395"/>
                <a:gd name="connsiteX75" fmla="*/ 405765 w 693419"/>
                <a:gd name="connsiteY75" fmla="*/ 438150 h 493395"/>
                <a:gd name="connsiteX76" fmla="*/ 405765 w 693419"/>
                <a:gd name="connsiteY76" fmla="*/ 426720 h 493395"/>
                <a:gd name="connsiteX77" fmla="*/ 396240 w 693419"/>
                <a:gd name="connsiteY77" fmla="*/ 411480 h 493395"/>
                <a:gd name="connsiteX78" fmla="*/ 374333 w 693419"/>
                <a:gd name="connsiteY78" fmla="*/ 437197 h 493395"/>
                <a:gd name="connsiteX79" fmla="*/ 378143 w 693419"/>
                <a:gd name="connsiteY79" fmla="*/ 437197 h 493395"/>
                <a:gd name="connsiteX80" fmla="*/ 388620 w 693419"/>
                <a:gd name="connsiteY80" fmla="*/ 427672 h 493395"/>
                <a:gd name="connsiteX81" fmla="*/ 388620 w 693419"/>
                <a:gd name="connsiteY81" fmla="*/ 445770 h 493395"/>
                <a:gd name="connsiteX82" fmla="*/ 372428 w 693419"/>
                <a:gd name="connsiteY82" fmla="*/ 481013 h 493395"/>
                <a:gd name="connsiteX83" fmla="*/ 379095 w 693419"/>
                <a:gd name="connsiteY83" fmla="*/ 492442 h 493395"/>
                <a:gd name="connsiteX84" fmla="*/ 386715 w 693419"/>
                <a:gd name="connsiteY84" fmla="*/ 486728 h 493395"/>
                <a:gd name="connsiteX85" fmla="*/ 402908 w 693419"/>
                <a:gd name="connsiteY85" fmla="*/ 444817 h 493395"/>
                <a:gd name="connsiteX86" fmla="*/ 416243 w 693419"/>
                <a:gd name="connsiteY86" fmla="*/ 429578 h 493395"/>
                <a:gd name="connsiteX87" fmla="*/ 431483 w 693419"/>
                <a:gd name="connsiteY87" fmla="*/ 429578 h 493395"/>
                <a:gd name="connsiteX88" fmla="*/ 340043 w 693419"/>
                <a:gd name="connsiteY88" fmla="*/ 422910 h 493395"/>
                <a:gd name="connsiteX89" fmla="*/ 347663 w 693419"/>
                <a:gd name="connsiteY89" fmla="*/ 437197 h 493395"/>
                <a:gd name="connsiteX90" fmla="*/ 321945 w 693419"/>
                <a:gd name="connsiteY90" fmla="*/ 442913 h 493395"/>
                <a:gd name="connsiteX91" fmla="*/ 340043 w 693419"/>
                <a:gd name="connsiteY91" fmla="*/ 422910 h 493395"/>
                <a:gd name="connsiteX92" fmla="*/ 354330 w 693419"/>
                <a:gd name="connsiteY92" fmla="*/ 464820 h 493395"/>
                <a:gd name="connsiteX93" fmla="*/ 349568 w 693419"/>
                <a:gd name="connsiteY93" fmla="*/ 464820 h 493395"/>
                <a:gd name="connsiteX94" fmla="*/ 329565 w 693419"/>
                <a:gd name="connsiteY94" fmla="*/ 478155 h 493395"/>
                <a:gd name="connsiteX95" fmla="*/ 319088 w 693419"/>
                <a:gd name="connsiteY95" fmla="*/ 464820 h 493395"/>
                <a:gd name="connsiteX96" fmla="*/ 320040 w 693419"/>
                <a:gd name="connsiteY96" fmla="*/ 453390 h 493395"/>
                <a:gd name="connsiteX97" fmla="*/ 360997 w 693419"/>
                <a:gd name="connsiteY97" fmla="*/ 440055 h 493395"/>
                <a:gd name="connsiteX98" fmla="*/ 347663 w 693419"/>
                <a:gd name="connsiteY98" fmla="*/ 412433 h 493395"/>
                <a:gd name="connsiteX99" fmla="*/ 305753 w 693419"/>
                <a:gd name="connsiteY99" fmla="*/ 473392 h 493395"/>
                <a:gd name="connsiteX100" fmla="*/ 320993 w 693419"/>
                <a:gd name="connsiteY100" fmla="*/ 493395 h 493395"/>
                <a:gd name="connsiteX101" fmla="*/ 354330 w 693419"/>
                <a:gd name="connsiteY101" fmla="*/ 464820 h 493395"/>
                <a:gd name="connsiteX102" fmla="*/ 257175 w 693419"/>
                <a:gd name="connsiteY102" fmla="*/ 423863 h 493395"/>
                <a:gd name="connsiteX103" fmla="*/ 270510 w 693419"/>
                <a:gd name="connsiteY103" fmla="*/ 423863 h 493395"/>
                <a:gd name="connsiteX104" fmla="*/ 248603 w 693419"/>
                <a:gd name="connsiteY104" fmla="*/ 482917 h 493395"/>
                <a:gd name="connsiteX105" fmla="*/ 254318 w 693419"/>
                <a:gd name="connsiteY105" fmla="*/ 493395 h 493395"/>
                <a:gd name="connsiteX106" fmla="*/ 293370 w 693419"/>
                <a:gd name="connsiteY106" fmla="*/ 464820 h 493395"/>
                <a:gd name="connsiteX107" fmla="*/ 289560 w 693419"/>
                <a:gd name="connsiteY107" fmla="*/ 464820 h 493395"/>
                <a:gd name="connsiteX108" fmla="*/ 264795 w 693419"/>
                <a:gd name="connsiteY108" fmla="*/ 480060 h 493395"/>
                <a:gd name="connsiteX109" fmla="*/ 284798 w 693419"/>
                <a:gd name="connsiteY109" fmla="*/ 424815 h 493395"/>
                <a:gd name="connsiteX110" fmla="*/ 304800 w 693419"/>
                <a:gd name="connsiteY110" fmla="*/ 424815 h 493395"/>
                <a:gd name="connsiteX111" fmla="*/ 307658 w 693419"/>
                <a:gd name="connsiteY111" fmla="*/ 416242 h 493395"/>
                <a:gd name="connsiteX112" fmla="*/ 287655 w 693419"/>
                <a:gd name="connsiteY112" fmla="*/ 416242 h 493395"/>
                <a:gd name="connsiteX113" fmla="*/ 295275 w 693419"/>
                <a:gd name="connsiteY113" fmla="*/ 395288 h 493395"/>
                <a:gd name="connsiteX114" fmla="*/ 287655 w 693419"/>
                <a:gd name="connsiteY114" fmla="*/ 395288 h 493395"/>
                <a:gd name="connsiteX115" fmla="*/ 273368 w 693419"/>
                <a:gd name="connsiteY115" fmla="*/ 416242 h 493395"/>
                <a:gd name="connsiteX116" fmla="*/ 256223 w 693419"/>
                <a:gd name="connsiteY116" fmla="*/ 418147 h 493395"/>
                <a:gd name="connsiteX117" fmla="*/ 256223 w 693419"/>
                <a:gd name="connsiteY117" fmla="*/ 423863 h 493395"/>
                <a:gd name="connsiteX118" fmla="*/ 181928 w 693419"/>
                <a:gd name="connsiteY118" fmla="*/ 469583 h 493395"/>
                <a:gd name="connsiteX119" fmla="*/ 213360 w 693419"/>
                <a:gd name="connsiteY119" fmla="*/ 426720 h 493395"/>
                <a:gd name="connsiteX120" fmla="*/ 220028 w 693419"/>
                <a:gd name="connsiteY120" fmla="*/ 427672 h 493395"/>
                <a:gd name="connsiteX121" fmla="*/ 208598 w 693419"/>
                <a:gd name="connsiteY121" fmla="*/ 459105 h 493395"/>
                <a:gd name="connsiteX122" fmla="*/ 186690 w 693419"/>
                <a:gd name="connsiteY122" fmla="*/ 477203 h 493395"/>
                <a:gd name="connsiteX123" fmla="*/ 181928 w 693419"/>
                <a:gd name="connsiteY123" fmla="*/ 469583 h 493395"/>
                <a:gd name="connsiteX124" fmla="*/ 244793 w 693419"/>
                <a:gd name="connsiteY124" fmla="*/ 408622 h 493395"/>
                <a:gd name="connsiteX125" fmla="*/ 238125 w 693419"/>
                <a:gd name="connsiteY125" fmla="*/ 408622 h 493395"/>
                <a:gd name="connsiteX126" fmla="*/ 231458 w 693419"/>
                <a:gd name="connsiteY126" fmla="*/ 415290 h 493395"/>
                <a:gd name="connsiteX127" fmla="*/ 229553 w 693419"/>
                <a:gd name="connsiteY127" fmla="*/ 415290 h 493395"/>
                <a:gd name="connsiteX128" fmla="*/ 166688 w 693419"/>
                <a:gd name="connsiteY128" fmla="*/ 481013 h 493395"/>
                <a:gd name="connsiteX129" fmla="*/ 179070 w 693419"/>
                <a:gd name="connsiteY129" fmla="*/ 493395 h 493395"/>
                <a:gd name="connsiteX130" fmla="*/ 205740 w 693419"/>
                <a:gd name="connsiteY130" fmla="*/ 467678 h 493395"/>
                <a:gd name="connsiteX131" fmla="*/ 205740 w 693419"/>
                <a:gd name="connsiteY131" fmla="*/ 472440 h 493395"/>
                <a:gd name="connsiteX132" fmla="*/ 216218 w 693419"/>
                <a:gd name="connsiteY132" fmla="*/ 493395 h 493395"/>
                <a:gd name="connsiteX133" fmla="*/ 238125 w 693419"/>
                <a:gd name="connsiteY133" fmla="*/ 467678 h 493395"/>
                <a:gd name="connsiteX134" fmla="*/ 234315 w 693419"/>
                <a:gd name="connsiteY134" fmla="*/ 467678 h 493395"/>
                <a:gd name="connsiteX135" fmla="*/ 223838 w 693419"/>
                <a:gd name="connsiteY135" fmla="*/ 477203 h 493395"/>
                <a:gd name="connsiteX136" fmla="*/ 223838 w 693419"/>
                <a:gd name="connsiteY136" fmla="*/ 459105 h 493395"/>
                <a:gd name="connsiteX137" fmla="*/ 244793 w 693419"/>
                <a:gd name="connsiteY137" fmla="*/ 408622 h 493395"/>
                <a:gd name="connsiteX138" fmla="*/ 172403 w 693419"/>
                <a:gd name="connsiteY138" fmla="*/ 430530 h 493395"/>
                <a:gd name="connsiteX139" fmla="*/ 166688 w 693419"/>
                <a:gd name="connsiteY139" fmla="*/ 412433 h 493395"/>
                <a:gd name="connsiteX140" fmla="*/ 146685 w 693419"/>
                <a:gd name="connsiteY140" fmla="*/ 438150 h 493395"/>
                <a:gd name="connsiteX141" fmla="*/ 146685 w 693419"/>
                <a:gd name="connsiteY141" fmla="*/ 426720 h 493395"/>
                <a:gd name="connsiteX142" fmla="*/ 137160 w 693419"/>
                <a:gd name="connsiteY142" fmla="*/ 411480 h 493395"/>
                <a:gd name="connsiteX143" fmla="*/ 115253 w 693419"/>
                <a:gd name="connsiteY143" fmla="*/ 437197 h 493395"/>
                <a:gd name="connsiteX144" fmla="*/ 119063 w 693419"/>
                <a:gd name="connsiteY144" fmla="*/ 437197 h 493395"/>
                <a:gd name="connsiteX145" fmla="*/ 129540 w 693419"/>
                <a:gd name="connsiteY145" fmla="*/ 427672 h 493395"/>
                <a:gd name="connsiteX146" fmla="*/ 129540 w 693419"/>
                <a:gd name="connsiteY146" fmla="*/ 445770 h 493395"/>
                <a:gd name="connsiteX147" fmla="*/ 113348 w 693419"/>
                <a:gd name="connsiteY147" fmla="*/ 481013 h 493395"/>
                <a:gd name="connsiteX148" fmla="*/ 120015 w 693419"/>
                <a:gd name="connsiteY148" fmla="*/ 492442 h 493395"/>
                <a:gd name="connsiteX149" fmla="*/ 127635 w 693419"/>
                <a:gd name="connsiteY149" fmla="*/ 486728 h 493395"/>
                <a:gd name="connsiteX150" fmla="*/ 143828 w 693419"/>
                <a:gd name="connsiteY150" fmla="*/ 444817 h 493395"/>
                <a:gd name="connsiteX151" fmla="*/ 157163 w 693419"/>
                <a:gd name="connsiteY151" fmla="*/ 429578 h 493395"/>
                <a:gd name="connsiteX152" fmla="*/ 172403 w 693419"/>
                <a:gd name="connsiteY152" fmla="*/ 429578 h 493395"/>
                <a:gd name="connsiteX153" fmla="*/ 59055 w 693419"/>
                <a:gd name="connsiteY153" fmla="*/ 489585 h 493395"/>
                <a:gd name="connsiteX154" fmla="*/ 60960 w 693419"/>
                <a:gd name="connsiteY154" fmla="*/ 484822 h 493395"/>
                <a:gd name="connsiteX155" fmla="*/ 46673 w 693419"/>
                <a:gd name="connsiteY155" fmla="*/ 460058 h 493395"/>
                <a:gd name="connsiteX156" fmla="*/ 54293 w 693419"/>
                <a:gd name="connsiteY156" fmla="*/ 438150 h 493395"/>
                <a:gd name="connsiteX157" fmla="*/ 76200 w 693419"/>
                <a:gd name="connsiteY157" fmla="*/ 438150 h 493395"/>
                <a:gd name="connsiteX158" fmla="*/ 84773 w 693419"/>
                <a:gd name="connsiteY158" fmla="*/ 452438 h 493395"/>
                <a:gd name="connsiteX159" fmla="*/ 90488 w 693419"/>
                <a:gd name="connsiteY159" fmla="*/ 452438 h 493395"/>
                <a:gd name="connsiteX160" fmla="*/ 103823 w 693419"/>
                <a:gd name="connsiteY160" fmla="*/ 416242 h 493395"/>
                <a:gd name="connsiteX161" fmla="*/ 98107 w 693419"/>
                <a:gd name="connsiteY161" fmla="*/ 416242 h 493395"/>
                <a:gd name="connsiteX162" fmla="*/ 79057 w 693419"/>
                <a:gd name="connsiteY162" fmla="*/ 430530 h 493395"/>
                <a:gd name="connsiteX163" fmla="*/ 57150 w 693419"/>
                <a:gd name="connsiteY163" fmla="*/ 430530 h 493395"/>
                <a:gd name="connsiteX164" fmla="*/ 68580 w 693419"/>
                <a:gd name="connsiteY164" fmla="*/ 399097 h 493395"/>
                <a:gd name="connsiteX165" fmla="*/ 87630 w 693419"/>
                <a:gd name="connsiteY165" fmla="*/ 386715 h 493395"/>
                <a:gd name="connsiteX166" fmla="*/ 97155 w 693419"/>
                <a:gd name="connsiteY166" fmla="*/ 386715 h 493395"/>
                <a:gd name="connsiteX167" fmla="*/ 112395 w 693419"/>
                <a:gd name="connsiteY167" fmla="*/ 404813 h 493395"/>
                <a:gd name="connsiteX168" fmla="*/ 118110 w 693419"/>
                <a:gd name="connsiteY168" fmla="*/ 404813 h 493395"/>
                <a:gd name="connsiteX169" fmla="*/ 122873 w 693419"/>
                <a:gd name="connsiteY169" fmla="*/ 380047 h 493395"/>
                <a:gd name="connsiteX170" fmla="*/ 40957 w 693419"/>
                <a:gd name="connsiteY170" fmla="*/ 380047 h 493395"/>
                <a:gd name="connsiteX171" fmla="*/ 39053 w 693419"/>
                <a:gd name="connsiteY171" fmla="*/ 384810 h 493395"/>
                <a:gd name="connsiteX172" fmla="*/ 48578 w 693419"/>
                <a:gd name="connsiteY172" fmla="*/ 409575 h 493395"/>
                <a:gd name="connsiteX173" fmla="*/ 30480 w 693419"/>
                <a:gd name="connsiteY173" fmla="*/ 458153 h 493395"/>
                <a:gd name="connsiteX174" fmla="*/ 1905 w 693419"/>
                <a:gd name="connsiteY174" fmla="*/ 482917 h 493395"/>
                <a:gd name="connsiteX175" fmla="*/ 953 w 693419"/>
                <a:gd name="connsiteY175" fmla="*/ 487680 h 493395"/>
                <a:gd name="connsiteX176" fmla="*/ 59055 w 693419"/>
                <a:gd name="connsiteY176" fmla="*/ 487680 h 493395"/>
                <a:gd name="connsiteX177" fmla="*/ 460058 w 693419"/>
                <a:gd name="connsiteY177" fmla="*/ 238125 h 493395"/>
                <a:gd name="connsiteX178" fmla="*/ 467678 w 693419"/>
                <a:gd name="connsiteY178" fmla="*/ 252413 h 493395"/>
                <a:gd name="connsiteX179" fmla="*/ 441960 w 693419"/>
                <a:gd name="connsiteY179" fmla="*/ 258128 h 493395"/>
                <a:gd name="connsiteX180" fmla="*/ 460058 w 693419"/>
                <a:gd name="connsiteY180" fmla="*/ 238125 h 493395"/>
                <a:gd name="connsiteX181" fmla="*/ 474345 w 693419"/>
                <a:gd name="connsiteY181" fmla="*/ 279083 h 493395"/>
                <a:gd name="connsiteX182" fmla="*/ 469583 w 693419"/>
                <a:gd name="connsiteY182" fmla="*/ 279083 h 493395"/>
                <a:gd name="connsiteX183" fmla="*/ 449580 w 693419"/>
                <a:gd name="connsiteY183" fmla="*/ 292417 h 493395"/>
                <a:gd name="connsiteX184" fmla="*/ 439103 w 693419"/>
                <a:gd name="connsiteY184" fmla="*/ 279083 h 493395"/>
                <a:gd name="connsiteX185" fmla="*/ 440055 w 693419"/>
                <a:gd name="connsiteY185" fmla="*/ 267653 h 493395"/>
                <a:gd name="connsiteX186" fmla="*/ 481013 w 693419"/>
                <a:gd name="connsiteY186" fmla="*/ 254317 h 493395"/>
                <a:gd name="connsiteX187" fmla="*/ 467678 w 693419"/>
                <a:gd name="connsiteY187" fmla="*/ 226695 h 493395"/>
                <a:gd name="connsiteX188" fmla="*/ 425768 w 693419"/>
                <a:gd name="connsiteY188" fmla="*/ 287655 h 493395"/>
                <a:gd name="connsiteX189" fmla="*/ 441008 w 693419"/>
                <a:gd name="connsiteY189" fmla="*/ 307658 h 493395"/>
                <a:gd name="connsiteX190" fmla="*/ 474345 w 693419"/>
                <a:gd name="connsiteY190" fmla="*/ 279083 h 493395"/>
                <a:gd name="connsiteX191" fmla="*/ 466725 w 693419"/>
                <a:gd name="connsiteY191" fmla="*/ 219075 h 493395"/>
                <a:gd name="connsiteX192" fmla="*/ 495300 w 693419"/>
                <a:gd name="connsiteY192" fmla="*/ 192405 h 493395"/>
                <a:gd name="connsiteX193" fmla="*/ 495300 w 693419"/>
                <a:gd name="connsiteY193" fmla="*/ 189547 h 493395"/>
                <a:gd name="connsiteX194" fmla="*/ 480060 w 693419"/>
                <a:gd name="connsiteY194" fmla="*/ 189547 h 493395"/>
                <a:gd name="connsiteX195" fmla="*/ 461963 w 693419"/>
                <a:gd name="connsiteY195" fmla="*/ 220028 h 493395"/>
                <a:gd name="connsiteX196" fmla="*/ 466725 w 693419"/>
                <a:gd name="connsiteY196" fmla="*/ 220028 h 493395"/>
                <a:gd name="connsiteX197" fmla="*/ 378143 w 693419"/>
                <a:gd name="connsiteY197" fmla="*/ 238125 h 493395"/>
                <a:gd name="connsiteX198" fmla="*/ 391478 w 693419"/>
                <a:gd name="connsiteY198" fmla="*/ 238125 h 493395"/>
                <a:gd name="connsiteX199" fmla="*/ 369570 w 693419"/>
                <a:gd name="connsiteY199" fmla="*/ 297180 h 493395"/>
                <a:gd name="connsiteX200" fmla="*/ 375285 w 693419"/>
                <a:gd name="connsiteY200" fmla="*/ 307658 h 493395"/>
                <a:gd name="connsiteX201" fmla="*/ 414338 w 693419"/>
                <a:gd name="connsiteY201" fmla="*/ 279083 h 493395"/>
                <a:gd name="connsiteX202" fmla="*/ 410528 w 693419"/>
                <a:gd name="connsiteY202" fmla="*/ 279083 h 493395"/>
                <a:gd name="connsiteX203" fmla="*/ 385763 w 693419"/>
                <a:gd name="connsiteY203" fmla="*/ 294322 h 493395"/>
                <a:gd name="connsiteX204" fmla="*/ 405765 w 693419"/>
                <a:gd name="connsiteY204" fmla="*/ 239078 h 493395"/>
                <a:gd name="connsiteX205" fmla="*/ 425768 w 693419"/>
                <a:gd name="connsiteY205" fmla="*/ 239078 h 493395"/>
                <a:gd name="connsiteX206" fmla="*/ 428625 w 693419"/>
                <a:gd name="connsiteY206" fmla="*/ 230505 h 493395"/>
                <a:gd name="connsiteX207" fmla="*/ 408622 w 693419"/>
                <a:gd name="connsiteY207" fmla="*/ 230505 h 493395"/>
                <a:gd name="connsiteX208" fmla="*/ 416243 w 693419"/>
                <a:gd name="connsiteY208" fmla="*/ 209550 h 493395"/>
                <a:gd name="connsiteX209" fmla="*/ 408622 w 693419"/>
                <a:gd name="connsiteY209" fmla="*/ 209550 h 493395"/>
                <a:gd name="connsiteX210" fmla="*/ 394335 w 693419"/>
                <a:gd name="connsiteY210" fmla="*/ 230505 h 493395"/>
                <a:gd name="connsiteX211" fmla="*/ 377190 w 693419"/>
                <a:gd name="connsiteY211" fmla="*/ 232410 h 493395"/>
                <a:gd name="connsiteX212" fmla="*/ 377190 w 693419"/>
                <a:gd name="connsiteY212" fmla="*/ 238125 h 493395"/>
                <a:gd name="connsiteX213" fmla="*/ 359093 w 693419"/>
                <a:gd name="connsiteY213" fmla="*/ 235267 h 493395"/>
                <a:gd name="connsiteX214" fmla="*/ 354330 w 693419"/>
                <a:gd name="connsiteY214" fmla="*/ 226695 h 493395"/>
                <a:gd name="connsiteX215" fmla="*/ 322898 w 693419"/>
                <a:gd name="connsiteY215" fmla="*/ 252413 h 493395"/>
                <a:gd name="connsiteX216" fmla="*/ 326708 w 693419"/>
                <a:gd name="connsiteY216" fmla="*/ 252413 h 493395"/>
                <a:gd name="connsiteX217" fmla="*/ 342900 w 693419"/>
                <a:gd name="connsiteY217" fmla="*/ 240030 h 493395"/>
                <a:gd name="connsiteX218" fmla="*/ 320040 w 693419"/>
                <a:gd name="connsiteY218" fmla="*/ 299085 h 493395"/>
                <a:gd name="connsiteX219" fmla="*/ 324803 w 693419"/>
                <a:gd name="connsiteY219" fmla="*/ 307658 h 493395"/>
                <a:gd name="connsiteX220" fmla="*/ 355283 w 693419"/>
                <a:gd name="connsiteY220" fmla="*/ 281940 h 493395"/>
                <a:gd name="connsiteX221" fmla="*/ 351472 w 693419"/>
                <a:gd name="connsiteY221" fmla="*/ 281940 h 493395"/>
                <a:gd name="connsiteX222" fmla="*/ 335280 w 693419"/>
                <a:gd name="connsiteY222" fmla="*/ 294322 h 493395"/>
                <a:gd name="connsiteX223" fmla="*/ 359093 w 693419"/>
                <a:gd name="connsiteY223" fmla="*/ 235267 h 493395"/>
                <a:gd name="connsiteX224" fmla="*/ 363855 w 693419"/>
                <a:gd name="connsiteY224" fmla="*/ 205740 h 493395"/>
                <a:gd name="connsiteX225" fmla="*/ 373380 w 693419"/>
                <a:gd name="connsiteY225" fmla="*/ 196215 h 493395"/>
                <a:gd name="connsiteX226" fmla="*/ 363855 w 693419"/>
                <a:gd name="connsiteY226" fmla="*/ 186690 h 493395"/>
                <a:gd name="connsiteX227" fmla="*/ 354330 w 693419"/>
                <a:gd name="connsiteY227" fmla="*/ 196215 h 493395"/>
                <a:gd name="connsiteX228" fmla="*/ 363855 w 693419"/>
                <a:gd name="connsiteY228" fmla="*/ 205740 h 493395"/>
                <a:gd name="connsiteX229" fmla="*/ 284798 w 693419"/>
                <a:gd name="connsiteY229" fmla="*/ 294322 h 493395"/>
                <a:gd name="connsiteX230" fmla="*/ 325755 w 693419"/>
                <a:gd name="connsiteY230" fmla="*/ 185738 h 493395"/>
                <a:gd name="connsiteX231" fmla="*/ 324803 w 693419"/>
                <a:gd name="connsiteY231" fmla="*/ 183833 h 493395"/>
                <a:gd name="connsiteX232" fmla="*/ 299085 w 693419"/>
                <a:gd name="connsiteY232" fmla="*/ 186690 h 493395"/>
                <a:gd name="connsiteX233" fmla="*/ 299085 w 693419"/>
                <a:gd name="connsiteY233" fmla="*/ 189547 h 493395"/>
                <a:gd name="connsiteX234" fmla="*/ 303848 w 693419"/>
                <a:gd name="connsiteY234" fmla="*/ 193358 h 493395"/>
                <a:gd name="connsiteX235" fmla="*/ 302895 w 693419"/>
                <a:gd name="connsiteY235" fmla="*/ 211455 h 493395"/>
                <a:gd name="connsiteX236" fmla="*/ 270510 w 693419"/>
                <a:gd name="connsiteY236" fmla="*/ 296228 h 493395"/>
                <a:gd name="connsiteX237" fmla="*/ 276225 w 693419"/>
                <a:gd name="connsiteY237" fmla="*/ 306705 h 493395"/>
                <a:gd name="connsiteX238" fmla="*/ 306705 w 693419"/>
                <a:gd name="connsiteY238" fmla="*/ 280988 h 493395"/>
                <a:gd name="connsiteX239" fmla="*/ 302895 w 693419"/>
                <a:gd name="connsiteY239" fmla="*/ 280988 h 493395"/>
                <a:gd name="connsiteX240" fmla="*/ 284798 w 693419"/>
                <a:gd name="connsiteY240" fmla="*/ 294322 h 493395"/>
                <a:gd name="connsiteX241" fmla="*/ 205740 w 693419"/>
                <a:gd name="connsiteY241" fmla="*/ 284797 h 493395"/>
                <a:gd name="connsiteX242" fmla="*/ 237173 w 693419"/>
                <a:gd name="connsiteY242" fmla="*/ 241935 h 493395"/>
                <a:gd name="connsiteX243" fmla="*/ 243840 w 693419"/>
                <a:gd name="connsiteY243" fmla="*/ 242888 h 493395"/>
                <a:gd name="connsiteX244" fmla="*/ 232410 w 693419"/>
                <a:gd name="connsiteY244" fmla="*/ 274320 h 493395"/>
                <a:gd name="connsiteX245" fmla="*/ 210503 w 693419"/>
                <a:gd name="connsiteY245" fmla="*/ 292417 h 493395"/>
                <a:gd name="connsiteX246" fmla="*/ 205740 w 693419"/>
                <a:gd name="connsiteY246" fmla="*/ 284797 h 493395"/>
                <a:gd name="connsiteX247" fmla="*/ 268605 w 693419"/>
                <a:gd name="connsiteY247" fmla="*/ 223838 h 493395"/>
                <a:gd name="connsiteX248" fmla="*/ 261938 w 693419"/>
                <a:gd name="connsiteY248" fmla="*/ 223838 h 493395"/>
                <a:gd name="connsiteX249" fmla="*/ 255270 w 693419"/>
                <a:gd name="connsiteY249" fmla="*/ 230505 h 493395"/>
                <a:gd name="connsiteX250" fmla="*/ 253365 w 693419"/>
                <a:gd name="connsiteY250" fmla="*/ 230505 h 493395"/>
                <a:gd name="connsiteX251" fmla="*/ 190500 w 693419"/>
                <a:gd name="connsiteY251" fmla="*/ 296228 h 493395"/>
                <a:gd name="connsiteX252" fmla="*/ 202883 w 693419"/>
                <a:gd name="connsiteY252" fmla="*/ 308610 h 493395"/>
                <a:gd name="connsiteX253" fmla="*/ 229553 w 693419"/>
                <a:gd name="connsiteY253" fmla="*/ 282892 h 493395"/>
                <a:gd name="connsiteX254" fmla="*/ 229553 w 693419"/>
                <a:gd name="connsiteY254" fmla="*/ 287655 h 493395"/>
                <a:gd name="connsiteX255" fmla="*/ 240030 w 693419"/>
                <a:gd name="connsiteY255" fmla="*/ 308610 h 493395"/>
                <a:gd name="connsiteX256" fmla="*/ 261938 w 693419"/>
                <a:gd name="connsiteY256" fmla="*/ 282892 h 493395"/>
                <a:gd name="connsiteX257" fmla="*/ 258128 w 693419"/>
                <a:gd name="connsiteY257" fmla="*/ 282892 h 493395"/>
                <a:gd name="connsiteX258" fmla="*/ 247650 w 693419"/>
                <a:gd name="connsiteY258" fmla="*/ 292417 h 493395"/>
                <a:gd name="connsiteX259" fmla="*/ 247650 w 693419"/>
                <a:gd name="connsiteY259" fmla="*/ 274320 h 493395"/>
                <a:gd name="connsiteX260" fmla="*/ 268605 w 693419"/>
                <a:gd name="connsiteY260" fmla="*/ 223838 h 493395"/>
                <a:gd name="connsiteX261" fmla="*/ 117157 w 693419"/>
                <a:gd name="connsiteY261" fmla="*/ 321945 h 493395"/>
                <a:gd name="connsiteX262" fmla="*/ 135255 w 693419"/>
                <a:gd name="connsiteY262" fmla="*/ 304800 h 493395"/>
                <a:gd name="connsiteX263" fmla="*/ 151448 w 693419"/>
                <a:gd name="connsiteY263" fmla="*/ 310515 h 493395"/>
                <a:gd name="connsiteX264" fmla="*/ 166688 w 693419"/>
                <a:gd name="connsiteY264" fmla="*/ 319088 h 493395"/>
                <a:gd name="connsiteX265" fmla="*/ 137160 w 693419"/>
                <a:gd name="connsiteY265" fmla="*/ 331470 h 493395"/>
                <a:gd name="connsiteX266" fmla="*/ 117157 w 693419"/>
                <a:gd name="connsiteY266" fmla="*/ 321945 h 493395"/>
                <a:gd name="connsiteX267" fmla="*/ 147638 w 693419"/>
                <a:gd name="connsiteY267" fmla="*/ 274320 h 493395"/>
                <a:gd name="connsiteX268" fmla="*/ 140970 w 693419"/>
                <a:gd name="connsiteY268" fmla="*/ 265747 h 493395"/>
                <a:gd name="connsiteX269" fmla="*/ 159068 w 693419"/>
                <a:gd name="connsiteY269" fmla="*/ 233363 h 493395"/>
                <a:gd name="connsiteX270" fmla="*/ 165735 w 693419"/>
                <a:gd name="connsiteY270" fmla="*/ 241935 h 493395"/>
                <a:gd name="connsiteX271" fmla="*/ 147638 w 693419"/>
                <a:gd name="connsiteY271" fmla="*/ 274320 h 493395"/>
                <a:gd name="connsiteX272" fmla="*/ 180023 w 693419"/>
                <a:gd name="connsiteY272" fmla="*/ 314325 h 493395"/>
                <a:gd name="connsiteX273" fmla="*/ 158115 w 693419"/>
                <a:gd name="connsiteY273" fmla="*/ 297180 h 493395"/>
                <a:gd name="connsiteX274" fmla="*/ 140970 w 693419"/>
                <a:gd name="connsiteY274" fmla="*/ 288608 h 493395"/>
                <a:gd name="connsiteX275" fmla="*/ 148590 w 693419"/>
                <a:gd name="connsiteY275" fmla="*/ 279083 h 493395"/>
                <a:gd name="connsiteX276" fmla="*/ 180975 w 693419"/>
                <a:gd name="connsiteY276" fmla="*/ 245745 h 493395"/>
                <a:gd name="connsiteX277" fmla="*/ 179070 w 693419"/>
                <a:gd name="connsiteY277" fmla="*/ 237172 h 493395"/>
                <a:gd name="connsiteX278" fmla="*/ 195263 w 693419"/>
                <a:gd name="connsiteY278" fmla="*/ 237172 h 493395"/>
                <a:gd name="connsiteX279" fmla="*/ 198120 w 693419"/>
                <a:gd name="connsiteY279" fmla="*/ 228600 h 493395"/>
                <a:gd name="connsiteX280" fmla="*/ 172403 w 693419"/>
                <a:gd name="connsiteY280" fmla="*/ 228600 h 493395"/>
                <a:gd name="connsiteX281" fmla="*/ 161925 w 693419"/>
                <a:gd name="connsiteY281" fmla="*/ 225742 h 493395"/>
                <a:gd name="connsiteX282" fmla="*/ 127635 w 693419"/>
                <a:gd name="connsiteY282" fmla="*/ 258128 h 493395"/>
                <a:gd name="connsiteX283" fmla="*/ 143828 w 693419"/>
                <a:gd name="connsiteY283" fmla="*/ 278130 h 493395"/>
                <a:gd name="connsiteX284" fmla="*/ 128588 w 693419"/>
                <a:gd name="connsiteY284" fmla="*/ 293370 h 493395"/>
                <a:gd name="connsiteX285" fmla="*/ 132398 w 693419"/>
                <a:gd name="connsiteY285" fmla="*/ 300990 h 493395"/>
                <a:gd name="connsiteX286" fmla="*/ 100965 w 693419"/>
                <a:gd name="connsiteY286" fmla="*/ 325755 h 493395"/>
                <a:gd name="connsiteX287" fmla="*/ 130493 w 693419"/>
                <a:gd name="connsiteY287" fmla="*/ 340042 h 493395"/>
                <a:gd name="connsiteX288" fmla="*/ 180023 w 693419"/>
                <a:gd name="connsiteY288" fmla="*/ 314325 h 493395"/>
                <a:gd name="connsiteX289" fmla="*/ 76200 w 693419"/>
                <a:gd name="connsiteY289" fmla="*/ 251460 h 493395"/>
                <a:gd name="connsiteX290" fmla="*/ 84773 w 693419"/>
                <a:gd name="connsiteY290" fmla="*/ 265747 h 493395"/>
                <a:gd name="connsiteX291" fmla="*/ 90488 w 693419"/>
                <a:gd name="connsiteY291" fmla="*/ 265747 h 493395"/>
                <a:gd name="connsiteX292" fmla="*/ 103823 w 693419"/>
                <a:gd name="connsiteY292" fmla="*/ 229553 h 493395"/>
                <a:gd name="connsiteX293" fmla="*/ 98107 w 693419"/>
                <a:gd name="connsiteY293" fmla="*/ 229553 h 493395"/>
                <a:gd name="connsiteX294" fmla="*/ 79057 w 693419"/>
                <a:gd name="connsiteY294" fmla="*/ 243840 h 493395"/>
                <a:gd name="connsiteX295" fmla="*/ 57150 w 693419"/>
                <a:gd name="connsiteY295" fmla="*/ 243840 h 493395"/>
                <a:gd name="connsiteX296" fmla="*/ 67628 w 693419"/>
                <a:gd name="connsiteY296" fmla="*/ 214313 h 493395"/>
                <a:gd name="connsiteX297" fmla="*/ 86678 w 693419"/>
                <a:gd name="connsiteY297" fmla="*/ 202883 h 493395"/>
                <a:gd name="connsiteX298" fmla="*/ 96203 w 693419"/>
                <a:gd name="connsiteY298" fmla="*/ 202883 h 493395"/>
                <a:gd name="connsiteX299" fmla="*/ 111443 w 693419"/>
                <a:gd name="connsiteY299" fmla="*/ 220028 h 493395"/>
                <a:gd name="connsiteX300" fmla="*/ 117157 w 693419"/>
                <a:gd name="connsiteY300" fmla="*/ 220028 h 493395"/>
                <a:gd name="connsiteX301" fmla="*/ 121920 w 693419"/>
                <a:gd name="connsiteY301" fmla="*/ 195263 h 493395"/>
                <a:gd name="connsiteX302" fmla="*/ 40005 w 693419"/>
                <a:gd name="connsiteY302" fmla="*/ 195263 h 493395"/>
                <a:gd name="connsiteX303" fmla="*/ 38100 w 693419"/>
                <a:gd name="connsiteY303" fmla="*/ 200025 h 493395"/>
                <a:gd name="connsiteX304" fmla="*/ 47625 w 693419"/>
                <a:gd name="connsiteY304" fmla="*/ 224790 h 493395"/>
                <a:gd name="connsiteX305" fmla="*/ 29528 w 693419"/>
                <a:gd name="connsiteY305" fmla="*/ 273367 h 493395"/>
                <a:gd name="connsiteX306" fmla="*/ 953 w 693419"/>
                <a:gd name="connsiteY306" fmla="*/ 298133 h 493395"/>
                <a:gd name="connsiteX307" fmla="*/ 0 w 693419"/>
                <a:gd name="connsiteY307" fmla="*/ 302895 h 493395"/>
                <a:gd name="connsiteX308" fmla="*/ 91440 w 693419"/>
                <a:gd name="connsiteY308" fmla="*/ 302895 h 493395"/>
                <a:gd name="connsiteX309" fmla="*/ 107632 w 693419"/>
                <a:gd name="connsiteY309" fmla="*/ 277178 h 493395"/>
                <a:gd name="connsiteX310" fmla="*/ 101918 w 693419"/>
                <a:gd name="connsiteY310" fmla="*/ 277178 h 493395"/>
                <a:gd name="connsiteX311" fmla="*/ 60007 w 693419"/>
                <a:gd name="connsiteY311" fmla="*/ 296228 h 493395"/>
                <a:gd name="connsiteX312" fmla="*/ 45720 w 693419"/>
                <a:gd name="connsiteY312" fmla="*/ 273367 h 493395"/>
                <a:gd name="connsiteX313" fmla="*/ 54293 w 693419"/>
                <a:gd name="connsiteY313" fmla="*/ 249555 h 493395"/>
                <a:gd name="connsiteX314" fmla="*/ 76200 w 693419"/>
                <a:gd name="connsiteY314" fmla="*/ 249555 h 493395"/>
                <a:gd name="connsiteX315" fmla="*/ 88582 w 693419"/>
                <a:gd name="connsiteY315" fmla="*/ 188595 h 493395"/>
                <a:gd name="connsiteX316" fmla="*/ 117157 w 693419"/>
                <a:gd name="connsiteY316" fmla="*/ 168592 h 493395"/>
                <a:gd name="connsiteX317" fmla="*/ 117157 w 693419"/>
                <a:gd name="connsiteY317" fmla="*/ 165735 h 493395"/>
                <a:gd name="connsiteX318" fmla="*/ 100013 w 693419"/>
                <a:gd name="connsiteY318" fmla="*/ 165735 h 493395"/>
                <a:gd name="connsiteX319" fmla="*/ 83820 w 693419"/>
                <a:gd name="connsiteY319" fmla="*/ 188595 h 493395"/>
                <a:gd name="connsiteX320" fmla="*/ 88582 w 693419"/>
                <a:gd name="connsiteY320" fmla="*/ 188595 h 493395"/>
                <a:gd name="connsiteX321" fmla="*/ 450533 w 693419"/>
                <a:gd name="connsiteY321" fmla="*/ 52388 h 493395"/>
                <a:gd name="connsiteX322" fmla="*/ 458153 w 693419"/>
                <a:gd name="connsiteY322" fmla="*/ 66675 h 493395"/>
                <a:gd name="connsiteX323" fmla="*/ 432435 w 693419"/>
                <a:gd name="connsiteY323" fmla="*/ 72390 h 493395"/>
                <a:gd name="connsiteX324" fmla="*/ 450533 w 693419"/>
                <a:gd name="connsiteY324" fmla="*/ 52388 h 493395"/>
                <a:gd name="connsiteX325" fmla="*/ 464820 w 693419"/>
                <a:gd name="connsiteY325" fmla="*/ 93345 h 493395"/>
                <a:gd name="connsiteX326" fmla="*/ 460058 w 693419"/>
                <a:gd name="connsiteY326" fmla="*/ 93345 h 493395"/>
                <a:gd name="connsiteX327" fmla="*/ 440055 w 693419"/>
                <a:gd name="connsiteY327" fmla="*/ 106680 h 493395"/>
                <a:gd name="connsiteX328" fmla="*/ 429578 w 693419"/>
                <a:gd name="connsiteY328" fmla="*/ 93345 h 493395"/>
                <a:gd name="connsiteX329" fmla="*/ 430530 w 693419"/>
                <a:gd name="connsiteY329" fmla="*/ 81915 h 493395"/>
                <a:gd name="connsiteX330" fmla="*/ 471488 w 693419"/>
                <a:gd name="connsiteY330" fmla="*/ 68580 h 493395"/>
                <a:gd name="connsiteX331" fmla="*/ 458153 w 693419"/>
                <a:gd name="connsiteY331" fmla="*/ 40958 h 493395"/>
                <a:gd name="connsiteX332" fmla="*/ 416243 w 693419"/>
                <a:gd name="connsiteY332" fmla="*/ 101917 h 493395"/>
                <a:gd name="connsiteX333" fmla="*/ 431483 w 693419"/>
                <a:gd name="connsiteY333" fmla="*/ 121920 h 493395"/>
                <a:gd name="connsiteX334" fmla="*/ 464820 w 693419"/>
                <a:gd name="connsiteY334" fmla="*/ 93345 h 493395"/>
                <a:gd name="connsiteX335" fmla="*/ 457200 w 693419"/>
                <a:gd name="connsiteY335" fmla="*/ 33338 h 493395"/>
                <a:gd name="connsiteX336" fmla="*/ 485775 w 693419"/>
                <a:gd name="connsiteY336" fmla="*/ 6667 h 493395"/>
                <a:gd name="connsiteX337" fmla="*/ 485775 w 693419"/>
                <a:gd name="connsiteY337" fmla="*/ 3810 h 493395"/>
                <a:gd name="connsiteX338" fmla="*/ 470535 w 693419"/>
                <a:gd name="connsiteY338" fmla="*/ 3810 h 493395"/>
                <a:gd name="connsiteX339" fmla="*/ 452438 w 693419"/>
                <a:gd name="connsiteY339" fmla="*/ 34290 h 493395"/>
                <a:gd name="connsiteX340" fmla="*/ 457200 w 693419"/>
                <a:gd name="connsiteY340" fmla="*/ 34290 h 493395"/>
                <a:gd name="connsiteX341" fmla="*/ 371475 w 693419"/>
                <a:gd name="connsiteY341" fmla="*/ 52388 h 493395"/>
                <a:gd name="connsiteX342" fmla="*/ 381953 w 693419"/>
                <a:gd name="connsiteY342" fmla="*/ 52388 h 493395"/>
                <a:gd name="connsiteX343" fmla="*/ 360045 w 693419"/>
                <a:gd name="connsiteY343" fmla="*/ 111442 h 493395"/>
                <a:gd name="connsiteX344" fmla="*/ 365760 w 693419"/>
                <a:gd name="connsiteY344" fmla="*/ 121920 h 493395"/>
                <a:gd name="connsiteX345" fmla="*/ 404813 w 693419"/>
                <a:gd name="connsiteY345" fmla="*/ 93345 h 493395"/>
                <a:gd name="connsiteX346" fmla="*/ 401003 w 693419"/>
                <a:gd name="connsiteY346" fmla="*/ 93345 h 493395"/>
                <a:gd name="connsiteX347" fmla="*/ 376238 w 693419"/>
                <a:gd name="connsiteY347" fmla="*/ 108585 h 493395"/>
                <a:gd name="connsiteX348" fmla="*/ 396240 w 693419"/>
                <a:gd name="connsiteY348" fmla="*/ 53340 h 493395"/>
                <a:gd name="connsiteX349" fmla="*/ 416243 w 693419"/>
                <a:gd name="connsiteY349" fmla="*/ 53340 h 493395"/>
                <a:gd name="connsiteX350" fmla="*/ 419100 w 693419"/>
                <a:gd name="connsiteY350" fmla="*/ 44767 h 493395"/>
                <a:gd name="connsiteX351" fmla="*/ 399097 w 693419"/>
                <a:gd name="connsiteY351" fmla="*/ 44767 h 493395"/>
                <a:gd name="connsiteX352" fmla="*/ 406718 w 693419"/>
                <a:gd name="connsiteY352" fmla="*/ 23813 h 493395"/>
                <a:gd name="connsiteX353" fmla="*/ 399097 w 693419"/>
                <a:gd name="connsiteY353" fmla="*/ 23813 h 493395"/>
                <a:gd name="connsiteX354" fmla="*/ 384810 w 693419"/>
                <a:gd name="connsiteY354" fmla="*/ 44767 h 493395"/>
                <a:gd name="connsiteX355" fmla="*/ 370522 w 693419"/>
                <a:gd name="connsiteY355" fmla="*/ 46672 h 493395"/>
                <a:gd name="connsiteX356" fmla="*/ 370522 w 693419"/>
                <a:gd name="connsiteY356" fmla="*/ 52388 h 493395"/>
                <a:gd name="connsiteX357" fmla="*/ 360997 w 693419"/>
                <a:gd name="connsiteY357" fmla="*/ 59055 h 493395"/>
                <a:gd name="connsiteX358" fmla="*/ 355283 w 693419"/>
                <a:gd name="connsiteY358" fmla="*/ 40958 h 493395"/>
                <a:gd name="connsiteX359" fmla="*/ 335280 w 693419"/>
                <a:gd name="connsiteY359" fmla="*/ 66675 h 493395"/>
                <a:gd name="connsiteX360" fmla="*/ 335280 w 693419"/>
                <a:gd name="connsiteY360" fmla="*/ 55245 h 493395"/>
                <a:gd name="connsiteX361" fmla="*/ 325755 w 693419"/>
                <a:gd name="connsiteY361" fmla="*/ 40005 h 493395"/>
                <a:gd name="connsiteX362" fmla="*/ 303848 w 693419"/>
                <a:gd name="connsiteY362" fmla="*/ 65722 h 493395"/>
                <a:gd name="connsiteX363" fmla="*/ 307658 w 693419"/>
                <a:gd name="connsiteY363" fmla="*/ 65722 h 493395"/>
                <a:gd name="connsiteX364" fmla="*/ 318135 w 693419"/>
                <a:gd name="connsiteY364" fmla="*/ 56197 h 493395"/>
                <a:gd name="connsiteX365" fmla="*/ 318135 w 693419"/>
                <a:gd name="connsiteY365" fmla="*/ 74295 h 493395"/>
                <a:gd name="connsiteX366" fmla="*/ 301943 w 693419"/>
                <a:gd name="connsiteY366" fmla="*/ 109538 h 493395"/>
                <a:gd name="connsiteX367" fmla="*/ 308610 w 693419"/>
                <a:gd name="connsiteY367" fmla="*/ 120967 h 493395"/>
                <a:gd name="connsiteX368" fmla="*/ 316230 w 693419"/>
                <a:gd name="connsiteY368" fmla="*/ 115253 h 493395"/>
                <a:gd name="connsiteX369" fmla="*/ 332423 w 693419"/>
                <a:gd name="connsiteY369" fmla="*/ 73342 h 493395"/>
                <a:gd name="connsiteX370" fmla="*/ 345758 w 693419"/>
                <a:gd name="connsiteY370" fmla="*/ 58103 h 493395"/>
                <a:gd name="connsiteX371" fmla="*/ 360997 w 693419"/>
                <a:gd name="connsiteY371" fmla="*/ 58103 h 493395"/>
                <a:gd name="connsiteX372" fmla="*/ 269558 w 693419"/>
                <a:gd name="connsiteY372" fmla="*/ 52388 h 493395"/>
                <a:gd name="connsiteX373" fmla="*/ 277178 w 693419"/>
                <a:gd name="connsiteY373" fmla="*/ 66675 h 493395"/>
                <a:gd name="connsiteX374" fmla="*/ 251460 w 693419"/>
                <a:gd name="connsiteY374" fmla="*/ 72390 h 493395"/>
                <a:gd name="connsiteX375" fmla="*/ 269558 w 693419"/>
                <a:gd name="connsiteY375" fmla="*/ 52388 h 493395"/>
                <a:gd name="connsiteX376" fmla="*/ 283845 w 693419"/>
                <a:gd name="connsiteY376" fmla="*/ 93345 h 493395"/>
                <a:gd name="connsiteX377" fmla="*/ 279083 w 693419"/>
                <a:gd name="connsiteY377" fmla="*/ 93345 h 493395"/>
                <a:gd name="connsiteX378" fmla="*/ 259080 w 693419"/>
                <a:gd name="connsiteY378" fmla="*/ 106680 h 493395"/>
                <a:gd name="connsiteX379" fmla="*/ 248603 w 693419"/>
                <a:gd name="connsiteY379" fmla="*/ 93345 h 493395"/>
                <a:gd name="connsiteX380" fmla="*/ 249555 w 693419"/>
                <a:gd name="connsiteY380" fmla="*/ 81915 h 493395"/>
                <a:gd name="connsiteX381" fmla="*/ 290513 w 693419"/>
                <a:gd name="connsiteY381" fmla="*/ 68580 h 493395"/>
                <a:gd name="connsiteX382" fmla="*/ 277178 w 693419"/>
                <a:gd name="connsiteY382" fmla="*/ 40958 h 493395"/>
                <a:gd name="connsiteX383" fmla="*/ 235268 w 693419"/>
                <a:gd name="connsiteY383" fmla="*/ 101917 h 493395"/>
                <a:gd name="connsiteX384" fmla="*/ 250508 w 693419"/>
                <a:gd name="connsiteY384" fmla="*/ 121920 h 493395"/>
                <a:gd name="connsiteX385" fmla="*/ 283845 w 693419"/>
                <a:gd name="connsiteY385" fmla="*/ 93345 h 493395"/>
                <a:gd name="connsiteX386" fmla="*/ 182880 w 693419"/>
                <a:gd name="connsiteY386" fmla="*/ 110490 h 493395"/>
                <a:gd name="connsiteX387" fmla="*/ 173355 w 693419"/>
                <a:gd name="connsiteY387" fmla="*/ 103822 h 493395"/>
                <a:gd name="connsiteX388" fmla="*/ 177165 w 693419"/>
                <a:gd name="connsiteY388" fmla="*/ 92392 h 493395"/>
                <a:gd name="connsiteX389" fmla="*/ 183833 w 693419"/>
                <a:gd name="connsiteY389" fmla="*/ 74295 h 493395"/>
                <a:gd name="connsiteX390" fmla="*/ 207645 w 693419"/>
                <a:gd name="connsiteY390" fmla="*/ 57150 h 493395"/>
                <a:gd name="connsiteX391" fmla="*/ 214313 w 693419"/>
                <a:gd name="connsiteY391" fmla="*/ 64770 h 493395"/>
                <a:gd name="connsiteX392" fmla="*/ 182880 w 693419"/>
                <a:gd name="connsiteY392" fmla="*/ 110490 h 493395"/>
                <a:gd name="connsiteX393" fmla="*/ 230505 w 693419"/>
                <a:gd name="connsiteY393" fmla="*/ 58103 h 493395"/>
                <a:gd name="connsiteX394" fmla="*/ 218123 w 693419"/>
                <a:gd name="connsiteY394" fmla="*/ 41910 h 493395"/>
                <a:gd name="connsiteX395" fmla="*/ 188595 w 693419"/>
                <a:gd name="connsiteY395" fmla="*/ 66675 h 493395"/>
                <a:gd name="connsiteX396" fmla="*/ 213360 w 693419"/>
                <a:gd name="connsiteY396" fmla="*/ 1905 h 493395"/>
                <a:gd name="connsiteX397" fmla="*/ 212408 w 693419"/>
                <a:gd name="connsiteY397" fmla="*/ 0 h 493395"/>
                <a:gd name="connsiteX398" fmla="*/ 186690 w 693419"/>
                <a:gd name="connsiteY398" fmla="*/ 2858 h 493395"/>
                <a:gd name="connsiteX399" fmla="*/ 186690 w 693419"/>
                <a:gd name="connsiteY399" fmla="*/ 5715 h 493395"/>
                <a:gd name="connsiteX400" fmla="*/ 191453 w 693419"/>
                <a:gd name="connsiteY400" fmla="*/ 9525 h 493395"/>
                <a:gd name="connsiteX401" fmla="*/ 190500 w 693419"/>
                <a:gd name="connsiteY401" fmla="*/ 27622 h 493395"/>
                <a:gd name="connsiteX402" fmla="*/ 163830 w 693419"/>
                <a:gd name="connsiteY402" fmla="*/ 96203 h 493395"/>
                <a:gd name="connsiteX403" fmla="*/ 159068 w 693419"/>
                <a:gd name="connsiteY403" fmla="*/ 108585 h 493395"/>
                <a:gd name="connsiteX404" fmla="*/ 177165 w 693419"/>
                <a:gd name="connsiteY404" fmla="*/ 121920 h 493395"/>
                <a:gd name="connsiteX405" fmla="*/ 230505 w 693419"/>
                <a:gd name="connsiteY405" fmla="*/ 58103 h 493395"/>
                <a:gd name="connsiteX406" fmla="*/ 149543 w 693419"/>
                <a:gd name="connsiteY406" fmla="*/ 49530 h 493395"/>
                <a:gd name="connsiteX407" fmla="*/ 144780 w 693419"/>
                <a:gd name="connsiteY407" fmla="*/ 40958 h 493395"/>
                <a:gd name="connsiteX408" fmla="*/ 113348 w 693419"/>
                <a:gd name="connsiteY408" fmla="*/ 66675 h 493395"/>
                <a:gd name="connsiteX409" fmla="*/ 117157 w 693419"/>
                <a:gd name="connsiteY409" fmla="*/ 66675 h 493395"/>
                <a:gd name="connsiteX410" fmla="*/ 133350 w 693419"/>
                <a:gd name="connsiteY410" fmla="*/ 54292 h 493395"/>
                <a:gd name="connsiteX411" fmla="*/ 110490 w 693419"/>
                <a:gd name="connsiteY411" fmla="*/ 113347 h 493395"/>
                <a:gd name="connsiteX412" fmla="*/ 115253 w 693419"/>
                <a:gd name="connsiteY412" fmla="*/ 121920 h 493395"/>
                <a:gd name="connsiteX413" fmla="*/ 145733 w 693419"/>
                <a:gd name="connsiteY413" fmla="*/ 96203 h 493395"/>
                <a:gd name="connsiteX414" fmla="*/ 141923 w 693419"/>
                <a:gd name="connsiteY414" fmla="*/ 96203 h 493395"/>
                <a:gd name="connsiteX415" fmla="*/ 125730 w 693419"/>
                <a:gd name="connsiteY415" fmla="*/ 108585 h 493395"/>
                <a:gd name="connsiteX416" fmla="*/ 149543 w 693419"/>
                <a:gd name="connsiteY416" fmla="*/ 49530 h 493395"/>
                <a:gd name="connsiteX417" fmla="*/ 153353 w 693419"/>
                <a:gd name="connsiteY417" fmla="*/ 20003 h 493395"/>
                <a:gd name="connsiteX418" fmla="*/ 162878 w 693419"/>
                <a:gd name="connsiteY418" fmla="*/ 10478 h 493395"/>
                <a:gd name="connsiteX419" fmla="*/ 153353 w 693419"/>
                <a:gd name="connsiteY419" fmla="*/ 953 h 493395"/>
                <a:gd name="connsiteX420" fmla="*/ 143828 w 693419"/>
                <a:gd name="connsiteY420" fmla="*/ 10478 h 493395"/>
                <a:gd name="connsiteX421" fmla="*/ 153353 w 693419"/>
                <a:gd name="connsiteY421" fmla="*/ 20003 h 493395"/>
                <a:gd name="connsiteX422" fmla="*/ 93345 w 693419"/>
                <a:gd name="connsiteY422" fmla="*/ 10478 h 493395"/>
                <a:gd name="connsiteX423" fmla="*/ 39053 w 693419"/>
                <a:gd name="connsiteY423" fmla="*/ 10478 h 493395"/>
                <a:gd name="connsiteX424" fmla="*/ 37148 w 693419"/>
                <a:gd name="connsiteY424" fmla="*/ 15240 h 493395"/>
                <a:gd name="connsiteX425" fmla="*/ 46673 w 693419"/>
                <a:gd name="connsiteY425" fmla="*/ 40005 h 493395"/>
                <a:gd name="connsiteX426" fmla="*/ 29528 w 693419"/>
                <a:gd name="connsiteY426" fmla="*/ 88583 h 493395"/>
                <a:gd name="connsiteX427" fmla="*/ 953 w 693419"/>
                <a:gd name="connsiteY427" fmla="*/ 113347 h 493395"/>
                <a:gd name="connsiteX428" fmla="*/ 0 w 693419"/>
                <a:gd name="connsiteY428" fmla="*/ 118110 h 493395"/>
                <a:gd name="connsiteX429" fmla="*/ 82868 w 693419"/>
                <a:gd name="connsiteY429" fmla="*/ 118110 h 493395"/>
                <a:gd name="connsiteX430" fmla="*/ 100965 w 693419"/>
                <a:gd name="connsiteY430" fmla="*/ 86678 h 493395"/>
                <a:gd name="connsiteX431" fmla="*/ 94298 w 693419"/>
                <a:gd name="connsiteY431" fmla="*/ 86678 h 493395"/>
                <a:gd name="connsiteX432" fmla="*/ 54293 w 693419"/>
                <a:gd name="connsiteY432" fmla="*/ 111442 h 493395"/>
                <a:gd name="connsiteX433" fmla="*/ 46673 w 693419"/>
                <a:gd name="connsiteY433" fmla="*/ 88583 h 493395"/>
                <a:gd name="connsiteX434" fmla="*/ 63818 w 693419"/>
                <a:gd name="connsiteY434" fmla="*/ 40005 h 493395"/>
                <a:gd name="connsiteX435" fmla="*/ 92393 w 693419"/>
                <a:gd name="connsiteY435" fmla="*/ 15240 h 493395"/>
                <a:gd name="connsiteX436" fmla="*/ 93345 w 693419"/>
                <a:gd name="connsiteY436" fmla="*/ 10478 h 493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</a:cxnLst>
              <a:rect l="l" t="t" r="r" b="b"/>
              <a:pathLst>
                <a:path w="693419" h="493395">
                  <a:moveTo>
                    <a:pt x="659130" y="422910"/>
                  </a:moveTo>
                  <a:cubicBezTo>
                    <a:pt x="664845" y="422910"/>
                    <a:pt x="669608" y="426720"/>
                    <a:pt x="666750" y="437197"/>
                  </a:cubicBezTo>
                  <a:lnTo>
                    <a:pt x="641033" y="442913"/>
                  </a:lnTo>
                  <a:cubicBezTo>
                    <a:pt x="645795" y="432435"/>
                    <a:pt x="653415" y="422910"/>
                    <a:pt x="659130" y="422910"/>
                  </a:cubicBezTo>
                  <a:moveTo>
                    <a:pt x="673418" y="464820"/>
                  </a:moveTo>
                  <a:lnTo>
                    <a:pt x="668655" y="464820"/>
                  </a:lnTo>
                  <a:cubicBezTo>
                    <a:pt x="661988" y="472440"/>
                    <a:pt x="655320" y="478155"/>
                    <a:pt x="648653" y="478155"/>
                  </a:cubicBezTo>
                  <a:cubicBezTo>
                    <a:pt x="641985" y="478155"/>
                    <a:pt x="638175" y="474345"/>
                    <a:pt x="638175" y="464820"/>
                  </a:cubicBezTo>
                  <a:cubicBezTo>
                    <a:pt x="638175" y="461010"/>
                    <a:pt x="638175" y="457200"/>
                    <a:pt x="639128" y="453390"/>
                  </a:cubicBezTo>
                  <a:lnTo>
                    <a:pt x="680085" y="440055"/>
                  </a:lnTo>
                  <a:cubicBezTo>
                    <a:pt x="687705" y="421005"/>
                    <a:pt x="678180" y="412433"/>
                    <a:pt x="666750" y="412433"/>
                  </a:cubicBezTo>
                  <a:cubicBezTo>
                    <a:pt x="647700" y="412433"/>
                    <a:pt x="624840" y="444817"/>
                    <a:pt x="624840" y="473392"/>
                  </a:cubicBezTo>
                  <a:cubicBezTo>
                    <a:pt x="624840" y="485775"/>
                    <a:pt x="630555" y="493395"/>
                    <a:pt x="640080" y="493395"/>
                  </a:cubicBezTo>
                  <a:cubicBezTo>
                    <a:pt x="652463" y="493395"/>
                    <a:pt x="663893" y="481965"/>
                    <a:pt x="673418" y="464820"/>
                  </a:cubicBezTo>
                  <a:moveTo>
                    <a:pt x="664845" y="404813"/>
                  </a:moveTo>
                  <a:lnTo>
                    <a:pt x="693420" y="378142"/>
                  </a:lnTo>
                  <a:lnTo>
                    <a:pt x="693420" y="375285"/>
                  </a:lnTo>
                  <a:lnTo>
                    <a:pt x="678180" y="375285"/>
                  </a:lnTo>
                  <a:lnTo>
                    <a:pt x="660083" y="405765"/>
                  </a:lnTo>
                  <a:lnTo>
                    <a:pt x="664845" y="405765"/>
                  </a:lnTo>
                  <a:close/>
                  <a:moveTo>
                    <a:pt x="576263" y="423863"/>
                  </a:moveTo>
                  <a:lnTo>
                    <a:pt x="589598" y="423863"/>
                  </a:lnTo>
                  <a:lnTo>
                    <a:pt x="567690" y="482917"/>
                  </a:lnTo>
                  <a:cubicBezTo>
                    <a:pt x="565785" y="487680"/>
                    <a:pt x="568643" y="493395"/>
                    <a:pt x="573405" y="493395"/>
                  </a:cubicBezTo>
                  <a:cubicBezTo>
                    <a:pt x="585788" y="493395"/>
                    <a:pt x="605790" y="481013"/>
                    <a:pt x="612458" y="464820"/>
                  </a:cubicBezTo>
                  <a:lnTo>
                    <a:pt x="608648" y="464820"/>
                  </a:lnTo>
                  <a:cubicBezTo>
                    <a:pt x="602933" y="470535"/>
                    <a:pt x="592455" y="478155"/>
                    <a:pt x="583883" y="480060"/>
                  </a:cubicBezTo>
                  <a:lnTo>
                    <a:pt x="603885" y="424815"/>
                  </a:lnTo>
                  <a:lnTo>
                    <a:pt x="623888" y="424815"/>
                  </a:lnTo>
                  <a:lnTo>
                    <a:pt x="626745" y="416242"/>
                  </a:lnTo>
                  <a:lnTo>
                    <a:pt x="606743" y="416242"/>
                  </a:lnTo>
                  <a:lnTo>
                    <a:pt x="614363" y="395288"/>
                  </a:lnTo>
                  <a:lnTo>
                    <a:pt x="606743" y="395288"/>
                  </a:lnTo>
                  <a:lnTo>
                    <a:pt x="592455" y="416242"/>
                  </a:lnTo>
                  <a:lnTo>
                    <a:pt x="575310" y="418147"/>
                  </a:lnTo>
                  <a:lnTo>
                    <a:pt x="575310" y="423863"/>
                  </a:lnTo>
                  <a:close/>
                  <a:moveTo>
                    <a:pt x="558165" y="421005"/>
                  </a:moveTo>
                  <a:cubicBezTo>
                    <a:pt x="560070" y="415290"/>
                    <a:pt x="556260" y="412433"/>
                    <a:pt x="553403" y="412433"/>
                  </a:cubicBezTo>
                  <a:cubicBezTo>
                    <a:pt x="541973" y="412433"/>
                    <a:pt x="527685" y="422910"/>
                    <a:pt x="521970" y="438150"/>
                  </a:cubicBezTo>
                  <a:lnTo>
                    <a:pt x="525780" y="438150"/>
                  </a:lnTo>
                  <a:cubicBezTo>
                    <a:pt x="529590" y="432435"/>
                    <a:pt x="536258" y="426720"/>
                    <a:pt x="541973" y="425767"/>
                  </a:cubicBezTo>
                  <a:lnTo>
                    <a:pt x="519113" y="484822"/>
                  </a:lnTo>
                  <a:cubicBezTo>
                    <a:pt x="517208" y="490538"/>
                    <a:pt x="521018" y="493395"/>
                    <a:pt x="523875" y="493395"/>
                  </a:cubicBezTo>
                  <a:cubicBezTo>
                    <a:pt x="535305" y="493395"/>
                    <a:pt x="548640" y="482917"/>
                    <a:pt x="554355" y="467678"/>
                  </a:cubicBezTo>
                  <a:lnTo>
                    <a:pt x="550545" y="467678"/>
                  </a:lnTo>
                  <a:cubicBezTo>
                    <a:pt x="546735" y="473392"/>
                    <a:pt x="540068" y="479108"/>
                    <a:pt x="534353" y="480060"/>
                  </a:cubicBezTo>
                  <a:lnTo>
                    <a:pt x="558165" y="421005"/>
                  </a:lnTo>
                  <a:close/>
                  <a:moveTo>
                    <a:pt x="561975" y="391478"/>
                  </a:moveTo>
                  <a:cubicBezTo>
                    <a:pt x="567690" y="391478"/>
                    <a:pt x="571500" y="386715"/>
                    <a:pt x="571500" y="381953"/>
                  </a:cubicBezTo>
                  <a:cubicBezTo>
                    <a:pt x="571500" y="376238"/>
                    <a:pt x="566738" y="372428"/>
                    <a:pt x="561975" y="372428"/>
                  </a:cubicBezTo>
                  <a:cubicBezTo>
                    <a:pt x="556260" y="372428"/>
                    <a:pt x="552450" y="377190"/>
                    <a:pt x="552450" y="381953"/>
                  </a:cubicBezTo>
                  <a:cubicBezTo>
                    <a:pt x="552450" y="386715"/>
                    <a:pt x="556260" y="391478"/>
                    <a:pt x="561975" y="391478"/>
                  </a:cubicBezTo>
                  <a:moveTo>
                    <a:pt x="431483" y="481965"/>
                  </a:moveTo>
                  <a:cubicBezTo>
                    <a:pt x="428625" y="488633"/>
                    <a:pt x="431483" y="493395"/>
                    <a:pt x="438150" y="493395"/>
                  </a:cubicBezTo>
                  <a:cubicBezTo>
                    <a:pt x="441960" y="493395"/>
                    <a:pt x="443865" y="492442"/>
                    <a:pt x="445770" y="487680"/>
                  </a:cubicBezTo>
                  <a:lnTo>
                    <a:pt x="461963" y="445770"/>
                  </a:lnTo>
                  <a:cubicBezTo>
                    <a:pt x="469583" y="437197"/>
                    <a:pt x="483870" y="427672"/>
                    <a:pt x="490538" y="427672"/>
                  </a:cubicBezTo>
                  <a:cubicBezTo>
                    <a:pt x="495300" y="427672"/>
                    <a:pt x="494347" y="431483"/>
                    <a:pt x="491490" y="436245"/>
                  </a:cubicBezTo>
                  <a:lnTo>
                    <a:pt x="467678" y="482917"/>
                  </a:lnTo>
                  <a:cubicBezTo>
                    <a:pt x="465772" y="487680"/>
                    <a:pt x="468630" y="493395"/>
                    <a:pt x="473393" y="493395"/>
                  </a:cubicBezTo>
                  <a:cubicBezTo>
                    <a:pt x="484822" y="493395"/>
                    <a:pt x="499110" y="482917"/>
                    <a:pt x="504825" y="467678"/>
                  </a:cubicBezTo>
                  <a:lnTo>
                    <a:pt x="501015" y="467678"/>
                  </a:lnTo>
                  <a:cubicBezTo>
                    <a:pt x="497205" y="473392"/>
                    <a:pt x="490538" y="479108"/>
                    <a:pt x="484822" y="480060"/>
                  </a:cubicBezTo>
                  <a:lnTo>
                    <a:pt x="505778" y="438150"/>
                  </a:lnTo>
                  <a:cubicBezTo>
                    <a:pt x="508635" y="432435"/>
                    <a:pt x="509588" y="427672"/>
                    <a:pt x="509588" y="423863"/>
                  </a:cubicBezTo>
                  <a:cubicBezTo>
                    <a:pt x="509588" y="417195"/>
                    <a:pt x="505778" y="412433"/>
                    <a:pt x="498158" y="412433"/>
                  </a:cubicBezTo>
                  <a:cubicBezTo>
                    <a:pt x="487680" y="412433"/>
                    <a:pt x="477203" y="423863"/>
                    <a:pt x="464820" y="438150"/>
                  </a:cubicBezTo>
                  <a:lnTo>
                    <a:pt x="464820" y="426720"/>
                  </a:lnTo>
                  <a:cubicBezTo>
                    <a:pt x="464820" y="419100"/>
                    <a:pt x="461963" y="411480"/>
                    <a:pt x="455295" y="411480"/>
                  </a:cubicBezTo>
                  <a:cubicBezTo>
                    <a:pt x="450533" y="411480"/>
                    <a:pt x="446722" y="415290"/>
                    <a:pt x="442913" y="421005"/>
                  </a:cubicBezTo>
                  <a:lnTo>
                    <a:pt x="442913" y="422910"/>
                  </a:lnTo>
                  <a:cubicBezTo>
                    <a:pt x="450533" y="422910"/>
                    <a:pt x="454343" y="434340"/>
                    <a:pt x="448628" y="445770"/>
                  </a:cubicBezTo>
                  <a:lnTo>
                    <a:pt x="431483" y="481965"/>
                  </a:lnTo>
                  <a:close/>
                  <a:moveTo>
                    <a:pt x="431483" y="430530"/>
                  </a:moveTo>
                  <a:cubicBezTo>
                    <a:pt x="434340" y="421005"/>
                    <a:pt x="432435" y="412433"/>
                    <a:pt x="425768" y="412433"/>
                  </a:cubicBezTo>
                  <a:cubicBezTo>
                    <a:pt x="417195" y="412433"/>
                    <a:pt x="414338" y="419100"/>
                    <a:pt x="405765" y="438150"/>
                  </a:cubicBezTo>
                  <a:lnTo>
                    <a:pt x="405765" y="426720"/>
                  </a:lnTo>
                  <a:cubicBezTo>
                    <a:pt x="405765" y="419100"/>
                    <a:pt x="402908" y="411480"/>
                    <a:pt x="396240" y="411480"/>
                  </a:cubicBezTo>
                  <a:cubicBezTo>
                    <a:pt x="387668" y="411480"/>
                    <a:pt x="380047" y="424815"/>
                    <a:pt x="374333" y="437197"/>
                  </a:cubicBezTo>
                  <a:lnTo>
                    <a:pt x="378143" y="437197"/>
                  </a:lnTo>
                  <a:cubicBezTo>
                    <a:pt x="381953" y="431483"/>
                    <a:pt x="385763" y="427672"/>
                    <a:pt x="388620" y="427672"/>
                  </a:cubicBezTo>
                  <a:cubicBezTo>
                    <a:pt x="392430" y="427672"/>
                    <a:pt x="394335" y="433388"/>
                    <a:pt x="388620" y="445770"/>
                  </a:cubicBezTo>
                  <a:lnTo>
                    <a:pt x="372428" y="481013"/>
                  </a:lnTo>
                  <a:cubicBezTo>
                    <a:pt x="369570" y="487680"/>
                    <a:pt x="372428" y="492442"/>
                    <a:pt x="379095" y="492442"/>
                  </a:cubicBezTo>
                  <a:cubicBezTo>
                    <a:pt x="382905" y="492442"/>
                    <a:pt x="384810" y="491490"/>
                    <a:pt x="386715" y="486728"/>
                  </a:cubicBezTo>
                  <a:lnTo>
                    <a:pt x="402908" y="444817"/>
                  </a:lnTo>
                  <a:cubicBezTo>
                    <a:pt x="407670" y="439103"/>
                    <a:pt x="411480" y="434340"/>
                    <a:pt x="416243" y="429578"/>
                  </a:cubicBezTo>
                  <a:lnTo>
                    <a:pt x="431483" y="429578"/>
                  </a:lnTo>
                  <a:close/>
                  <a:moveTo>
                    <a:pt x="340043" y="422910"/>
                  </a:moveTo>
                  <a:cubicBezTo>
                    <a:pt x="345758" y="422910"/>
                    <a:pt x="350520" y="426720"/>
                    <a:pt x="347663" y="437197"/>
                  </a:cubicBezTo>
                  <a:lnTo>
                    <a:pt x="321945" y="442913"/>
                  </a:lnTo>
                  <a:cubicBezTo>
                    <a:pt x="326708" y="432435"/>
                    <a:pt x="334328" y="422910"/>
                    <a:pt x="340043" y="422910"/>
                  </a:cubicBezTo>
                  <a:moveTo>
                    <a:pt x="354330" y="464820"/>
                  </a:moveTo>
                  <a:lnTo>
                    <a:pt x="349568" y="464820"/>
                  </a:lnTo>
                  <a:cubicBezTo>
                    <a:pt x="342900" y="472440"/>
                    <a:pt x="336233" y="478155"/>
                    <a:pt x="329565" y="478155"/>
                  </a:cubicBezTo>
                  <a:cubicBezTo>
                    <a:pt x="322898" y="478155"/>
                    <a:pt x="319088" y="474345"/>
                    <a:pt x="319088" y="464820"/>
                  </a:cubicBezTo>
                  <a:cubicBezTo>
                    <a:pt x="319088" y="461010"/>
                    <a:pt x="319088" y="457200"/>
                    <a:pt x="320040" y="453390"/>
                  </a:cubicBezTo>
                  <a:lnTo>
                    <a:pt x="360997" y="440055"/>
                  </a:lnTo>
                  <a:cubicBezTo>
                    <a:pt x="368618" y="421005"/>
                    <a:pt x="359093" y="412433"/>
                    <a:pt x="347663" y="412433"/>
                  </a:cubicBezTo>
                  <a:cubicBezTo>
                    <a:pt x="328613" y="412433"/>
                    <a:pt x="305753" y="444817"/>
                    <a:pt x="305753" y="473392"/>
                  </a:cubicBezTo>
                  <a:cubicBezTo>
                    <a:pt x="305753" y="485775"/>
                    <a:pt x="311468" y="493395"/>
                    <a:pt x="320993" y="493395"/>
                  </a:cubicBezTo>
                  <a:cubicBezTo>
                    <a:pt x="333375" y="493395"/>
                    <a:pt x="344805" y="481965"/>
                    <a:pt x="354330" y="464820"/>
                  </a:cubicBezTo>
                  <a:moveTo>
                    <a:pt x="257175" y="423863"/>
                  </a:moveTo>
                  <a:lnTo>
                    <a:pt x="270510" y="423863"/>
                  </a:lnTo>
                  <a:lnTo>
                    <a:pt x="248603" y="482917"/>
                  </a:lnTo>
                  <a:cubicBezTo>
                    <a:pt x="246698" y="487680"/>
                    <a:pt x="249555" y="493395"/>
                    <a:pt x="254318" y="493395"/>
                  </a:cubicBezTo>
                  <a:cubicBezTo>
                    <a:pt x="266700" y="493395"/>
                    <a:pt x="286703" y="481013"/>
                    <a:pt x="293370" y="464820"/>
                  </a:cubicBezTo>
                  <a:lnTo>
                    <a:pt x="289560" y="464820"/>
                  </a:lnTo>
                  <a:cubicBezTo>
                    <a:pt x="283845" y="470535"/>
                    <a:pt x="273368" y="478155"/>
                    <a:pt x="264795" y="480060"/>
                  </a:cubicBezTo>
                  <a:lnTo>
                    <a:pt x="284798" y="424815"/>
                  </a:lnTo>
                  <a:lnTo>
                    <a:pt x="304800" y="424815"/>
                  </a:lnTo>
                  <a:lnTo>
                    <a:pt x="307658" y="416242"/>
                  </a:lnTo>
                  <a:lnTo>
                    <a:pt x="287655" y="416242"/>
                  </a:lnTo>
                  <a:lnTo>
                    <a:pt x="295275" y="395288"/>
                  </a:lnTo>
                  <a:lnTo>
                    <a:pt x="287655" y="395288"/>
                  </a:lnTo>
                  <a:lnTo>
                    <a:pt x="273368" y="416242"/>
                  </a:lnTo>
                  <a:lnTo>
                    <a:pt x="256223" y="418147"/>
                  </a:lnTo>
                  <a:lnTo>
                    <a:pt x="256223" y="423863"/>
                  </a:lnTo>
                  <a:close/>
                  <a:moveTo>
                    <a:pt x="181928" y="469583"/>
                  </a:moveTo>
                  <a:cubicBezTo>
                    <a:pt x="181928" y="451485"/>
                    <a:pt x="201930" y="426720"/>
                    <a:pt x="213360" y="426720"/>
                  </a:cubicBezTo>
                  <a:cubicBezTo>
                    <a:pt x="216218" y="426720"/>
                    <a:pt x="218123" y="426720"/>
                    <a:pt x="220028" y="427672"/>
                  </a:cubicBezTo>
                  <a:lnTo>
                    <a:pt x="208598" y="459105"/>
                  </a:lnTo>
                  <a:cubicBezTo>
                    <a:pt x="201930" y="467678"/>
                    <a:pt x="191453" y="477203"/>
                    <a:pt x="186690" y="477203"/>
                  </a:cubicBezTo>
                  <a:cubicBezTo>
                    <a:pt x="183833" y="478155"/>
                    <a:pt x="181928" y="475297"/>
                    <a:pt x="181928" y="469583"/>
                  </a:cubicBezTo>
                  <a:moveTo>
                    <a:pt x="244793" y="408622"/>
                  </a:moveTo>
                  <a:lnTo>
                    <a:pt x="238125" y="408622"/>
                  </a:lnTo>
                  <a:lnTo>
                    <a:pt x="231458" y="415290"/>
                  </a:lnTo>
                  <a:lnTo>
                    <a:pt x="229553" y="415290"/>
                  </a:lnTo>
                  <a:cubicBezTo>
                    <a:pt x="195263" y="415290"/>
                    <a:pt x="166688" y="453390"/>
                    <a:pt x="166688" y="481013"/>
                  </a:cubicBezTo>
                  <a:cubicBezTo>
                    <a:pt x="166688" y="488633"/>
                    <a:pt x="171450" y="493395"/>
                    <a:pt x="179070" y="493395"/>
                  </a:cubicBezTo>
                  <a:cubicBezTo>
                    <a:pt x="187643" y="493395"/>
                    <a:pt x="196215" y="481013"/>
                    <a:pt x="205740" y="467678"/>
                  </a:cubicBezTo>
                  <a:lnTo>
                    <a:pt x="205740" y="472440"/>
                  </a:lnTo>
                  <a:cubicBezTo>
                    <a:pt x="204788" y="485775"/>
                    <a:pt x="208598" y="493395"/>
                    <a:pt x="216218" y="493395"/>
                  </a:cubicBezTo>
                  <a:cubicBezTo>
                    <a:pt x="224790" y="493395"/>
                    <a:pt x="232410" y="480060"/>
                    <a:pt x="238125" y="467678"/>
                  </a:cubicBezTo>
                  <a:lnTo>
                    <a:pt x="234315" y="467678"/>
                  </a:lnTo>
                  <a:cubicBezTo>
                    <a:pt x="230505" y="473392"/>
                    <a:pt x="226695" y="477203"/>
                    <a:pt x="223838" y="477203"/>
                  </a:cubicBezTo>
                  <a:cubicBezTo>
                    <a:pt x="220980" y="477203"/>
                    <a:pt x="218123" y="471488"/>
                    <a:pt x="223838" y="459105"/>
                  </a:cubicBezTo>
                  <a:lnTo>
                    <a:pt x="244793" y="408622"/>
                  </a:lnTo>
                  <a:close/>
                  <a:moveTo>
                    <a:pt x="172403" y="430530"/>
                  </a:moveTo>
                  <a:cubicBezTo>
                    <a:pt x="175260" y="421005"/>
                    <a:pt x="173355" y="412433"/>
                    <a:pt x="166688" y="412433"/>
                  </a:cubicBezTo>
                  <a:cubicBezTo>
                    <a:pt x="158115" y="412433"/>
                    <a:pt x="155258" y="419100"/>
                    <a:pt x="146685" y="438150"/>
                  </a:cubicBezTo>
                  <a:lnTo>
                    <a:pt x="146685" y="426720"/>
                  </a:lnTo>
                  <a:cubicBezTo>
                    <a:pt x="146685" y="419100"/>
                    <a:pt x="143828" y="411480"/>
                    <a:pt x="137160" y="411480"/>
                  </a:cubicBezTo>
                  <a:cubicBezTo>
                    <a:pt x="128588" y="411480"/>
                    <a:pt x="120968" y="424815"/>
                    <a:pt x="115253" y="437197"/>
                  </a:cubicBezTo>
                  <a:lnTo>
                    <a:pt x="119063" y="437197"/>
                  </a:lnTo>
                  <a:cubicBezTo>
                    <a:pt x="122873" y="431483"/>
                    <a:pt x="126682" y="427672"/>
                    <a:pt x="129540" y="427672"/>
                  </a:cubicBezTo>
                  <a:cubicBezTo>
                    <a:pt x="133350" y="427672"/>
                    <a:pt x="135255" y="433388"/>
                    <a:pt x="129540" y="445770"/>
                  </a:cubicBezTo>
                  <a:lnTo>
                    <a:pt x="113348" y="481013"/>
                  </a:lnTo>
                  <a:cubicBezTo>
                    <a:pt x="110490" y="487680"/>
                    <a:pt x="113348" y="492442"/>
                    <a:pt x="120015" y="492442"/>
                  </a:cubicBezTo>
                  <a:cubicBezTo>
                    <a:pt x="123825" y="492442"/>
                    <a:pt x="125730" y="491490"/>
                    <a:pt x="127635" y="486728"/>
                  </a:cubicBezTo>
                  <a:lnTo>
                    <a:pt x="143828" y="444817"/>
                  </a:lnTo>
                  <a:cubicBezTo>
                    <a:pt x="148590" y="439103"/>
                    <a:pt x="152400" y="434340"/>
                    <a:pt x="157163" y="429578"/>
                  </a:cubicBezTo>
                  <a:lnTo>
                    <a:pt x="172403" y="429578"/>
                  </a:lnTo>
                  <a:close/>
                  <a:moveTo>
                    <a:pt x="59055" y="489585"/>
                  </a:moveTo>
                  <a:lnTo>
                    <a:pt x="60960" y="484822"/>
                  </a:lnTo>
                  <a:cubicBezTo>
                    <a:pt x="40957" y="481013"/>
                    <a:pt x="39053" y="481013"/>
                    <a:pt x="46673" y="460058"/>
                  </a:cubicBezTo>
                  <a:lnTo>
                    <a:pt x="54293" y="438150"/>
                  </a:lnTo>
                  <a:lnTo>
                    <a:pt x="76200" y="438150"/>
                  </a:lnTo>
                  <a:cubicBezTo>
                    <a:pt x="85725" y="438150"/>
                    <a:pt x="85725" y="441960"/>
                    <a:pt x="84773" y="452438"/>
                  </a:cubicBezTo>
                  <a:lnTo>
                    <a:pt x="90488" y="452438"/>
                  </a:lnTo>
                  <a:lnTo>
                    <a:pt x="103823" y="416242"/>
                  </a:lnTo>
                  <a:lnTo>
                    <a:pt x="98107" y="416242"/>
                  </a:lnTo>
                  <a:cubicBezTo>
                    <a:pt x="93345" y="424815"/>
                    <a:pt x="89535" y="430530"/>
                    <a:pt x="79057" y="430530"/>
                  </a:cubicBezTo>
                  <a:lnTo>
                    <a:pt x="57150" y="430530"/>
                  </a:lnTo>
                  <a:lnTo>
                    <a:pt x="68580" y="399097"/>
                  </a:lnTo>
                  <a:cubicBezTo>
                    <a:pt x="72390" y="389572"/>
                    <a:pt x="74295" y="386715"/>
                    <a:pt x="87630" y="386715"/>
                  </a:cubicBezTo>
                  <a:lnTo>
                    <a:pt x="97155" y="386715"/>
                  </a:lnTo>
                  <a:cubicBezTo>
                    <a:pt x="110490" y="386715"/>
                    <a:pt x="112395" y="390525"/>
                    <a:pt x="112395" y="404813"/>
                  </a:cubicBezTo>
                  <a:lnTo>
                    <a:pt x="118110" y="404813"/>
                  </a:lnTo>
                  <a:lnTo>
                    <a:pt x="122873" y="380047"/>
                  </a:lnTo>
                  <a:lnTo>
                    <a:pt x="40957" y="380047"/>
                  </a:lnTo>
                  <a:lnTo>
                    <a:pt x="39053" y="384810"/>
                  </a:lnTo>
                  <a:cubicBezTo>
                    <a:pt x="55245" y="387667"/>
                    <a:pt x="56198" y="389572"/>
                    <a:pt x="48578" y="409575"/>
                  </a:cubicBezTo>
                  <a:lnTo>
                    <a:pt x="30480" y="458153"/>
                  </a:lnTo>
                  <a:cubicBezTo>
                    <a:pt x="22860" y="478155"/>
                    <a:pt x="20003" y="480060"/>
                    <a:pt x="1905" y="482917"/>
                  </a:cubicBezTo>
                  <a:lnTo>
                    <a:pt x="953" y="487680"/>
                  </a:lnTo>
                  <a:lnTo>
                    <a:pt x="59055" y="487680"/>
                  </a:lnTo>
                  <a:close/>
                  <a:moveTo>
                    <a:pt x="460058" y="238125"/>
                  </a:moveTo>
                  <a:cubicBezTo>
                    <a:pt x="465772" y="238125"/>
                    <a:pt x="470535" y="241935"/>
                    <a:pt x="467678" y="252413"/>
                  </a:cubicBezTo>
                  <a:lnTo>
                    <a:pt x="441960" y="258128"/>
                  </a:lnTo>
                  <a:cubicBezTo>
                    <a:pt x="446722" y="246697"/>
                    <a:pt x="454343" y="238125"/>
                    <a:pt x="460058" y="238125"/>
                  </a:cubicBezTo>
                  <a:moveTo>
                    <a:pt x="474345" y="279083"/>
                  </a:moveTo>
                  <a:lnTo>
                    <a:pt x="469583" y="279083"/>
                  </a:lnTo>
                  <a:cubicBezTo>
                    <a:pt x="462915" y="286703"/>
                    <a:pt x="456247" y="292417"/>
                    <a:pt x="449580" y="292417"/>
                  </a:cubicBezTo>
                  <a:cubicBezTo>
                    <a:pt x="442913" y="292417"/>
                    <a:pt x="439103" y="288608"/>
                    <a:pt x="439103" y="279083"/>
                  </a:cubicBezTo>
                  <a:cubicBezTo>
                    <a:pt x="439103" y="275272"/>
                    <a:pt x="439103" y="271463"/>
                    <a:pt x="440055" y="267653"/>
                  </a:cubicBezTo>
                  <a:lnTo>
                    <a:pt x="481013" y="254317"/>
                  </a:lnTo>
                  <a:cubicBezTo>
                    <a:pt x="488633" y="235267"/>
                    <a:pt x="479108" y="226695"/>
                    <a:pt x="467678" y="226695"/>
                  </a:cubicBezTo>
                  <a:cubicBezTo>
                    <a:pt x="448628" y="226695"/>
                    <a:pt x="425768" y="259080"/>
                    <a:pt x="425768" y="287655"/>
                  </a:cubicBezTo>
                  <a:cubicBezTo>
                    <a:pt x="425768" y="300038"/>
                    <a:pt x="431483" y="307658"/>
                    <a:pt x="441008" y="307658"/>
                  </a:cubicBezTo>
                  <a:cubicBezTo>
                    <a:pt x="453390" y="307658"/>
                    <a:pt x="464820" y="297180"/>
                    <a:pt x="474345" y="279083"/>
                  </a:cubicBezTo>
                  <a:moveTo>
                    <a:pt x="466725" y="219075"/>
                  </a:moveTo>
                  <a:lnTo>
                    <a:pt x="495300" y="192405"/>
                  </a:lnTo>
                  <a:lnTo>
                    <a:pt x="495300" y="189547"/>
                  </a:lnTo>
                  <a:lnTo>
                    <a:pt x="480060" y="189547"/>
                  </a:lnTo>
                  <a:lnTo>
                    <a:pt x="461963" y="220028"/>
                  </a:lnTo>
                  <a:lnTo>
                    <a:pt x="466725" y="220028"/>
                  </a:lnTo>
                  <a:close/>
                  <a:moveTo>
                    <a:pt x="378143" y="238125"/>
                  </a:moveTo>
                  <a:lnTo>
                    <a:pt x="391478" y="238125"/>
                  </a:lnTo>
                  <a:lnTo>
                    <a:pt x="369570" y="297180"/>
                  </a:lnTo>
                  <a:cubicBezTo>
                    <a:pt x="367665" y="301942"/>
                    <a:pt x="370522" y="307658"/>
                    <a:pt x="375285" y="307658"/>
                  </a:cubicBezTo>
                  <a:cubicBezTo>
                    <a:pt x="387668" y="307658"/>
                    <a:pt x="407670" y="295275"/>
                    <a:pt x="414338" y="279083"/>
                  </a:cubicBezTo>
                  <a:lnTo>
                    <a:pt x="410528" y="279083"/>
                  </a:lnTo>
                  <a:cubicBezTo>
                    <a:pt x="404813" y="284797"/>
                    <a:pt x="394335" y="292417"/>
                    <a:pt x="385763" y="294322"/>
                  </a:cubicBezTo>
                  <a:lnTo>
                    <a:pt x="405765" y="239078"/>
                  </a:lnTo>
                  <a:lnTo>
                    <a:pt x="425768" y="239078"/>
                  </a:lnTo>
                  <a:lnTo>
                    <a:pt x="428625" y="230505"/>
                  </a:lnTo>
                  <a:lnTo>
                    <a:pt x="408622" y="230505"/>
                  </a:lnTo>
                  <a:lnTo>
                    <a:pt x="416243" y="209550"/>
                  </a:lnTo>
                  <a:lnTo>
                    <a:pt x="408622" y="209550"/>
                  </a:lnTo>
                  <a:lnTo>
                    <a:pt x="394335" y="230505"/>
                  </a:lnTo>
                  <a:lnTo>
                    <a:pt x="377190" y="232410"/>
                  </a:lnTo>
                  <a:lnTo>
                    <a:pt x="377190" y="238125"/>
                  </a:lnTo>
                  <a:close/>
                  <a:moveTo>
                    <a:pt x="359093" y="235267"/>
                  </a:moveTo>
                  <a:cubicBezTo>
                    <a:pt x="360997" y="229553"/>
                    <a:pt x="357188" y="226695"/>
                    <a:pt x="354330" y="226695"/>
                  </a:cubicBezTo>
                  <a:cubicBezTo>
                    <a:pt x="342900" y="226695"/>
                    <a:pt x="328613" y="237172"/>
                    <a:pt x="322898" y="252413"/>
                  </a:cubicBezTo>
                  <a:lnTo>
                    <a:pt x="326708" y="252413"/>
                  </a:lnTo>
                  <a:cubicBezTo>
                    <a:pt x="330518" y="246697"/>
                    <a:pt x="337185" y="240983"/>
                    <a:pt x="342900" y="240030"/>
                  </a:cubicBezTo>
                  <a:lnTo>
                    <a:pt x="320040" y="299085"/>
                  </a:lnTo>
                  <a:cubicBezTo>
                    <a:pt x="318135" y="304800"/>
                    <a:pt x="321945" y="307658"/>
                    <a:pt x="324803" y="307658"/>
                  </a:cubicBezTo>
                  <a:cubicBezTo>
                    <a:pt x="336233" y="307658"/>
                    <a:pt x="349568" y="297180"/>
                    <a:pt x="355283" y="281940"/>
                  </a:cubicBezTo>
                  <a:lnTo>
                    <a:pt x="351472" y="281940"/>
                  </a:lnTo>
                  <a:cubicBezTo>
                    <a:pt x="347663" y="287655"/>
                    <a:pt x="340995" y="293370"/>
                    <a:pt x="335280" y="294322"/>
                  </a:cubicBezTo>
                  <a:lnTo>
                    <a:pt x="359093" y="235267"/>
                  </a:lnTo>
                  <a:close/>
                  <a:moveTo>
                    <a:pt x="363855" y="205740"/>
                  </a:moveTo>
                  <a:cubicBezTo>
                    <a:pt x="369570" y="205740"/>
                    <a:pt x="373380" y="200978"/>
                    <a:pt x="373380" y="196215"/>
                  </a:cubicBezTo>
                  <a:cubicBezTo>
                    <a:pt x="373380" y="190500"/>
                    <a:pt x="368618" y="186690"/>
                    <a:pt x="363855" y="186690"/>
                  </a:cubicBezTo>
                  <a:cubicBezTo>
                    <a:pt x="358140" y="186690"/>
                    <a:pt x="354330" y="191453"/>
                    <a:pt x="354330" y="196215"/>
                  </a:cubicBezTo>
                  <a:cubicBezTo>
                    <a:pt x="353378" y="201930"/>
                    <a:pt x="358140" y="205740"/>
                    <a:pt x="363855" y="205740"/>
                  </a:cubicBezTo>
                  <a:moveTo>
                    <a:pt x="284798" y="294322"/>
                  </a:moveTo>
                  <a:lnTo>
                    <a:pt x="325755" y="185738"/>
                  </a:lnTo>
                  <a:lnTo>
                    <a:pt x="324803" y="183833"/>
                  </a:lnTo>
                  <a:lnTo>
                    <a:pt x="299085" y="186690"/>
                  </a:lnTo>
                  <a:lnTo>
                    <a:pt x="299085" y="189547"/>
                  </a:lnTo>
                  <a:lnTo>
                    <a:pt x="303848" y="193358"/>
                  </a:lnTo>
                  <a:cubicBezTo>
                    <a:pt x="308610" y="197167"/>
                    <a:pt x="306705" y="200025"/>
                    <a:pt x="302895" y="211455"/>
                  </a:cubicBezTo>
                  <a:lnTo>
                    <a:pt x="270510" y="296228"/>
                  </a:lnTo>
                  <a:cubicBezTo>
                    <a:pt x="268605" y="300990"/>
                    <a:pt x="271463" y="306705"/>
                    <a:pt x="276225" y="306705"/>
                  </a:cubicBezTo>
                  <a:cubicBezTo>
                    <a:pt x="287655" y="306705"/>
                    <a:pt x="300990" y="296228"/>
                    <a:pt x="306705" y="280988"/>
                  </a:cubicBezTo>
                  <a:lnTo>
                    <a:pt x="302895" y="280988"/>
                  </a:lnTo>
                  <a:cubicBezTo>
                    <a:pt x="299085" y="287655"/>
                    <a:pt x="290513" y="293370"/>
                    <a:pt x="284798" y="294322"/>
                  </a:cubicBezTo>
                  <a:moveTo>
                    <a:pt x="205740" y="284797"/>
                  </a:moveTo>
                  <a:cubicBezTo>
                    <a:pt x="205740" y="266700"/>
                    <a:pt x="225743" y="241935"/>
                    <a:pt x="237173" y="241935"/>
                  </a:cubicBezTo>
                  <a:cubicBezTo>
                    <a:pt x="240030" y="241935"/>
                    <a:pt x="241935" y="241935"/>
                    <a:pt x="243840" y="242888"/>
                  </a:cubicBezTo>
                  <a:lnTo>
                    <a:pt x="232410" y="274320"/>
                  </a:lnTo>
                  <a:cubicBezTo>
                    <a:pt x="225743" y="282892"/>
                    <a:pt x="215265" y="292417"/>
                    <a:pt x="210503" y="292417"/>
                  </a:cubicBezTo>
                  <a:cubicBezTo>
                    <a:pt x="207645" y="292417"/>
                    <a:pt x="205740" y="289560"/>
                    <a:pt x="205740" y="284797"/>
                  </a:cubicBezTo>
                  <a:moveTo>
                    <a:pt x="268605" y="223838"/>
                  </a:moveTo>
                  <a:lnTo>
                    <a:pt x="261938" y="223838"/>
                  </a:lnTo>
                  <a:lnTo>
                    <a:pt x="255270" y="230505"/>
                  </a:lnTo>
                  <a:lnTo>
                    <a:pt x="253365" y="230505"/>
                  </a:lnTo>
                  <a:cubicBezTo>
                    <a:pt x="219075" y="230505"/>
                    <a:pt x="190500" y="268605"/>
                    <a:pt x="190500" y="296228"/>
                  </a:cubicBezTo>
                  <a:cubicBezTo>
                    <a:pt x="190500" y="303847"/>
                    <a:pt x="195263" y="308610"/>
                    <a:pt x="202883" y="308610"/>
                  </a:cubicBezTo>
                  <a:cubicBezTo>
                    <a:pt x="211455" y="308610"/>
                    <a:pt x="220028" y="296228"/>
                    <a:pt x="229553" y="282892"/>
                  </a:cubicBezTo>
                  <a:lnTo>
                    <a:pt x="229553" y="287655"/>
                  </a:lnTo>
                  <a:cubicBezTo>
                    <a:pt x="228600" y="300990"/>
                    <a:pt x="232410" y="308610"/>
                    <a:pt x="240030" y="308610"/>
                  </a:cubicBezTo>
                  <a:cubicBezTo>
                    <a:pt x="248603" y="308610"/>
                    <a:pt x="256223" y="295275"/>
                    <a:pt x="261938" y="282892"/>
                  </a:cubicBezTo>
                  <a:lnTo>
                    <a:pt x="258128" y="282892"/>
                  </a:lnTo>
                  <a:cubicBezTo>
                    <a:pt x="254318" y="288608"/>
                    <a:pt x="250508" y="292417"/>
                    <a:pt x="247650" y="292417"/>
                  </a:cubicBezTo>
                  <a:cubicBezTo>
                    <a:pt x="244793" y="292417"/>
                    <a:pt x="241935" y="286703"/>
                    <a:pt x="247650" y="274320"/>
                  </a:cubicBezTo>
                  <a:lnTo>
                    <a:pt x="268605" y="223838"/>
                  </a:lnTo>
                  <a:close/>
                  <a:moveTo>
                    <a:pt x="117157" y="321945"/>
                  </a:moveTo>
                  <a:cubicBezTo>
                    <a:pt x="117157" y="314325"/>
                    <a:pt x="124778" y="309563"/>
                    <a:pt x="135255" y="304800"/>
                  </a:cubicBezTo>
                  <a:cubicBezTo>
                    <a:pt x="139065" y="306705"/>
                    <a:pt x="143828" y="308610"/>
                    <a:pt x="151448" y="310515"/>
                  </a:cubicBezTo>
                  <a:cubicBezTo>
                    <a:pt x="162878" y="314325"/>
                    <a:pt x="166688" y="315278"/>
                    <a:pt x="166688" y="319088"/>
                  </a:cubicBezTo>
                  <a:cubicBezTo>
                    <a:pt x="166688" y="326708"/>
                    <a:pt x="154305" y="331470"/>
                    <a:pt x="137160" y="331470"/>
                  </a:cubicBezTo>
                  <a:cubicBezTo>
                    <a:pt x="123825" y="332422"/>
                    <a:pt x="117157" y="329565"/>
                    <a:pt x="117157" y="321945"/>
                  </a:cubicBezTo>
                  <a:moveTo>
                    <a:pt x="147638" y="274320"/>
                  </a:moveTo>
                  <a:cubicBezTo>
                    <a:pt x="142875" y="274320"/>
                    <a:pt x="140970" y="270510"/>
                    <a:pt x="140970" y="265747"/>
                  </a:cubicBezTo>
                  <a:cubicBezTo>
                    <a:pt x="140970" y="252413"/>
                    <a:pt x="147638" y="233363"/>
                    <a:pt x="159068" y="233363"/>
                  </a:cubicBezTo>
                  <a:cubicBezTo>
                    <a:pt x="163830" y="233363"/>
                    <a:pt x="165735" y="237172"/>
                    <a:pt x="165735" y="241935"/>
                  </a:cubicBezTo>
                  <a:cubicBezTo>
                    <a:pt x="166688" y="254317"/>
                    <a:pt x="159068" y="274320"/>
                    <a:pt x="147638" y="274320"/>
                  </a:cubicBezTo>
                  <a:moveTo>
                    <a:pt x="180023" y="314325"/>
                  </a:moveTo>
                  <a:cubicBezTo>
                    <a:pt x="180023" y="304800"/>
                    <a:pt x="171450" y="300990"/>
                    <a:pt x="158115" y="297180"/>
                  </a:cubicBezTo>
                  <a:cubicBezTo>
                    <a:pt x="146685" y="293370"/>
                    <a:pt x="140970" y="292417"/>
                    <a:pt x="140970" y="288608"/>
                  </a:cubicBezTo>
                  <a:cubicBezTo>
                    <a:pt x="140970" y="285750"/>
                    <a:pt x="143828" y="281940"/>
                    <a:pt x="148590" y="279083"/>
                  </a:cubicBezTo>
                  <a:cubicBezTo>
                    <a:pt x="167640" y="278130"/>
                    <a:pt x="180975" y="260985"/>
                    <a:pt x="180975" y="245745"/>
                  </a:cubicBezTo>
                  <a:cubicBezTo>
                    <a:pt x="180975" y="242888"/>
                    <a:pt x="180023" y="240030"/>
                    <a:pt x="179070" y="237172"/>
                  </a:cubicBezTo>
                  <a:lnTo>
                    <a:pt x="195263" y="237172"/>
                  </a:lnTo>
                  <a:lnTo>
                    <a:pt x="198120" y="228600"/>
                  </a:lnTo>
                  <a:lnTo>
                    <a:pt x="172403" y="228600"/>
                  </a:lnTo>
                  <a:cubicBezTo>
                    <a:pt x="169545" y="226695"/>
                    <a:pt x="165735" y="225742"/>
                    <a:pt x="161925" y="225742"/>
                  </a:cubicBezTo>
                  <a:cubicBezTo>
                    <a:pt x="140970" y="225742"/>
                    <a:pt x="127635" y="243840"/>
                    <a:pt x="127635" y="258128"/>
                  </a:cubicBezTo>
                  <a:cubicBezTo>
                    <a:pt x="127635" y="269558"/>
                    <a:pt x="134303" y="276225"/>
                    <a:pt x="143828" y="278130"/>
                  </a:cubicBezTo>
                  <a:cubicBezTo>
                    <a:pt x="134303" y="282892"/>
                    <a:pt x="128588" y="287655"/>
                    <a:pt x="128588" y="293370"/>
                  </a:cubicBezTo>
                  <a:cubicBezTo>
                    <a:pt x="128588" y="297180"/>
                    <a:pt x="129540" y="299085"/>
                    <a:pt x="132398" y="300990"/>
                  </a:cubicBezTo>
                  <a:cubicBezTo>
                    <a:pt x="110490" y="307658"/>
                    <a:pt x="100965" y="315278"/>
                    <a:pt x="100965" y="325755"/>
                  </a:cubicBezTo>
                  <a:cubicBezTo>
                    <a:pt x="100965" y="336233"/>
                    <a:pt x="114300" y="340042"/>
                    <a:pt x="130493" y="340042"/>
                  </a:cubicBezTo>
                  <a:cubicBezTo>
                    <a:pt x="157163" y="341947"/>
                    <a:pt x="180023" y="326708"/>
                    <a:pt x="180023" y="314325"/>
                  </a:cubicBezTo>
                  <a:moveTo>
                    <a:pt x="76200" y="251460"/>
                  </a:moveTo>
                  <a:cubicBezTo>
                    <a:pt x="85725" y="251460"/>
                    <a:pt x="85725" y="255270"/>
                    <a:pt x="84773" y="265747"/>
                  </a:cubicBezTo>
                  <a:lnTo>
                    <a:pt x="90488" y="265747"/>
                  </a:lnTo>
                  <a:lnTo>
                    <a:pt x="103823" y="229553"/>
                  </a:lnTo>
                  <a:lnTo>
                    <a:pt x="98107" y="229553"/>
                  </a:lnTo>
                  <a:cubicBezTo>
                    <a:pt x="93345" y="238125"/>
                    <a:pt x="89535" y="243840"/>
                    <a:pt x="79057" y="243840"/>
                  </a:cubicBezTo>
                  <a:lnTo>
                    <a:pt x="57150" y="243840"/>
                  </a:lnTo>
                  <a:lnTo>
                    <a:pt x="67628" y="214313"/>
                  </a:lnTo>
                  <a:cubicBezTo>
                    <a:pt x="71438" y="204788"/>
                    <a:pt x="73343" y="202883"/>
                    <a:pt x="86678" y="202883"/>
                  </a:cubicBezTo>
                  <a:lnTo>
                    <a:pt x="96203" y="202883"/>
                  </a:lnTo>
                  <a:cubicBezTo>
                    <a:pt x="109538" y="202883"/>
                    <a:pt x="111443" y="206692"/>
                    <a:pt x="111443" y="220028"/>
                  </a:cubicBezTo>
                  <a:lnTo>
                    <a:pt x="117157" y="220028"/>
                  </a:lnTo>
                  <a:lnTo>
                    <a:pt x="121920" y="195263"/>
                  </a:lnTo>
                  <a:lnTo>
                    <a:pt x="40005" y="195263"/>
                  </a:lnTo>
                  <a:lnTo>
                    <a:pt x="38100" y="200025"/>
                  </a:lnTo>
                  <a:cubicBezTo>
                    <a:pt x="54293" y="202883"/>
                    <a:pt x="55245" y="204788"/>
                    <a:pt x="47625" y="224790"/>
                  </a:cubicBezTo>
                  <a:lnTo>
                    <a:pt x="29528" y="273367"/>
                  </a:lnTo>
                  <a:cubicBezTo>
                    <a:pt x="21908" y="293370"/>
                    <a:pt x="19050" y="295275"/>
                    <a:pt x="953" y="298133"/>
                  </a:cubicBezTo>
                  <a:lnTo>
                    <a:pt x="0" y="302895"/>
                  </a:lnTo>
                  <a:lnTo>
                    <a:pt x="91440" y="302895"/>
                  </a:lnTo>
                  <a:lnTo>
                    <a:pt x="107632" y="277178"/>
                  </a:lnTo>
                  <a:lnTo>
                    <a:pt x="101918" y="277178"/>
                  </a:lnTo>
                  <a:cubicBezTo>
                    <a:pt x="91440" y="286703"/>
                    <a:pt x="78105" y="296228"/>
                    <a:pt x="60007" y="296228"/>
                  </a:cubicBezTo>
                  <a:cubicBezTo>
                    <a:pt x="36195" y="296228"/>
                    <a:pt x="38100" y="295275"/>
                    <a:pt x="45720" y="273367"/>
                  </a:cubicBezTo>
                  <a:lnTo>
                    <a:pt x="54293" y="249555"/>
                  </a:lnTo>
                  <a:lnTo>
                    <a:pt x="76200" y="249555"/>
                  </a:lnTo>
                  <a:close/>
                  <a:moveTo>
                    <a:pt x="88582" y="188595"/>
                  </a:moveTo>
                  <a:lnTo>
                    <a:pt x="117157" y="168592"/>
                  </a:lnTo>
                  <a:lnTo>
                    <a:pt x="117157" y="165735"/>
                  </a:lnTo>
                  <a:lnTo>
                    <a:pt x="100013" y="165735"/>
                  </a:lnTo>
                  <a:lnTo>
                    <a:pt x="83820" y="188595"/>
                  </a:lnTo>
                  <a:lnTo>
                    <a:pt x="88582" y="188595"/>
                  </a:lnTo>
                  <a:close/>
                  <a:moveTo>
                    <a:pt x="450533" y="52388"/>
                  </a:moveTo>
                  <a:cubicBezTo>
                    <a:pt x="456247" y="52388"/>
                    <a:pt x="461010" y="56197"/>
                    <a:pt x="458153" y="66675"/>
                  </a:cubicBezTo>
                  <a:lnTo>
                    <a:pt x="432435" y="72390"/>
                  </a:lnTo>
                  <a:cubicBezTo>
                    <a:pt x="437197" y="60960"/>
                    <a:pt x="444818" y="52388"/>
                    <a:pt x="450533" y="52388"/>
                  </a:cubicBezTo>
                  <a:moveTo>
                    <a:pt x="464820" y="93345"/>
                  </a:moveTo>
                  <a:lnTo>
                    <a:pt x="460058" y="93345"/>
                  </a:lnTo>
                  <a:cubicBezTo>
                    <a:pt x="453390" y="100965"/>
                    <a:pt x="446722" y="106680"/>
                    <a:pt x="440055" y="106680"/>
                  </a:cubicBezTo>
                  <a:cubicBezTo>
                    <a:pt x="433388" y="106680"/>
                    <a:pt x="429578" y="102870"/>
                    <a:pt x="429578" y="93345"/>
                  </a:cubicBezTo>
                  <a:cubicBezTo>
                    <a:pt x="429578" y="89535"/>
                    <a:pt x="429578" y="85725"/>
                    <a:pt x="430530" y="81915"/>
                  </a:cubicBezTo>
                  <a:lnTo>
                    <a:pt x="471488" y="68580"/>
                  </a:lnTo>
                  <a:cubicBezTo>
                    <a:pt x="479108" y="49530"/>
                    <a:pt x="469583" y="40958"/>
                    <a:pt x="458153" y="40958"/>
                  </a:cubicBezTo>
                  <a:cubicBezTo>
                    <a:pt x="439103" y="40958"/>
                    <a:pt x="416243" y="73342"/>
                    <a:pt x="416243" y="101917"/>
                  </a:cubicBezTo>
                  <a:cubicBezTo>
                    <a:pt x="416243" y="114300"/>
                    <a:pt x="421958" y="121920"/>
                    <a:pt x="431483" y="121920"/>
                  </a:cubicBezTo>
                  <a:cubicBezTo>
                    <a:pt x="443865" y="121920"/>
                    <a:pt x="455295" y="111442"/>
                    <a:pt x="464820" y="93345"/>
                  </a:cubicBezTo>
                  <a:moveTo>
                    <a:pt x="457200" y="33338"/>
                  </a:moveTo>
                  <a:lnTo>
                    <a:pt x="485775" y="6667"/>
                  </a:lnTo>
                  <a:lnTo>
                    <a:pt x="485775" y="3810"/>
                  </a:lnTo>
                  <a:lnTo>
                    <a:pt x="470535" y="3810"/>
                  </a:lnTo>
                  <a:lnTo>
                    <a:pt x="452438" y="34290"/>
                  </a:lnTo>
                  <a:lnTo>
                    <a:pt x="457200" y="34290"/>
                  </a:lnTo>
                  <a:close/>
                  <a:moveTo>
                    <a:pt x="371475" y="52388"/>
                  </a:moveTo>
                  <a:lnTo>
                    <a:pt x="381953" y="52388"/>
                  </a:lnTo>
                  <a:lnTo>
                    <a:pt x="360045" y="111442"/>
                  </a:lnTo>
                  <a:cubicBezTo>
                    <a:pt x="358140" y="116205"/>
                    <a:pt x="360997" y="121920"/>
                    <a:pt x="365760" y="121920"/>
                  </a:cubicBezTo>
                  <a:cubicBezTo>
                    <a:pt x="378143" y="121920"/>
                    <a:pt x="398145" y="109538"/>
                    <a:pt x="404813" y="93345"/>
                  </a:cubicBezTo>
                  <a:lnTo>
                    <a:pt x="401003" y="93345"/>
                  </a:lnTo>
                  <a:cubicBezTo>
                    <a:pt x="395288" y="99060"/>
                    <a:pt x="384810" y="106680"/>
                    <a:pt x="376238" y="108585"/>
                  </a:cubicBezTo>
                  <a:lnTo>
                    <a:pt x="396240" y="53340"/>
                  </a:lnTo>
                  <a:lnTo>
                    <a:pt x="416243" y="53340"/>
                  </a:lnTo>
                  <a:lnTo>
                    <a:pt x="419100" y="44767"/>
                  </a:lnTo>
                  <a:lnTo>
                    <a:pt x="399097" y="44767"/>
                  </a:lnTo>
                  <a:lnTo>
                    <a:pt x="406718" y="23813"/>
                  </a:lnTo>
                  <a:lnTo>
                    <a:pt x="399097" y="23813"/>
                  </a:lnTo>
                  <a:lnTo>
                    <a:pt x="384810" y="44767"/>
                  </a:lnTo>
                  <a:lnTo>
                    <a:pt x="370522" y="46672"/>
                  </a:lnTo>
                  <a:lnTo>
                    <a:pt x="370522" y="52388"/>
                  </a:lnTo>
                  <a:close/>
                  <a:moveTo>
                    <a:pt x="360997" y="59055"/>
                  </a:moveTo>
                  <a:cubicBezTo>
                    <a:pt x="363855" y="49530"/>
                    <a:pt x="361950" y="40958"/>
                    <a:pt x="355283" y="40958"/>
                  </a:cubicBezTo>
                  <a:cubicBezTo>
                    <a:pt x="346710" y="40958"/>
                    <a:pt x="343853" y="47625"/>
                    <a:pt x="335280" y="66675"/>
                  </a:cubicBezTo>
                  <a:lnTo>
                    <a:pt x="335280" y="55245"/>
                  </a:lnTo>
                  <a:cubicBezTo>
                    <a:pt x="335280" y="47625"/>
                    <a:pt x="332423" y="40005"/>
                    <a:pt x="325755" y="40005"/>
                  </a:cubicBezTo>
                  <a:cubicBezTo>
                    <a:pt x="317183" y="40005"/>
                    <a:pt x="309563" y="53340"/>
                    <a:pt x="303848" y="65722"/>
                  </a:cubicBezTo>
                  <a:lnTo>
                    <a:pt x="307658" y="65722"/>
                  </a:lnTo>
                  <a:cubicBezTo>
                    <a:pt x="311468" y="60008"/>
                    <a:pt x="315278" y="56197"/>
                    <a:pt x="318135" y="56197"/>
                  </a:cubicBezTo>
                  <a:cubicBezTo>
                    <a:pt x="321945" y="56197"/>
                    <a:pt x="323850" y="61913"/>
                    <a:pt x="318135" y="74295"/>
                  </a:cubicBezTo>
                  <a:lnTo>
                    <a:pt x="301943" y="109538"/>
                  </a:lnTo>
                  <a:cubicBezTo>
                    <a:pt x="299085" y="116205"/>
                    <a:pt x="301943" y="120967"/>
                    <a:pt x="308610" y="120967"/>
                  </a:cubicBezTo>
                  <a:cubicBezTo>
                    <a:pt x="312420" y="120967"/>
                    <a:pt x="314325" y="120015"/>
                    <a:pt x="316230" y="115253"/>
                  </a:cubicBezTo>
                  <a:lnTo>
                    <a:pt x="332423" y="73342"/>
                  </a:lnTo>
                  <a:cubicBezTo>
                    <a:pt x="337185" y="67628"/>
                    <a:pt x="340995" y="62865"/>
                    <a:pt x="345758" y="58103"/>
                  </a:cubicBezTo>
                  <a:lnTo>
                    <a:pt x="360997" y="58103"/>
                  </a:lnTo>
                  <a:close/>
                  <a:moveTo>
                    <a:pt x="269558" y="52388"/>
                  </a:moveTo>
                  <a:cubicBezTo>
                    <a:pt x="275273" y="52388"/>
                    <a:pt x="280035" y="56197"/>
                    <a:pt x="277178" y="66675"/>
                  </a:cubicBezTo>
                  <a:lnTo>
                    <a:pt x="251460" y="72390"/>
                  </a:lnTo>
                  <a:cubicBezTo>
                    <a:pt x="256223" y="60960"/>
                    <a:pt x="263843" y="52388"/>
                    <a:pt x="269558" y="52388"/>
                  </a:cubicBezTo>
                  <a:moveTo>
                    <a:pt x="283845" y="93345"/>
                  </a:moveTo>
                  <a:lnTo>
                    <a:pt x="279083" y="93345"/>
                  </a:lnTo>
                  <a:cubicBezTo>
                    <a:pt x="272415" y="100965"/>
                    <a:pt x="265748" y="106680"/>
                    <a:pt x="259080" y="106680"/>
                  </a:cubicBezTo>
                  <a:cubicBezTo>
                    <a:pt x="252413" y="106680"/>
                    <a:pt x="248603" y="102870"/>
                    <a:pt x="248603" y="93345"/>
                  </a:cubicBezTo>
                  <a:cubicBezTo>
                    <a:pt x="248603" y="89535"/>
                    <a:pt x="248603" y="85725"/>
                    <a:pt x="249555" y="81915"/>
                  </a:cubicBezTo>
                  <a:lnTo>
                    <a:pt x="290513" y="68580"/>
                  </a:lnTo>
                  <a:cubicBezTo>
                    <a:pt x="298133" y="49530"/>
                    <a:pt x="288608" y="40958"/>
                    <a:pt x="277178" y="40958"/>
                  </a:cubicBezTo>
                  <a:cubicBezTo>
                    <a:pt x="258128" y="40958"/>
                    <a:pt x="235268" y="73342"/>
                    <a:pt x="235268" y="101917"/>
                  </a:cubicBezTo>
                  <a:cubicBezTo>
                    <a:pt x="235268" y="114300"/>
                    <a:pt x="240983" y="121920"/>
                    <a:pt x="250508" y="121920"/>
                  </a:cubicBezTo>
                  <a:cubicBezTo>
                    <a:pt x="262890" y="121920"/>
                    <a:pt x="274320" y="111442"/>
                    <a:pt x="283845" y="93345"/>
                  </a:cubicBezTo>
                  <a:moveTo>
                    <a:pt x="182880" y="110490"/>
                  </a:moveTo>
                  <a:cubicBezTo>
                    <a:pt x="179070" y="110490"/>
                    <a:pt x="173355" y="106680"/>
                    <a:pt x="173355" y="103822"/>
                  </a:cubicBezTo>
                  <a:cubicBezTo>
                    <a:pt x="173355" y="102870"/>
                    <a:pt x="175260" y="98108"/>
                    <a:pt x="177165" y="92392"/>
                  </a:cubicBezTo>
                  <a:lnTo>
                    <a:pt x="183833" y="74295"/>
                  </a:lnTo>
                  <a:cubicBezTo>
                    <a:pt x="190500" y="65722"/>
                    <a:pt x="201930" y="57150"/>
                    <a:pt x="207645" y="57150"/>
                  </a:cubicBezTo>
                  <a:cubicBezTo>
                    <a:pt x="211455" y="57150"/>
                    <a:pt x="214313" y="59055"/>
                    <a:pt x="214313" y="64770"/>
                  </a:cubicBezTo>
                  <a:cubicBezTo>
                    <a:pt x="215265" y="80963"/>
                    <a:pt x="200025" y="110490"/>
                    <a:pt x="182880" y="110490"/>
                  </a:cubicBezTo>
                  <a:moveTo>
                    <a:pt x="230505" y="58103"/>
                  </a:moveTo>
                  <a:cubicBezTo>
                    <a:pt x="230505" y="45720"/>
                    <a:pt x="225743" y="41910"/>
                    <a:pt x="218123" y="41910"/>
                  </a:cubicBezTo>
                  <a:cubicBezTo>
                    <a:pt x="207645" y="41910"/>
                    <a:pt x="198120" y="53340"/>
                    <a:pt x="188595" y="66675"/>
                  </a:cubicBezTo>
                  <a:lnTo>
                    <a:pt x="213360" y="1905"/>
                  </a:lnTo>
                  <a:lnTo>
                    <a:pt x="212408" y="0"/>
                  </a:lnTo>
                  <a:lnTo>
                    <a:pt x="186690" y="2858"/>
                  </a:lnTo>
                  <a:lnTo>
                    <a:pt x="186690" y="5715"/>
                  </a:lnTo>
                  <a:lnTo>
                    <a:pt x="191453" y="9525"/>
                  </a:lnTo>
                  <a:cubicBezTo>
                    <a:pt x="196215" y="13335"/>
                    <a:pt x="194310" y="17145"/>
                    <a:pt x="190500" y="27622"/>
                  </a:cubicBezTo>
                  <a:lnTo>
                    <a:pt x="163830" y="96203"/>
                  </a:lnTo>
                  <a:cubicBezTo>
                    <a:pt x="161925" y="100965"/>
                    <a:pt x="159068" y="107633"/>
                    <a:pt x="159068" y="108585"/>
                  </a:cubicBezTo>
                  <a:cubicBezTo>
                    <a:pt x="159068" y="115253"/>
                    <a:pt x="168593" y="121920"/>
                    <a:pt x="177165" y="121920"/>
                  </a:cubicBezTo>
                  <a:cubicBezTo>
                    <a:pt x="196215" y="121920"/>
                    <a:pt x="230505" y="85725"/>
                    <a:pt x="230505" y="58103"/>
                  </a:cubicBezTo>
                  <a:moveTo>
                    <a:pt x="149543" y="49530"/>
                  </a:moveTo>
                  <a:cubicBezTo>
                    <a:pt x="151448" y="43815"/>
                    <a:pt x="147638" y="40958"/>
                    <a:pt x="144780" y="40958"/>
                  </a:cubicBezTo>
                  <a:cubicBezTo>
                    <a:pt x="133350" y="40958"/>
                    <a:pt x="119063" y="51435"/>
                    <a:pt x="113348" y="66675"/>
                  </a:cubicBezTo>
                  <a:lnTo>
                    <a:pt x="117157" y="66675"/>
                  </a:lnTo>
                  <a:cubicBezTo>
                    <a:pt x="120968" y="60960"/>
                    <a:pt x="127635" y="55245"/>
                    <a:pt x="133350" y="54292"/>
                  </a:cubicBezTo>
                  <a:lnTo>
                    <a:pt x="110490" y="113347"/>
                  </a:lnTo>
                  <a:cubicBezTo>
                    <a:pt x="108585" y="119063"/>
                    <a:pt x="112395" y="121920"/>
                    <a:pt x="115253" y="121920"/>
                  </a:cubicBezTo>
                  <a:cubicBezTo>
                    <a:pt x="126682" y="121920"/>
                    <a:pt x="140018" y="111442"/>
                    <a:pt x="145733" y="96203"/>
                  </a:cubicBezTo>
                  <a:lnTo>
                    <a:pt x="141923" y="96203"/>
                  </a:lnTo>
                  <a:cubicBezTo>
                    <a:pt x="138113" y="101917"/>
                    <a:pt x="131445" y="107633"/>
                    <a:pt x="125730" y="108585"/>
                  </a:cubicBezTo>
                  <a:lnTo>
                    <a:pt x="149543" y="49530"/>
                  </a:lnTo>
                  <a:close/>
                  <a:moveTo>
                    <a:pt x="153353" y="20003"/>
                  </a:moveTo>
                  <a:cubicBezTo>
                    <a:pt x="159068" y="20003"/>
                    <a:pt x="162878" y="15240"/>
                    <a:pt x="162878" y="10478"/>
                  </a:cubicBezTo>
                  <a:cubicBezTo>
                    <a:pt x="162878" y="4763"/>
                    <a:pt x="158115" y="953"/>
                    <a:pt x="153353" y="953"/>
                  </a:cubicBezTo>
                  <a:cubicBezTo>
                    <a:pt x="147638" y="953"/>
                    <a:pt x="143828" y="5715"/>
                    <a:pt x="143828" y="10478"/>
                  </a:cubicBezTo>
                  <a:cubicBezTo>
                    <a:pt x="143828" y="16192"/>
                    <a:pt x="147638" y="20003"/>
                    <a:pt x="153353" y="20003"/>
                  </a:cubicBezTo>
                  <a:moveTo>
                    <a:pt x="93345" y="10478"/>
                  </a:moveTo>
                  <a:lnTo>
                    <a:pt x="39053" y="10478"/>
                  </a:lnTo>
                  <a:lnTo>
                    <a:pt x="37148" y="15240"/>
                  </a:lnTo>
                  <a:cubicBezTo>
                    <a:pt x="53340" y="18097"/>
                    <a:pt x="54293" y="20003"/>
                    <a:pt x="46673" y="40005"/>
                  </a:cubicBezTo>
                  <a:lnTo>
                    <a:pt x="29528" y="88583"/>
                  </a:lnTo>
                  <a:cubicBezTo>
                    <a:pt x="21908" y="108585"/>
                    <a:pt x="19050" y="110490"/>
                    <a:pt x="953" y="113347"/>
                  </a:cubicBezTo>
                  <a:lnTo>
                    <a:pt x="0" y="118110"/>
                  </a:lnTo>
                  <a:lnTo>
                    <a:pt x="82868" y="118110"/>
                  </a:lnTo>
                  <a:lnTo>
                    <a:pt x="100965" y="86678"/>
                  </a:lnTo>
                  <a:lnTo>
                    <a:pt x="94298" y="86678"/>
                  </a:lnTo>
                  <a:cubicBezTo>
                    <a:pt x="83820" y="98108"/>
                    <a:pt x="72390" y="111442"/>
                    <a:pt x="54293" y="111442"/>
                  </a:cubicBezTo>
                  <a:cubicBezTo>
                    <a:pt x="40957" y="111442"/>
                    <a:pt x="39053" y="109538"/>
                    <a:pt x="46673" y="88583"/>
                  </a:cubicBezTo>
                  <a:lnTo>
                    <a:pt x="63818" y="40005"/>
                  </a:lnTo>
                  <a:cubicBezTo>
                    <a:pt x="71438" y="20003"/>
                    <a:pt x="74295" y="18097"/>
                    <a:pt x="92393" y="15240"/>
                  </a:cubicBezTo>
                  <a:lnTo>
                    <a:pt x="93345" y="1047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EF54B3B4-D50D-4165-967F-4732A1467D7A}"/>
                </a:ext>
              </a:extLst>
            </p:cNvPr>
            <p:cNvSpPr/>
            <p:nvPr/>
          </p:nvSpPr>
          <p:spPr>
            <a:xfrm>
              <a:off x="270509" y="675322"/>
              <a:ext cx="1310640" cy="498157"/>
            </a:xfrm>
            <a:custGeom>
              <a:avLst/>
              <a:gdLst>
                <a:gd name="connsiteX0" fmla="*/ 0 w 1310640"/>
                <a:gd name="connsiteY0" fmla="*/ 196215 h 498157"/>
                <a:gd name="connsiteX1" fmla="*/ 0 w 1310640"/>
                <a:gd name="connsiteY1" fmla="*/ 0 h 498157"/>
                <a:gd name="connsiteX2" fmla="*/ 64770 w 1310640"/>
                <a:gd name="connsiteY2" fmla="*/ 0 h 498157"/>
                <a:gd name="connsiteX3" fmla="*/ 116205 w 1310640"/>
                <a:gd name="connsiteY3" fmla="*/ 16192 h 498157"/>
                <a:gd name="connsiteX4" fmla="*/ 135255 w 1310640"/>
                <a:gd name="connsiteY4" fmla="*/ 59055 h 498157"/>
                <a:gd name="connsiteX5" fmla="*/ 116205 w 1310640"/>
                <a:gd name="connsiteY5" fmla="*/ 101917 h 498157"/>
                <a:gd name="connsiteX6" fmla="*/ 64770 w 1310640"/>
                <a:gd name="connsiteY6" fmla="*/ 118110 h 498157"/>
                <a:gd name="connsiteX7" fmla="*/ 40005 w 1310640"/>
                <a:gd name="connsiteY7" fmla="*/ 118110 h 498157"/>
                <a:gd name="connsiteX8" fmla="*/ 40005 w 1310640"/>
                <a:gd name="connsiteY8" fmla="*/ 197167 h 498157"/>
                <a:gd name="connsiteX9" fmla="*/ 0 w 1310640"/>
                <a:gd name="connsiteY9" fmla="*/ 197167 h 498157"/>
                <a:gd name="connsiteX10" fmla="*/ 65723 w 1310640"/>
                <a:gd name="connsiteY10" fmla="*/ 33338 h 498157"/>
                <a:gd name="connsiteX11" fmla="*/ 39053 w 1310640"/>
                <a:gd name="connsiteY11" fmla="*/ 33338 h 498157"/>
                <a:gd name="connsiteX12" fmla="*/ 39053 w 1310640"/>
                <a:gd name="connsiteY12" fmla="*/ 82867 h 498157"/>
                <a:gd name="connsiteX13" fmla="*/ 65723 w 1310640"/>
                <a:gd name="connsiteY13" fmla="*/ 82867 h 498157"/>
                <a:gd name="connsiteX14" fmla="*/ 85725 w 1310640"/>
                <a:gd name="connsiteY14" fmla="*/ 76200 h 498157"/>
                <a:gd name="connsiteX15" fmla="*/ 93345 w 1310640"/>
                <a:gd name="connsiteY15" fmla="*/ 58102 h 498157"/>
                <a:gd name="connsiteX16" fmla="*/ 85725 w 1310640"/>
                <a:gd name="connsiteY16" fmla="*/ 40005 h 498157"/>
                <a:gd name="connsiteX17" fmla="*/ 65723 w 1310640"/>
                <a:gd name="connsiteY17" fmla="*/ 33338 h 498157"/>
                <a:gd name="connsiteX18" fmla="*/ 166688 w 1310640"/>
                <a:gd name="connsiteY18" fmla="*/ 196215 h 498157"/>
                <a:gd name="connsiteX19" fmla="*/ 166688 w 1310640"/>
                <a:gd name="connsiteY19" fmla="*/ 0 h 498157"/>
                <a:gd name="connsiteX20" fmla="*/ 226695 w 1310640"/>
                <a:gd name="connsiteY20" fmla="*/ 0 h 498157"/>
                <a:gd name="connsiteX21" fmla="*/ 278130 w 1310640"/>
                <a:gd name="connsiteY21" fmla="*/ 16192 h 498157"/>
                <a:gd name="connsiteX22" fmla="*/ 297180 w 1310640"/>
                <a:gd name="connsiteY22" fmla="*/ 59055 h 498157"/>
                <a:gd name="connsiteX23" fmla="*/ 288608 w 1310640"/>
                <a:gd name="connsiteY23" fmla="*/ 89535 h 498157"/>
                <a:gd name="connsiteX24" fmla="*/ 265748 w 1310640"/>
                <a:gd name="connsiteY24" fmla="*/ 109538 h 498157"/>
                <a:gd name="connsiteX25" fmla="*/ 327660 w 1310640"/>
                <a:gd name="connsiteY25" fmla="*/ 196215 h 498157"/>
                <a:gd name="connsiteX26" fmla="*/ 280035 w 1310640"/>
                <a:gd name="connsiteY26" fmla="*/ 196215 h 498157"/>
                <a:gd name="connsiteX27" fmla="*/ 227648 w 1310640"/>
                <a:gd name="connsiteY27" fmla="*/ 117157 h 498157"/>
                <a:gd name="connsiteX28" fmla="*/ 206692 w 1310640"/>
                <a:gd name="connsiteY28" fmla="*/ 117157 h 498157"/>
                <a:gd name="connsiteX29" fmla="*/ 206692 w 1310640"/>
                <a:gd name="connsiteY29" fmla="*/ 196215 h 498157"/>
                <a:gd name="connsiteX30" fmla="*/ 166688 w 1310640"/>
                <a:gd name="connsiteY30" fmla="*/ 196215 h 498157"/>
                <a:gd name="connsiteX31" fmla="*/ 229553 w 1310640"/>
                <a:gd name="connsiteY31" fmla="*/ 33338 h 498157"/>
                <a:gd name="connsiteX32" fmla="*/ 206692 w 1310640"/>
                <a:gd name="connsiteY32" fmla="*/ 33338 h 498157"/>
                <a:gd name="connsiteX33" fmla="*/ 206692 w 1310640"/>
                <a:gd name="connsiteY33" fmla="*/ 82867 h 498157"/>
                <a:gd name="connsiteX34" fmla="*/ 229553 w 1310640"/>
                <a:gd name="connsiteY34" fmla="*/ 82867 h 498157"/>
                <a:gd name="connsiteX35" fmla="*/ 249555 w 1310640"/>
                <a:gd name="connsiteY35" fmla="*/ 76200 h 498157"/>
                <a:gd name="connsiteX36" fmla="*/ 256223 w 1310640"/>
                <a:gd name="connsiteY36" fmla="*/ 58102 h 498157"/>
                <a:gd name="connsiteX37" fmla="*/ 249555 w 1310640"/>
                <a:gd name="connsiteY37" fmla="*/ 40005 h 498157"/>
                <a:gd name="connsiteX38" fmla="*/ 229553 w 1310640"/>
                <a:gd name="connsiteY38" fmla="*/ 33338 h 498157"/>
                <a:gd name="connsiteX39" fmla="*/ 352425 w 1310640"/>
                <a:gd name="connsiteY39" fmla="*/ 196215 h 498157"/>
                <a:gd name="connsiteX40" fmla="*/ 352425 w 1310640"/>
                <a:gd name="connsiteY40" fmla="*/ 0 h 498157"/>
                <a:gd name="connsiteX41" fmla="*/ 466725 w 1310640"/>
                <a:gd name="connsiteY41" fmla="*/ 0 h 498157"/>
                <a:gd name="connsiteX42" fmla="*/ 466725 w 1310640"/>
                <a:gd name="connsiteY42" fmla="*/ 34290 h 498157"/>
                <a:gd name="connsiteX43" fmla="*/ 392430 w 1310640"/>
                <a:gd name="connsiteY43" fmla="*/ 34290 h 498157"/>
                <a:gd name="connsiteX44" fmla="*/ 392430 w 1310640"/>
                <a:gd name="connsiteY44" fmla="*/ 80010 h 498157"/>
                <a:gd name="connsiteX45" fmla="*/ 456248 w 1310640"/>
                <a:gd name="connsiteY45" fmla="*/ 80010 h 498157"/>
                <a:gd name="connsiteX46" fmla="*/ 456248 w 1310640"/>
                <a:gd name="connsiteY46" fmla="*/ 114300 h 498157"/>
                <a:gd name="connsiteX47" fmla="*/ 392430 w 1310640"/>
                <a:gd name="connsiteY47" fmla="*/ 114300 h 498157"/>
                <a:gd name="connsiteX48" fmla="*/ 392430 w 1310640"/>
                <a:gd name="connsiteY48" fmla="*/ 163830 h 498157"/>
                <a:gd name="connsiteX49" fmla="*/ 466725 w 1310640"/>
                <a:gd name="connsiteY49" fmla="*/ 163830 h 498157"/>
                <a:gd name="connsiteX50" fmla="*/ 466725 w 1310640"/>
                <a:gd name="connsiteY50" fmla="*/ 198120 h 498157"/>
                <a:gd name="connsiteX51" fmla="*/ 352425 w 1310640"/>
                <a:gd name="connsiteY51" fmla="*/ 198120 h 498157"/>
                <a:gd name="connsiteX52" fmla="*/ 513398 w 1310640"/>
                <a:gd name="connsiteY52" fmla="*/ 196215 h 498157"/>
                <a:gd name="connsiteX53" fmla="*/ 513398 w 1310640"/>
                <a:gd name="connsiteY53" fmla="*/ 0 h 498157"/>
                <a:gd name="connsiteX54" fmla="*/ 563880 w 1310640"/>
                <a:gd name="connsiteY54" fmla="*/ 0 h 498157"/>
                <a:gd name="connsiteX55" fmla="*/ 611505 w 1310640"/>
                <a:gd name="connsiteY55" fmla="*/ 80963 h 498157"/>
                <a:gd name="connsiteX56" fmla="*/ 659130 w 1310640"/>
                <a:gd name="connsiteY56" fmla="*/ 0 h 498157"/>
                <a:gd name="connsiteX57" fmla="*/ 709613 w 1310640"/>
                <a:gd name="connsiteY57" fmla="*/ 0 h 498157"/>
                <a:gd name="connsiteX58" fmla="*/ 709613 w 1310640"/>
                <a:gd name="connsiteY58" fmla="*/ 197167 h 498157"/>
                <a:gd name="connsiteX59" fmla="*/ 669608 w 1310640"/>
                <a:gd name="connsiteY59" fmla="*/ 197167 h 498157"/>
                <a:gd name="connsiteX60" fmla="*/ 669608 w 1310640"/>
                <a:gd name="connsiteY60" fmla="*/ 56198 h 498157"/>
                <a:gd name="connsiteX61" fmla="*/ 624840 w 1310640"/>
                <a:gd name="connsiteY61" fmla="*/ 128588 h 498157"/>
                <a:gd name="connsiteX62" fmla="*/ 596265 w 1310640"/>
                <a:gd name="connsiteY62" fmla="*/ 128588 h 498157"/>
                <a:gd name="connsiteX63" fmla="*/ 552450 w 1310640"/>
                <a:gd name="connsiteY63" fmla="*/ 56198 h 498157"/>
                <a:gd name="connsiteX64" fmla="*/ 552450 w 1310640"/>
                <a:gd name="connsiteY64" fmla="*/ 196215 h 498157"/>
                <a:gd name="connsiteX65" fmla="*/ 513398 w 1310640"/>
                <a:gd name="connsiteY65" fmla="*/ 196215 h 498157"/>
                <a:gd name="connsiteX66" fmla="*/ 763905 w 1310640"/>
                <a:gd name="connsiteY66" fmla="*/ 196215 h 498157"/>
                <a:gd name="connsiteX67" fmla="*/ 763905 w 1310640"/>
                <a:gd name="connsiteY67" fmla="*/ 0 h 498157"/>
                <a:gd name="connsiteX68" fmla="*/ 803910 w 1310640"/>
                <a:gd name="connsiteY68" fmla="*/ 0 h 498157"/>
                <a:gd name="connsiteX69" fmla="*/ 803910 w 1310640"/>
                <a:gd name="connsiteY69" fmla="*/ 197167 h 498157"/>
                <a:gd name="connsiteX70" fmla="*/ 763905 w 1310640"/>
                <a:gd name="connsiteY70" fmla="*/ 197167 h 498157"/>
                <a:gd name="connsiteX71" fmla="*/ 858203 w 1310640"/>
                <a:gd name="connsiteY71" fmla="*/ 196215 h 498157"/>
                <a:gd name="connsiteX72" fmla="*/ 858203 w 1310640"/>
                <a:gd name="connsiteY72" fmla="*/ 0 h 498157"/>
                <a:gd name="connsiteX73" fmla="*/ 972503 w 1310640"/>
                <a:gd name="connsiteY73" fmla="*/ 0 h 498157"/>
                <a:gd name="connsiteX74" fmla="*/ 972503 w 1310640"/>
                <a:gd name="connsiteY74" fmla="*/ 34290 h 498157"/>
                <a:gd name="connsiteX75" fmla="*/ 898208 w 1310640"/>
                <a:gd name="connsiteY75" fmla="*/ 34290 h 498157"/>
                <a:gd name="connsiteX76" fmla="*/ 898208 w 1310640"/>
                <a:gd name="connsiteY76" fmla="*/ 80010 h 498157"/>
                <a:gd name="connsiteX77" fmla="*/ 962025 w 1310640"/>
                <a:gd name="connsiteY77" fmla="*/ 80010 h 498157"/>
                <a:gd name="connsiteX78" fmla="*/ 962025 w 1310640"/>
                <a:gd name="connsiteY78" fmla="*/ 114300 h 498157"/>
                <a:gd name="connsiteX79" fmla="*/ 898208 w 1310640"/>
                <a:gd name="connsiteY79" fmla="*/ 114300 h 498157"/>
                <a:gd name="connsiteX80" fmla="*/ 898208 w 1310640"/>
                <a:gd name="connsiteY80" fmla="*/ 163830 h 498157"/>
                <a:gd name="connsiteX81" fmla="*/ 972503 w 1310640"/>
                <a:gd name="connsiteY81" fmla="*/ 163830 h 498157"/>
                <a:gd name="connsiteX82" fmla="*/ 972503 w 1310640"/>
                <a:gd name="connsiteY82" fmla="*/ 198120 h 498157"/>
                <a:gd name="connsiteX83" fmla="*/ 858203 w 1310640"/>
                <a:gd name="connsiteY83" fmla="*/ 198120 h 498157"/>
                <a:gd name="connsiteX84" fmla="*/ 1019175 w 1310640"/>
                <a:gd name="connsiteY84" fmla="*/ 196215 h 498157"/>
                <a:gd name="connsiteX85" fmla="*/ 1019175 w 1310640"/>
                <a:gd name="connsiteY85" fmla="*/ 0 h 498157"/>
                <a:gd name="connsiteX86" fmla="*/ 1079183 w 1310640"/>
                <a:gd name="connsiteY86" fmla="*/ 0 h 498157"/>
                <a:gd name="connsiteX87" fmla="*/ 1130618 w 1310640"/>
                <a:gd name="connsiteY87" fmla="*/ 16192 h 498157"/>
                <a:gd name="connsiteX88" fmla="*/ 1149668 w 1310640"/>
                <a:gd name="connsiteY88" fmla="*/ 59055 h 498157"/>
                <a:gd name="connsiteX89" fmla="*/ 1141095 w 1310640"/>
                <a:gd name="connsiteY89" fmla="*/ 89535 h 498157"/>
                <a:gd name="connsiteX90" fmla="*/ 1118235 w 1310640"/>
                <a:gd name="connsiteY90" fmla="*/ 109538 h 498157"/>
                <a:gd name="connsiteX91" fmla="*/ 1180148 w 1310640"/>
                <a:gd name="connsiteY91" fmla="*/ 196215 h 498157"/>
                <a:gd name="connsiteX92" fmla="*/ 1132523 w 1310640"/>
                <a:gd name="connsiteY92" fmla="*/ 196215 h 498157"/>
                <a:gd name="connsiteX93" fmla="*/ 1080135 w 1310640"/>
                <a:gd name="connsiteY93" fmla="*/ 117157 h 498157"/>
                <a:gd name="connsiteX94" fmla="*/ 1059180 w 1310640"/>
                <a:gd name="connsiteY94" fmla="*/ 117157 h 498157"/>
                <a:gd name="connsiteX95" fmla="*/ 1059180 w 1310640"/>
                <a:gd name="connsiteY95" fmla="*/ 196215 h 498157"/>
                <a:gd name="connsiteX96" fmla="*/ 1019175 w 1310640"/>
                <a:gd name="connsiteY96" fmla="*/ 196215 h 498157"/>
                <a:gd name="connsiteX97" fmla="*/ 1082040 w 1310640"/>
                <a:gd name="connsiteY97" fmla="*/ 33338 h 498157"/>
                <a:gd name="connsiteX98" fmla="*/ 1059180 w 1310640"/>
                <a:gd name="connsiteY98" fmla="*/ 33338 h 498157"/>
                <a:gd name="connsiteX99" fmla="*/ 1059180 w 1310640"/>
                <a:gd name="connsiteY99" fmla="*/ 82867 h 498157"/>
                <a:gd name="connsiteX100" fmla="*/ 1082040 w 1310640"/>
                <a:gd name="connsiteY100" fmla="*/ 82867 h 498157"/>
                <a:gd name="connsiteX101" fmla="*/ 1102043 w 1310640"/>
                <a:gd name="connsiteY101" fmla="*/ 76200 h 498157"/>
                <a:gd name="connsiteX102" fmla="*/ 1108710 w 1310640"/>
                <a:gd name="connsiteY102" fmla="*/ 58102 h 498157"/>
                <a:gd name="connsiteX103" fmla="*/ 1102043 w 1310640"/>
                <a:gd name="connsiteY103" fmla="*/ 40005 h 498157"/>
                <a:gd name="connsiteX104" fmla="*/ 1082040 w 1310640"/>
                <a:gd name="connsiteY104" fmla="*/ 33338 h 498157"/>
                <a:gd name="connsiteX105" fmla="*/ 0 w 1310640"/>
                <a:gd name="connsiteY105" fmla="*/ 493395 h 498157"/>
                <a:gd name="connsiteX106" fmla="*/ 0 w 1310640"/>
                <a:gd name="connsiteY106" fmla="*/ 296228 h 498157"/>
                <a:gd name="connsiteX107" fmla="*/ 50483 w 1310640"/>
                <a:gd name="connsiteY107" fmla="*/ 296228 h 498157"/>
                <a:gd name="connsiteX108" fmla="*/ 98108 w 1310640"/>
                <a:gd name="connsiteY108" fmla="*/ 377190 h 498157"/>
                <a:gd name="connsiteX109" fmla="*/ 145733 w 1310640"/>
                <a:gd name="connsiteY109" fmla="*/ 296228 h 498157"/>
                <a:gd name="connsiteX110" fmla="*/ 196215 w 1310640"/>
                <a:gd name="connsiteY110" fmla="*/ 296228 h 498157"/>
                <a:gd name="connsiteX111" fmla="*/ 196215 w 1310640"/>
                <a:gd name="connsiteY111" fmla="*/ 493395 h 498157"/>
                <a:gd name="connsiteX112" fmla="*/ 156210 w 1310640"/>
                <a:gd name="connsiteY112" fmla="*/ 493395 h 498157"/>
                <a:gd name="connsiteX113" fmla="*/ 156210 w 1310640"/>
                <a:gd name="connsiteY113" fmla="*/ 353378 h 498157"/>
                <a:gd name="connsiteX114" fmla="*/ 112395 w 1310640"/>
                <a:gd name="connsiteY114" fmla="*/ 425767 h 498157"/>
                <a:gd name="connsiteX115" fmla="*/ 84773 w 1310640"/>
                <a:gd name="connsiteY115" fmla="*/ 425767 h 498157"/>
                <a:gd name="connsiteX116" fmla="*/ 40958 w 1310640"/>
                <a:gd name="connsiteY116" fmla="*/ 353378 h 498157"/>
                <a:gd name="connsiteX117" fmla="*/ 40958 w 1310640"/>
                <a:gd name="connsiteY117" fmla="*/ 493395 h 498157"/>
                <a:gd name="connsiteX118" fmla="*/ 0 w 1310640"/>
                <a:gd name="connsiteY118" fmla="*/ 493395 h 498157"/>
                <a:gd name="connsiteX119" fmla="*/ 249555 w 1310640"/>
                <a:gd name="connsiteY119" fmla="*/ 493395 h 498157"/>
                <a:gd name="connsiteX120" fmla="*/ 249555 w 1310640"/>
                <a:gd name="connsiteY120" fmla="*/ 296228 h 498157"/>
                <a:gd name="connsiteX121" fmla="*/ 289560 w 1310640"/>
                <a:gd name="connsiteY121" fmla="*/ 296228 h 498157"/>
                <a:gd name="connsiteX122" fmla="*/ 289560 w 1310640"/>
                <a:gd name="connsiteY122" fmla="*/ 493395 h 498157"/>
                <a:gd name="connsiteX123" fmla="*/ 249555 w 1310640"/>
                <a:gd name="connsiteY123" fmla="*/ 493395 h 498157"/>
                <a:gd name="connsiteX124" fmla="*/ 344805 w 1310640"/>
                <a:gd name="connsiteY124" fmla="*/ 493395 h 498157"/>
                <a:gd name="connsiteX125" fmla="*/ 344805 w 1310640"/>
                <a:gd name="connsiteY125" fmla="*/ 296228 h 498157"/>
                <a:gd name="connsiteX126" fmla="*/ 396240 w 1310640"/>
                <a:gd name="connsiteY126" fmla="*/ 296228 h 498157"/>
                <a:gd name="connsiteX127" fmla="*/ 483870 w 1310640"/>
                <a:gd name="connsiteY127" fmla="*/ 437198 h 498157"/>
                <a:gd name="connsiteX128" fmla="*/ 483870 w 1310640"/>
                <a:gd name="connsiteY128" fmla="*/ 296228 h 498157"/>
                <a:gd name="connsiteX129" fmla="*/ 523875 w 1310640"/>
                <a:gd name="connsiteY129" fmla="*/ 296228 h 498157"/>
                <a:gd name="connsiteX130" fmla="*/ 523875 w 1310640"/>
                <a:gd name="connsiteY130" fmla="*/ 493395 h 498157"/>
                <a:gd name="connsiteX131" fmla="*/ 472440 w 1310640"/>
                <a:gd name="connsiteY131" fmla="*/ 493395 h 498157"/>
                <a:gd name="connsiteX132" fmla="*/ 384810 w 1310640"/>
                <a:gd name="connsiteY132" fmla="*/ 352425 h 498157"/>
                <a:gd name="connsiteX133" fmla="*/ 384810 w 1310640"/>
                <a:gd name="connsiteY133" fmla="*/ 493395 h 498157"/>
                <a:gd name="connsiteX134" fmla="*/ 344805 w 1310640"/>
                <a:gd name="connsiteY134" fmla="*/ 493395 h 498157"/>
                <a:gd name="connsiteX135" fmla="*/ 579120 w 1310640"/>
                <a:gd name="connsiteY135" fmla="*/ 493395 h 498157"/>
                <a:gd name="connsiteX136" fmla="*/ 579120 w 1310640"/>
                <a:gd name="connsiteY136" fmla="*/ 296228 h 498157"/>
                <a:gd name="connsiteX137" fmla="*/ 619125 w 1310640"/>
                <a:gd name="connsiteY137" fmla="*/ 296228 h 498157"/>
                <a:gd name="connsiteX138" fmla="*/ 619125 w 1310640"/>
                <a:gd name="connsiteY138" fmla="*/ 493395 h 498157"/>
                <a:gd name="connsiteX139" fmla="*/ 579120 w 1310640"/>
                <a:gd name="connsiteY139" fmla="*/ 493395 h 498157"/>
                <a:gd name="connsiteX140" fmla="*/ 656273 w 1310640"/>
                <a:gd name="connsiteY140" fmla="*/ 466725 h 498157"/>
                <a:gd name="connsiteX141" fmla="*/ 684848 w 1310640"/>
                <a:gd name="connsiteY141" fmla="*/ 440055 h 498157"/>
                <a:gd name="connsiteX142" fmla="*/ 704850 w 1310640"/>
                <a:gd name="connsiteY142" fmla="*/ 458153 h 498157"/>
                <a:gd name="connsiteX143" fmla="*/ 728663 w 1310640"/>
                <a:gd name="connsiteY143" fmla="*/ 464820 h 498157"/>
                <a:gd name="connsiteX144" fmla="*/ 746760 w 1310640"/>
                <a:gd name="connsiteY144" fmla="*/ 459105 h 498157"/>
                <a:gd name="connsiteX145" fmla="*/ 753428 w 1310640"/>
                <a:gd name="connsiteY145" fmla="*/ 441960 h 498157"/>
                <a:gd name="connsiteX146" fmla="*/ 739140 w 1310640"/>
                <a:gd name="connsiteY146" fmla="*/ 421957 h 498157"/>
                <a:gd name="connsiteX147" fmla="*/ 708660 w 1310640"/>
                <a:gd name="connsiteY147" fmla="*/ 406717 h 498157"/>
                <a:gd name="connsiteX148" fmla="*/ 678180 w 1310640"/>
                <a:gd name="connsiteY148" fmla="*/ 385763 h 498157"/>
                <a:gd name="connsiteX149" fmla="*/ 663893 w 1310640"/>
                <a:gd name="connsiteY149" fmla="*/ 348615 h 498157"/>
                <a:gd name="connsiteX150" fmla="*/ 668655 w 1310640"/>
                <a:gd name="connsiteY150" fmla="*/ 326707 h 498157"/>
                <a:gd name="connsiteX151" fmla="*/ 681990 w 1310640"/>
                <a:gd name="connsiteY151" fmla="*/ 308610 h 498157"/>
                <a:gd name="connsiteX152" fmla="*/ 701993 w 1310640"/>
                <a:gd name="connsiteY152" fmla="*/ 296228 h 498157"/>
                <a:gd name="connsiteX153" fmla="*/ 727710 w 1310640"/>
                <a:gd name="connsiteY153" fmla="*/ 291465 h 498157"/>
                <a:gd name="connsiteX154" fmla="*/ 766763 w 1310640"/>
                <a:gd name="connsiteY154" fmla="*/ 300990 h 498157"/>
                <a:gd name="connsiteX155" fmla="*/ 796290 w 1310640"/>
                <a:gd name="connsiteY155" fmla="*/ 324803 h 498157"/>
                <a:gd name="connsiteX156" fmla="*/ 766763 w 1310640"/>
                <a:gd name="connsiteY156" fmla="*/ 350520 h 498157"/>
                <a:gd name="connsiteX157" fmla="*/ 748665 w 1310640"/>
                <a:gd name="connsiteY157" fmla="*/ 332423 h 498157"/>
                <a:gd name="connsiteX158" fmla="*/ 727710 w 1310640"/>
                <a:gd name="connsiteY158" fmla="*/ 325755 h 498157"/>
                <a:gd name="connsiteX159" fmla="*/ 711518 w 1310640"/>
                <a:gd name="connsiteY159" fmla="*/ 331470 h 498157"/>
                <a:gd name="connsiteX160" fmla="*/ 705803 w 1310640"/>
                <a:gd name="connsiteY160" fmla="*/ 345757 h 498157"/>
                <a:gd name="connsiteX161" fmla="*/ 720090 w 1310640"/>
                <a:gd name="connsiteY161" fmla="*/ 365760 h 498157"/>
                <a:gd name="connsiteX162" fmla="*/ 750570 w 1310640"/>
                <a:gd name="connsiteY162" fmla="*/ 381000 h 498157"/>
                <a:gd name="connsiteX163" fmla="*/ 781050 w 1310640"/>
                <a:gd name="connsiteY163" fmla="*/ 401955 h 498157"/>
                <a:gd name="connsiteX164" fmla="*/ 795338 w 1310640"/>
                <a:gd name="connsiteY164" fmla="*/ 440055 h 498157"/>
                <a:gd name="connsiteX165" fmla="*/ 789623 w 1310640"/>
                <a:gd name="connsiteY165" fmla="*/ 464820 h 498157"/>
                <a:gd name="connsiteX166" fmla="*/ 775335 w 1310640"/>
                <a:gd name="connsiteY166" fmla="*/ 482917 h 498157"/>
                <a:gd name="connsiteX167" fmla="*/ 754380 w 1310640"/>
                <a:gd name="connsiteY167" fmla="*/ 494348 h 498157"/>
                <a:gd name="connsiteX168" fmla="*/ 728663 w 1310640"/>
                <a:gd name="connsiteY168" fmla="*/ 498157 h 498157"/>
                <a:gd name="connsiteX169" fmla="*/ 685800 w 1310640"/>
                <a:gd name="connsiteY169" fmla="*/ 489585 h 498157"/>
                <a:gd name="connsiteX170" fmla="*/ 656273 w 1310640"/>
                <a:gd name="connsiteY170" fmla="*/ 466725 h 498157"/>
                <a:gd name="connsiteX171" fmla="*/ 814388 w 1310640"/>
                <a:gd name="connsiteY171" fmla="*/ 333375 h 498157"/>
                <a:gd name="connsiteX172" fmla="*/ 814388 w 1310640"/>
                <a:gd name="connsiteY172" fmla="*/ 297180 h 498157"/>
                <a:gd name="connsiteX173" fmla="*/ 975360 w 1310640"/>
                <a:gd name="connsiteY173" fmla="*/ 297180 h 498157"/>
                <a:gd name="connsiteX174" fmla="*/ 975360 w 1310640"/>
                <a:gd name="connsiteY174" fmla="*/ 333375 h 498157"/>
                <a:gd name="connsiteX175" fmla="*/ 914400 w 1310640"/>
                <a:gd name="connsiteY175" fmla="*/ 333375 h 498157"/>
                <a:gd name="connsiteX176" fmla="*/ 914400 w 1310640"/>
                <a:gd name="connsiteY176" fmla="*/ 493395 h 498157"/>
                <a:gd name="connsiteX177" fmla="*/ 874395 w 1310640"/>
                <a:gd name="connsiteY177" fmla="*/ 493395 h 498157"/>
                <a:gd name="connsiteX178" fmla="*/ 874395 w 1310640"/>
                <a:gd name="connsiteY178" fmla="*/ 333375 h 498157"/>
                <a:gd name="connsiteX179" fmla="*/ 814388 w 1310640"/>
                <a:gd name="connsiteY179" fmla="*/ 333375 h 498157"/>
                <a:gd name="connsiteX180" fmla="*/ 1011555 w 1310640"/>
                <a:gd name="connsiteY180" fmla="*/ 493395 h 498157"/>
                <a:gd name="connsiteX181" fmla="*/ 1011555 w 1310640"/>
                <a:gd name="connsiteY181" fmla="*/ 296228 h 498157"/>
                <a:gd name="connsiteX182" fmla="*/ 1071563 w 1310640"/>
                <a:gd name="connsiteY182" fmla="*/ 296228 h 498157"/>
                <a:gd name="connsiteX183" fmla="*/ 1122998 w 1310640"/>
                <a:gd name="connsiteY183" fmla="*/ 312420 h 498157"/>
                <a:gd name="connsiteX184" fmla="*/ 1142048 w 1310640"/>
                <a:gd name="connsiteY184" fmla="*/ 355282 h 498157"/>
                <a:gd name="connsiteX185" fmla="*/ 1133475 w 1310640"/>
                <a:gd name="connsiteY185" fmla="*/ 385763 h 498157"/>
                <a:gd name="connsiteX186" fmla="*/ 1110615 w 1310640"/>
                <a:gd name="connsiteY186" fmla="*/ 405765 h 498157"/>
                <a:gd name="connsiteX187" fmla="*/ 1172528 w 1310640"/>
                <a:gd name="connsiteY187" fmla="*/ 492442 h 498157"/>
                <a:gd name="connsiteX188" fmla="*/ 1124903 w 1310640"/>
                <a:gd name="connsiteY188" fmla="*/ 492442 h 498157"/>
                <a:gd name="connsiteX189" fmla="*/ 1072515 w 1310640"/>
                <a:gd name="connsiteY189" fmla="*/ 413385 h 498157"/>
                <a:gd name="connsiteX190" fmla="*/ 1051560 w 1310640"/>
                <a:gd name="connsiteY190" fmla="*/ 413385 h 498157"/>
                <a:gd name="connsiteX191" fmla="*/ 1051560 w 1310640"/>
                <a:gd name="connsiteY191" fmla="*/ 492442 h 498157"/>
                <a:gd name="connsiteX192" fmla="*/ 1011555 w 1310640"/>
                <a:gd name="connsiteY192" fmla="*/ 492442 h 498157"/>
                <a:gd name="connsiteX193" fmla="*/ 1073468 w 1310640"/>
                <a:gd name="connsiteY193" fmla="*/ 330517 h 498157"/>
                <a:gd name="connsiteX194" fmla="*/ 1050608 w 1310640"/>
                <a:gd name="connsiteY194" fmla="*/ 330517 h 498157"/>
                <a:gd name="connsiteX195" fmla="*/ 1050608 w 1310640"/>
                <a:gd name="connsiteY195" fmla="*/ 380048 h 498157"/>
                <a:gd name="connsiteX196" fmla="*/ 1073468 w 1310640"/>
                <a:gd name="connsiteY196" fmla="*/ 380048 h 498157"/>
                <a:gd name="connsiteX197" fmla="*/ 1093470 w 1310640"/>
                <a:gd name="connsiteY197" fmla="*/ 373380 h 498157"/>
                <a:gd name="connsiteX198" fmla="*/ 1100138 w 1310640"/>
                <a:gd name="connsiteY198" fmla="*/ 355282 h 498157"/>
                <a:gd name="connsiteX199" fmla="*/ 1093470 w 1310640"/>
                <a:gd name="connsiteY199" fmla="*/ 337185 h 498157"/>
                <a:gd name="connsiteX200" fmla="*/ 1073468 w 1310640"/>
                <a:gd name="connsiteY200" fmla="*/ 330517 h 498157"/>
                <a:gd name="connsiteX201" fmla="*/ 1196340 w 1310640"/>
                <a:gd name="connsiteY201" fmla="*/ 493395 h 498157"/>
                <a:gd name="connsiteX202" fmla="*/ 1196340 w 1310640"/>
                <a:gd name="connsiteY202" fmla="*/ 296228 h 498157"/>
                <a:gd name="connsiteX203" fmla="*/ 1310640 w 1310640"/>
                <a:gd name="connsiteY203" fmla="*/ 296228 h 498157"/>
                <a:gd name="connsiteX204" fmla="*/ 1310640 w 1310640"/>
                <a:gd name="connsiteY204" fmla="*/ 330517 h 498157"/>
                <a:gd name="connsiteX205" fmla="*/ 1236345 w 1310640"/>
                <a:gd name="connsiteY205" fmla="*/ 330517 h 498157"/>
                <a:gd name="connsiteX206" fmla="*/ 1236345 w 1310640"/>
                <a:gd name="connsiteY206" fmla="*/ 376238 h 498157"/>
                <a:gd name="connsiteX207" fmla="*/ 1300163 w 1310640"/>
                <a:gd name="connsiteY207" fmla="*/ 376238 h 498157"/>
                <a:gd name="connsiteX208" fmla="*/ 1300163 w 1310640"/>
                <a:gd name="connsiteY208" fmla="*/ 410528 h 498157"/>
                <a:gd name="connsiteX209" fmla="*/ 1236345 w 1310640"/>
                <a:gd name="connsiteY209" fmla="*/ 410528 h 498157"/>
                <a:gd name="connsiteX210" fmla="*/ 1236345 w 1310640"/>
                <a:gd name="connsiteY210" fmla="*/ 460057 h 498157"/>
                <a:gd name="connsiteX211" fmla="*/ 1310640 w 1310640"/>
                <a:gd name="connsiteY211" fmla="*/ 460057 h 498157"/>
                <a:gd name="connsiteX212" fmla="*/ 1310640 w 1310640"/>
                <a:gd name="connsiteY212" fmla="*/ 494348 h 498157"/>
                <a:gd name="connsiteX213" fmla="*/ 1196340 w 1310640"/>
                <a:gd name="connsiteY213" fmla="*/ 494348 h 49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</a:cxnLst>
              <a:rect l="l" t="t" r="r" b="b"/>
              <a:pathLst>
                <a:path w="1310640" h="498157">
                  <a:moveTo>
                    <a:pt x="0" y="196215"/>
                  </a:moveTo>
                  <a:lnTo>
                    <a:pt x="0" y="0"/>
                  </a:lnTo>
                  <a:lnTo>
                    <a:pt x="64770" y="0"/>
                  </a:lnTo>
                  <a:cubicBezTo>
                    <a:pt x="86678" y="0"/>
                    <a:pt x="102870" y="5715"/>
                    <a:pt x="116205" y="16192"/>
                  </a:cubicBezTo>
                  <a:cubicBezTo>
                    <a:pt x="128588" y="26670"/>
                    <a:pt x="135255" y="40957"/>
                    <a:pt x="135255" y="59055"/>
                  </a:cubicBezTo>
                  <a:cubicBezTo>
                    <a:pt x="135255" y="77152"/>
                    <a:pt x="128588" y="91440"/>
                    <a:pt x="116205" y="101917"/>
                  </a:cubicBezTo>
                  <a:cubicBezTo>
                    <a:pt x="103823" y="112395"/>
                    <a:pt x="86678" y="118110"/>
                    <a:pt x="64770" y="118110"/>
                  </a:cubicBezTo>
                  <a:lnTo>
                    <a:pt x="40005" y="118110"/>
                  </a:lnTo>
                  <a:lnTo>
                    <a:pt x="40005" y="197167"/>
                  </a:lnTo>
                  <a:lnTo>
                    <a:pt x="0" y="197167"/>
                  </a:lnTo>
                  <a:close/>
                  <a:moveTo>
                    <a:pt x="65723" y="33338"/>
                  </a:moveTo>
                  <a:lnTo>
                    <a:pt x="39053" y="33338"/>
                  </a:lnTo>
                  <a:lnTo>
                    <a:pt x="39053" y="82867"/>
                  </a:lnTo>
                  <a:lnTo>
                    <a:pt x="65723" y="82867"/>
                  </a:lnTo>
                  <a:cubicBezTo>
                    <a:pt x="74295" y="82867"/>
                    <a:pt x="80963" y="80963"/>
                    <a:pt x="85725" y="76200"/>
                  </a:cubicBezTo>
                  <a:cubicBezTo>
                    <a:pt x="90488" y="71438"/>
                    <a:pt x="93345" y="65723"/>
                    <a:pt x="93345" y="58102"/>
                  </a:cubicBezTo>
                  <a:cubicBezTo>
                    <a:pt x="93345" y="50482"/>
                    <a:pt x="90488" y="44767"/>
                    <a:pt x="85725" y="40005"/>
                  </a:cubicBezTo>
                  <a:cubicBezTo>
                    <a:pt x="80963" y="36195"/>
                    <a:pt x="74295" y="33338"/>
                    <a:pt x="65723" y="33338"/>
                  </a:cubicBezTo>
                  <a:close/>
                  <a:moveTo>
                    <a:pt x="166688" y="196215"/>
                  </a:moveTo>
                  <a:lnTo>
                    <a:pt x="166688" y="0"/>
                  </a:lnTo>
                  <a:lnTo>
                    <a:pt x="226695" y="0"/>
                  </a:lnTo>
                  <a:cubicBezTo>
                    <a:pt x="248603" y="0"/>
                    <a:pt x="265748" y="5715"/>
                    <a:pt x="278130" y="16192"/>
                  </a:cubicBezTo>
                  <a:cubicBezTo>
                    <a:pt x="290513" y="26670"/>
                    <a:pt x="297180" y="40957"/>
                    <a:pt x="297180" y="59055"/>
                  </a:cubicBezTo>
                  <a:cubicBezTo>
                    <a:pt x="297180" y="70485"/>
                    <a:pt x="294323" y="80963"/>
                    <a:pt x="288608" y="89535"/>
                  </a:cubicBezTo>
                  <a:cubicBezTo>
                    <a:pt x="282893" y="98107"/>
                    <a:pt x="275273" y="104775"/>
                    <a:pt x="265748" y="109538"/>
                  </a:cubicBezTo>
                  <a:lnTo>
                    <a:pt x="327660" y="196215"/>
                  </a:lnTo>
                  <a:lnTo>
                    <a:pt x="280035" y="196215"/>
                  </a:lnTo>
                  <a:lnTo>
                    <a:pt x="227648" y="117157"/>
                  </a:lnTo>
                  <a:lnTo>
                    <a:pt x="206692" y="117157"/>
                  </a:lnTo>
                  <a:lnTo>
                    <a:pt x="206692" y="196215"/>
                  </a:lnTo>
                  <a:lnTo>
                    <a:pt x="166688" y="196215"/>
                  </a:lnTo>
                  <a:close/>
                  <a:moveTo>
                    <a:pt x="229553" y="33338"/>
                  </a:moveTo>
                  <a:lnTo>
                    <a:pt x="206692" y="33338"/>
                  </a:lnTo>
                  <a:lnTo>
                    <a:pt x="206692" y="82867"/>
                  </a:lnTo>
                  <a:lnTo>
                    <a:pt x="229553" y="82867"/>
                  </a:lnTo>
                  <a:cubicBezTo>
                    <a:pt x="238125" y="82867"/>
                    <a:pt x="244792" y="80963"/>
                    <a:pt x="249555" y="76200"/>
                  </a:cubicBezTo>
                  <a:cubicBezTo>
                    <a:pt x="254317" y="71438"/>
                    <a:pt x="256223" y="65723"/>
                    <a:pt x="256223" y="58102"/>
                  </a:cubicBezTo>
                  <a:cubicBezTo>
                    <a:pt x="256223" y="50482"/>
                    <a:pt x="254317" y="44767"/>
                    <a:pt x="249555" y="40005"/>
                  </a:cubicBezTo>
                  <a:cubicBezTo>
                    <a:pt x="244792" y="36195"/>
                    <a:pt x="238125" y="33338"/>
                    <a:pt x="229553" y="33338"/>
                  </a:cubicBezTo>
                  <a:close/>
                  <a:moveTo>
                    <a:pt x="352425" y="196215"/>
                  </a:moveTo>
                  <a:lnTo>
                    <a:pt x="352425" y="0"/>
                  </a:lnTo>
                  <a:lnTo>
                    <a:pt x="466725" y="0"/>
                  </a:lnTo>
                  <a:lnTo>
                    <a:pt x="466725" y="34290"/>
                  </a:lnTo>
                  <a:lnTo>
                    <a:pt x="392430" y="34290"/>
                  </a:lnTo>
                  <a:lnTo>
                    <a:pt x="392430" y="80010"/>
                  </a:lnTo>
                  <a:lnTo>
                    <a:pt x="456248" y="80010"/>
                  </a:lnTo>
                  <a:lnTo>
                    <a:pt x="456248" y="114300"/>
                  </a:lnTo>
                  <a:lnTo>
                    <a:pt x="392430" y="114300"/>
                  </a:lnTo>
                  <a:lnTo>
                    <a:pt x="392430" y="163830"/>
                  </a:lnTo>
                  <a:lnTo>
                    <a:pt x="466725" y="163830"/>
                  </a:lnTo>
                  <a:lnTo>
                    <a:pt x="466725" y="198120"/>
                  </a:lnTo>
                  <a:lnTo>
                    <a:pt x="352425" y="198120"/>
                  </a:lnTo>
                  <a:close/>
                  <a:moveTo>
                    <a:pt x="513398" y="196215"/>
                  </a:moveTo>
                  <a:lnTo>
                    <a:pt x="513398" y="0"/>
                  </a:lnTo>
                  <a:lnTo>
                    <a:pt x="563880" y="0"/>
                  </a:lnTo>
                  <a:lnTo>
                    <a:pt x="611505" y="80963"/>
                  </a:lnTo>
                  <a:lnTo>
                    <a:pt x="659130" y="0"/>
                  </a:lnTo>
                  <a:lnTo>
                    <a:pt x="709613" y="0"/>
                  </a:lnTo>
                  <a:lnTo>
                    <a:pt x="709613" y="197167"/>
                  </a:lnTo>
                  <a:lnTo>
                    <a:pt x="669608" y="197167"/>
                  </a:lnTo>
                  <a:lnTo>
                    <a:pt x="669608" y="56198"/>
                  </a:lnTo>
                  <a:lnTo>
                    <a:pt x="624840" y="128588"/>
                  </a:lnTo>
                  <a:lnTo>
                    <a:pt x="596265" y="128588"/>
                  </a:lnTo>
                  <a:lnTo>
                    <a:pt x="552450" y="56198"/>
                  </a:lnTo>
                  <a:lnTo>
                    <a:pt x="552450" y="196215"/>
                  </a:lnTo>
                  <a:lnTo>
                    <a:pt x="513398" y="196215"/>
                  </a:lnTo>
                  <a:close/>
                  <a:moveTo>
                    <a:pt x="763905" y="196215"/>
                  </a:moveTo>
                  <a:lnTo>
                    <a:pt x="763905" y="0"/>
                  </a:lnTo>
                  <a:lnTo>
                    <a:pt x="803910" y="0"/>
                  </a:lnTo>
                  <a:lnTo>
                    <a:pt x="803910" y="197167"/>
                  </a:lnTo>
                  <a:lnTo>
                    <a:pt x="763905" y="197167"/>
                  </a:lnTo>
                  <a:close/>
                  <a:moveTo>
                    <a:pt x="858203" y="196215"/>
                  </a:moveTo>
                  <a:lnTo>
                    <a:pt x="858203" y="0"/>
                  </a:lnTo>
                  <a:lnTo>
                    <a:pt x="972503" y="0"/>
                  </a:lnTo>
                  <a:lnTo>
                    <a:pt x="972503" y="34290"/>
                  </a:lnTo>
                  <a:lnTo>
                    <a:pt x="898208" y="34290"/>
                  </a:lnTo>
                  <a:lnTo>
                    <a:pt x="898208" y="80010"/>
                  </a:lnTo>
                  <a:lnTo>
                    <a:pt x="962025" y="80010"/>
                  </a:lnTo>
                  <a:lnTo>
                    <a:pt x="962025" y="114300"/>
                  </a:lnTo>
                  <a:lnTo>
                    <a:pt x="898208" y="114300"/>
                  </a:lnTo>
                  <a:lnTo>
                    <a:pt x="898208" y="163830"/>
                  </a:lnTo>
                  <a:lnTo>
                    <a:pt x="972503" y="163830"/>
                  </a:lnTo>
                  <a:lnTo>
                    <a:pt x="972503" y="198120"/>
                  </a:lnTo>
                  <a:lnTo>
                    <a:pt x="858203" y="198120"/>
                  </a:lnTo>
                  <a:close/>
                  <a:moveTo>
                    <a:pt x="1019175" y="196215"/>
                  </a:moveTo>
                  <a:lnTo>
                    <a:pt x="1019175" y="0"/>
                  </a:lnTo>
                  <a:lnTo>
                    <a:pt x="1079183" y="0"/>
                  </a:lnTo>
                  <a:cubicBezTo>
                    <a:pt x="1101090" y="0"/>
                    <a:pt x="1118235" y="5715"/>
                    <a:pt x="1130618" y="16192"/>
                  </a:cubicBezTo>
                  <a:cubicBezTo>
                    <a:pt x="1143000" y="26670"/>
                    <a:pt x="1149668" y="40957"/>
                    <a:pt x="1149668" y="59055"/>
                  </a:cubicBezTo>
                  <a:cubicBezTo>
                    <a:pt x="1149668" y="70485"/>
                    <a:pt x="1146810" y="80963"/>
                    <a:pt x="1141095" y="89535"/>
                  </a:cubicBezTo>
                  <a:cubicBezTo>
                    <a:pt x="1135380" y="98107"/>
                    <a:pt x="1127760" y="104775"/>
                    <a:pt x="1118235" y="109538"/>
                  </a:cubicBezTo>
                  <a:lnTo>
                    <a:pt x="1180148" y="196215"/>
                  </a:lnTo>
                  <a:lnTo>
                    <a:pt x="1132523" y="196215"/>
                  </a:lnTo>
                  <a:lnTo>
                    <a:pt x="1080135" y="117157"/>
                  </a:lnTo>
                  <a:lnTo>
                    <a:pt x="1059180" y="117157"/>
                  </a:lnTo>
                  <a:lnTo>
                    <a:pt x="1059180" y="196215"/>
                  </a:lnTo>
                  <a:lnTo>
                    <a:pt x="1019175" y="196215"/>
                  </a:lnTo>
                  <a:close/>
                  <a:moveTo>
                    <a:pt x="1082040" y="33338"/>
                  </a:moveTo>
                  <a:lnTo>
                    <a:pt x="1059180" y="33338"/>
                  </a:lnTo>
                  <a:lnTo>
                    <a:pt x="1059180" y="82867"/>
                  </a:lnTo>
                  <a:lnTo>
                    <a:pt x="1082040" y="82867"/>
                  </a:lnTo>
                  <a:cubicBezTo>
                    <a:pt x="1090613" y="82867"/>
                    <a:pt x="1097280" y="80963"/>
                    <a:pt x="1102043" y="76200"/>
                  </a:cubicBezTo>
                  <a:cubicBezTo>
                    <a:pt x="1106805" y="71438"/>
                    <a:pt x="1108710" y="65723"/>
                    <a:pt x="1108710" y="58102"/>
                  </a:cubicBezTo>
                  <a:cubicBezTo>
                    <a:pt x="1108710" y="50482"/>
                    <a:pt x="1106805" y="44767"/>
                    <a:pt x="1102043" y="40005"/>
                  </a:cubicBezTo>
                  <a:cubicBezTo>
                    <a:pt x="1097280" y="36195"/>
                    <a:pt x="1090613" y="33338"/>
                    <a:pt x="1082040" y="33338"/>
                  </a:cubicBezTo>
                  <a:close/>
                  <a:moveTo>
                    <a:pt x="0" y="493395"/>
                  </a:moveTo>
                  <a:lnTo>
                    <a:pt x="0" y="296228"/>
                  </a:lnTo>
                  <a:lnTo>
                    <a:pt x="50483" y="296228"/>
                  </a:lnTo>
                  <a:lnTo>
                    <a:pt x="98108" y="377190"/>
                  </a:lnTo>
                  <a:lnTo>
                    <a:pt x="145733" y="296228"/>
                  </a:lnTo>
                  <a:lnTo>
                    <a:pt x="196215" y="296228"/>
                  </a:lnTo>
                  <a:lnTo>
                    <a:pt x="196215" y="493395"/>
                  </a:lnTo>
                  <a:lnTo>
                    <a:pt x="156210" y="493395"/>
                  </a:lnTo>
                  <a:lnTo>
                    <a:pt x="156210" y="353378"/>
                  </a:lnTo>
                  <a:lnTo>
                    <a:pt x="112395" y="425767"/>
                  </a:lnTo>
                  <a:lnTo>
                    <a:pt x="84773" y="425767"/>
                  </a:lnTo>
                  <a:lnTo>
                    <a:pt x="40958" y="353378"/>
                  </a:lnTo>
                  <a:lnTo>
                    <a:pt x="40958" y="493395"/>
                  </a:lnTo>
                  <a:lnTo>
                    <a:pt x="0" y="493395"/>
                  </a:lnTo>
                  <a:close/>
                  <a:moveTo>
                    <a:pt x="249555" y="493395"/>
                  </a:moveTo>
                  <a:lnTo>
                    <a:pt x="249555" y="296228"/>
                  </a:lnTo>
                  <a:lnTo>
                    <a:pt x="289560" y="296228"/>
                  </a:lnTo>
                  <a:lnTo>
                    <a:pt x="289560" y="493395"/>
                  </a:lnTo>
                  <a:lnTo>
                    <a:pt x="249555" y="493395"/>
                  </a:lnTo>
                  <a:close/>
                  <a:moveTo>
                    <a:pt x="344805" y="493395"/>
                  </a:moveTo>
                  <a:lnTo>
                    <a:pt x="344805" y="296228"/>
                  </a:lnTo>
                  <a:lnTo>
                    <a:pt x="396240" y="296228"/>
                  </a:lnTo>
                  <a:lnTo>
                    <a:pt x="483870" y="437198"/>
                  </a:lnTo>
                  <a:lnTo>
                    <a:pt x="483870" y="296228"/>
                  </a:lnTo>
                  <a:lnTo>
                    <a:pt x="523875" y="296228"/>
                  </a:lnTo>
                  <a:lnTo>
                    <a:pt x="523875" y="493395"/>
                  </a:lnTo>
                  <a:lnTo>
                    <a:pt x="472440" y="493395"/>
                  </a:lnTo>
                  <a:lnTo>
                    <a:pt x="384810" y="352425"/>
                  </a:lnTo>
                  <a:lnTo>
                    <a:pt x="384810" y="493395"/>
                  </a:lnTo>
                  <a:lnTo>
                    <a:pt x="344805" y="493395"/>
                  </a:lnTo>
                  <a:close/>
                  <a:moveTo>
                    <a:pt x="579120" y="493395"/>
                  </a:moveTo>
                  <a:lnTo>
                    <a:pt x="579120" y="296228"/>
                  </a:lnTo>
                  <a:lnTo>
                    <a:pt x="619125" y="296228"/>
                  </a:lnTo>
                  <a:lnTo>
                    <a:pt x="619125" y="493395"/>
                  </a:lnTo>
                  <a:lnTo>
                    <a:pt x="579120" y="493395"/>
                  </a:lnTo>
                  <a:close/>
                  <a:moveTo>
                    <a:pt x="656273" y="466725"/>
                  </a:moveTo>
                  <a:lnTo>
                    <a:pt x="684848" y="440055"/>
                  </a:lnTo>
                  <a:cubicBezTo>
                    <a:pt x="690563" y="447675"/>
                    <a:pt x="697230" y="453390"/>
                    <a:pt x="704850" y="458153"/>
                  </a:cubicBezTo>
                  <a:cubicBezTo>
                    <a:pt x="712470" y="462915"/>
                    <a:pt x="720090" y="464820"/>
                    <a:pt x="728663" y="464820"/>
                  </a:cubicBezTo>
                  <a:cubicBezTo>
                    <a:pt x="736283" y="464820"/>
                    <a:pt x="742950" y="462915"/>
                    <a:pt x="746760" y="459105"/>
                  </a:cubicBezTo>
                  <a:cubicBezTo>
                    <a:pt x="751523" y="455295"/>
                    <a:pt x="753428" y="449580"/>
                    <a:pt x="753428" y="441960"/>
                  </a:cubicBezTo>
                  <a:cubicBezTo>
                    <a:pt x="753428" y="433388"/>
                    <a:pt x="748665" y="426720"/>
                    <a:pt x="739140" y="421957"/>
                  </a:cubicBezTo>
                  <a:cubicBezTo>
                    <a:pt x="729615" y="417195"/>
                    <a:pt x="719138" y="412432"/>
                    <a:pt x="708660" y="406717"/>
                  </a:cubicBezTo>
                  <a:cubicBezTo>
                    <a:pt x="697230" y="401003"/>
                    <a:pt x="686753" y="394335"/>
                    <a:pt x="678180" y="385763"/>
                  </a:cubicBezTo>
                  <a:cubicBezTo>
                    <a:pt x="669608" y="377190"/>
                    <a:pt x="663893" y="364807"/>
                    <a:pt x="663893" y="348615"/>
                  </a:cubicBezTo>
                  <a:cubicBezTo>
                    <a:pt x="663893" y="340995"/>
                    <a:pt x="665798" y="333375"/>
                    <a:pt x="668655" y="326707"/>
                  </a:cubicBezTo>
                  <a:cubicBezTo>
                    <a:pt x="671513" y="320040"/>
                    <a:pt x="676275" y="313373"/>
                    <a:pt x="681990" y="308610"/>
                  </a:cubicBezTo>
                  <a:cubicBezTo>
                    <a:pt x="687705" y="303848"/>
                    <a:pt x="694373" y="299085"/>
                    <a:pt x="701993" y="296228"/>
                  </a:cubicBezTo>
                  <a:cubicBezTo>
                    <a:pt x="709613" y="293370"/>
                    <a:pt x="718185" y="291465"/>
                    <a:pt x="727710" y="291465"/>
                  </a:cubicBezTo>
                  <a:cubicBezTo>
                    <a:pt x="741998" y="291465"/>
                    <a:pt x="755333" y="294323"/>
                    <a:pt x="766763" y="300990"/>
                  </a:cubicBezTo>
                  <a:cubicBezTo>
                    <a:pt x="778193" y="306705"/>
                    <a:pt x="787718" y="315278"/>
                    <a:pt x="796290" y="324803"/>
                  </a:cubicBezTo>
                  <a:lnTo>
                    <a:pt x="766763" y="350520"/>
                  </a:lnTo>
                  <a:cubicBezTo>
                    <a:pt x="761048" y="342900"/>
                    <a:pt x="754380" y="337185"/>
                    <a:pt x="748665" y="332423"/>
                  </a:cubicBezTo>
                  <a:cubicBezTo>
                    <a:pt x="741998" y="327660"/>
                    <a:pt x="735330" y="325755"/>
                    <a:pt x="727710" y="325755"/>
                  </a:cubicBezTo>
                  <a:cubicBezTo>
                    <a:pt x="721043" y="325755"/>
                    <a:pt x="715328" y="327660"/>
                    <a:pt x="711518" y="331470"/>
                  </a:cubicBezTo>
                  <a:cubicBezTo>
                    <a:pt x="707708" y="335280"/>
                    <a:pt x="705803" y="340042"/>
                    <a:pt x="705803" y="345757"/>
                  </a:cubicBezTo>
                  <a:cubicBezTo>
                    <a:pt x="705803" y="354330"/>
                    <a:pt x="710565" y="360998"/>
                    <a:pt x="720090" y="365760"/>
                  </a:cubicBezTo>
                  <a:cubicBezTo>
                    <a:pt x="729615" y="370523"/>
                    <a:pt x="740093" y="375285"/>
                    <a:pt x="750570" y="381000"/>
                  </a:cubicBezTo>
                  <a:cubicBezTo>
                    <a:pt x="762000" y="386715"/>
                    <a:pt x="772478" y="393382"/>
                    <a:pt x="781050" y="401955"/>
                  </a:cubicBezTo>
                  <a:cubicBezTo>
                    <a:pt x="790575" y="410528"/>
                    <a:pt x="795338" y="422910"/>
                    <a:pt x="795338" y="440055"/>
                  </a:cubicBezTo>
                  <a:cubicBezTo>
                    <a:pt x="795338" y="449580"/>
                    <a:pt x="793433" y="457200"/>
                    <a:pt x="789623" y="464820"/>
                  </a:cubicBezTo>
                  <a:cubicBezTo>
                    <a:pt x="785813" y="472440"/>
                    <a:pt x="781050" y="478155"/>
                    <a:pt x="775335" y="482917"/>
                  </a:cubicBezTo>
                  <a:cubicBezTo>
                    <a:pt x="769620" y="487680"/>
                    <a:pt x="762953" y="491490"/>
                    <a:pt x="754380" y="494348"/>
                  </a:cubicBezTo>
                  <a:cubicBezTo>
                    <a:pt x="746760" y="497205"/>
                    <a:pt x="738188" y="498157"/>
                    <a:pt x="728663" y="498157"/>
                  </a:cubicBezTo>
                  <a:cubicBezTo>
                    <a:pt x="712470" y="498157"/>
                    <a:pt x="698183" y="495300"/>
                    <a:pt x="685800" y="489585"/>
                  </a:cubicBezTo>
                  <a:cubicBezTo>
                    <a:pt x="675323" y="484823"/>
                    <a:pt x="664845" y="476250"/>
                    <a:pt x="656273" y="466725"/>
                  </a:cubicBezTo>
                  <a:close/>
                  <a:moveTo>
                    <a:pt x="814388" y="333375"/>
                  </a:moveTo>
                  <a:lnTo>
                    <a:pt x="814388" y="297180"/>
                  </a:lnTo>
                  <a:lnTo>
                    <a:pt x="975360" y="297180"/>
                  </a:lnTo>
                  <a:lnTo>
                    <a:pt x="975360" y="333375"/>
                  </a:lnTo>
                  <a:lnTo>
                    <a:pt x="914400" y="333375"/>
                  </a:lnTo>
                  <a:lnTo>
                    <a:pt x="914400" y="493395"/>
                  </a:lnTo>
                  <a:lnTo>
                    <a:pt x="874395" y="493395"/>
                  </a:lnTo>
                  <a:lnTo>
                    <a:pt x="874395" y="333375"/>
                  </a:lnTo>
                  <a:lnTo>
                    <a:pt x="814388" y="333375"/>
                  </a:lnTo>
                  <a:close/>
                  <a:moveTo>
                    <a:pt x="1011555" y="493395"/>
                  </a:moveTo>
                  <a:lnTo>
                    <a:pt x="1011555" y="296228"/>
                  </a:lnTo>
                  <a:lnTo>
                    <a:pt x="1071563" y="296228"/>
                  </a:lnTo>
                  <a:cubicBezTo>
                    <a:pt x="1093470" y="296228"/>
                    <a:pt x="1110615" y="301942"/>
                    <a:pt x="1122998" y="312420"/>
                  </a:cubicBezTo>
                  <a:cubicBezTo>
                    <a:pt x="1135380" y="322898"/>
                    <a:pt x="1142048" y="337185"/>
                    <a:pt x="1142048" y="355282"/>
                  </a:cubicBezTo>
                  <a:cubicBezTo>
                    <a:pt x="1142048" y="366713"/>
                    <a:pt x="1139190" y="377190"/>
                    <a:pt x="1133475" y="385763"/>
                  </a:cubicBezTo>
                  <a:cubicBezTo>
                    <a:pt x="1127760" y="394335"/>
                    <a:pt x="1120140" y="401003"/>
                    <a:pt x="1110615" y="405765"/>
                  </a:cubicBezTo>
                  <a:lnTo>
                    <a:pt x="1172528" y="492442"/>
                  </a:lnTo>
                  <a:lnTo>
                    <a:pt x="1124903" y="492442"/>
                  </a:lnTo>
                  <a:lnTo>
                    <a:pt x="1072515" y="413385"/>
                  </a:lnTo>
                  <a:lnTo>
                    <a:pt x="1051560" y="413385"/>
                  </a:lnTo>
                  <a:lnTo>
                    <a:pt x="1051560" y="492442"/>
                  </a:lnTo>
                  <a:lnTo>
                    <a:pt x="1011555" y="492442"/>
                  </a:lnTo>
                  <a:close/>
                  <a:moveTo>
                    <a:pt x="1073468" y="330517"/>
                  </a:moveTo>
                  <a:lnTo>
                    <a:pt x="1050608" y="330517"/>
                  </a:lnTo>
                  <a:lnTo>
                    <a:pt x="1050608" y="380048"/>
                  </a:lnTo>
                  <a:lnTo>
                    <a:pt x="1073468" y="380048"/>
                  </a:lnTo>
                  <a:cubicBezTo>
                    <a:pt x="1082040" y="380048"/>
                    <a:pt x="1088708" y="378142"/>
                    <a:pt x="1093470" y="373380"/>
                  </a:cubicBezTo>
                  <a:cubicBezTo>
                    <a:pt x="1098233" y="368617"/>
                    <a:pt x="1100138" y="362903"/>
                    <a:pt x="1100138" y="355282"/>
                  </a:cubicBezTo>
                  <a:cubicBezTo>
                    <a:pt x="1100138" y="347663"/>
                    <a:pt x="1098233" y="341948"/>
                    <a:pt x="1093470" y="337185"/>
                  </a:cubicBezTo>
                  <a:cubicBezTo>
                    <a:pt x="1088708" y="333375"/>
                    <a:pt x="1082040" y="330517"/>
                    <a:pt x="1073468" y="330517"/>
                  </a:cubicBezTo>
                  <a:close/>
                  <a:moveTo>
                    <a:pt x="1196340" y="493395"/>
                  </a:moveTo>
                  <a:lnTo>
                    <a:pt x="1196340" y="296228"/>
                  </a:lnTo>
                  <a:lnTo>
                    <a:pt x="1310640" y="296228"/>
                  </a:lnTo>
                  <a:lnTo>
                    <a:pt x="1310640" y="330517"/>
                  </a:lnTo>
                  <a:lnTo>
                    <a:pt x="1236345" y="330517"/>
                  </a:lnTo>
                  <a:lnTo>
                    <a:pt x="1236345" y="376238"/>
                  </a:lnTo>
                  <a:lnTo>
                    <a:pt x="1300163" y="376238"/>
                  </a:lnTo>
                  <a:lnTo>
                    <a:pt x="1300163" y="410528"/>
                  </a:lnTo>
                  <a:lnTo>
                    <a:pt x="1236345" y="410528"/>
                  </a:lnTo>
                  <a:lnTo>
                    <a:pt x="1236345" y="460057"/>
                  </a:lnTo>
                  <a:lnTo>
                    <a:pt x="1310640" y="460057"/>
                  </a:lnTo>
                  <a:lnTo>
                    <a:pt x="1310640" y="494348"/>
                  </a:lnTo>
                  <a:lnTo>
                    <a:pt x="1196340" y="494348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grpSp>
          <p:nvGrpSpPr>
            <p:cNvPr id="14" name="Graphique 2">
              <a:extLst>
                <a:ext uri="{FF2B5EF4-FFF2-40B4-BE49-F238E27FC236}">
                  <a16:creationId xmlns:a16="http://schemas.microsoft.com/office/drawing/2014/main" id="{4D4D293E-56FA-4F1F-9288-840887C23D75}"/>
                </a:ext>
              </a:extLst>
            </p:cNvPr>
            <p:cNvGrpSpPr/>
            <p:nvPr/>
          </p:nvGrpSpPr>
          <p:grpSpPr>
            <a:xfrm>
              <a:off x="270509" y="269557"/>
              <a:ext cx="744854" cy="270510"/>
              <a:chOff x="270509" y="269557"/>
              <a:chExt cx="744854" cy="270510"/>
            </a:xfrm>
          </p:grpSpPr>
          <p:sp>
            <p:nvSpPr>
              <p:cNvPr id="15" name="Forme libre : forme 14">
                <a:extLst>
                  <a:ext uri="{FF2B5EF4-FFF2-40B4-BE49-F238E27FC236}">
                    <a16:creationId xmlns:a16="http://schemas.microsoft.com/office/drawing/2014/main" id="{483E0F0C-A8F0-4FF9-9961-5AADCDD869C5}"/>
                  </a:ext>
                </a:extLst>
              </p:cNvPr>
              <p:cNvSpPr/>
              <p:nvPr/>
            </p:nvSpPr>
            <p:spPr>
              <a:xfrm>
                <a:off x="419100" y="270509"/>
                <a:ext cx="359871" cy="268604"/>
              </a:xfrm>
              <a:custGeom>
                <a:avLst/>
                <a:gdLst>
                  <a:gd name="connsiteX0" fmla="*/ 158115 w 359871"/>
                  <a:gd name="connsiteY0" fmla="*/ 237173 h 268604"/>
                  <a:gd name="connsiteX1" fmla="*/ 166688 w 359871"/>
                  <a:gd name="connsiteY1" fmla="*/ 227648 h 268604"/>
                  <a:gd name="connsiteX2" fmla="*/ 166688 w 359871"/>
                  <a:gd name="connsiteY2" fmla="*/ 227648 h 268604"/>
                  <a:gd name="connsiteX3" fmla="*/ 183833 w 359871"/>
                  <a:gd name="connsiteY3" fmla="*/ 210503 h 268604"/>
                  <a:gd name="connsiteX4" fmla="*/ 189548 w 359871"/>
                  <a:gd name="connsiteY4" fmla="*/ 205740 h 268604"/>
                  <a:gd name="connsiteX5" fmla="*/ 190500 w 359871"/>
                  <a:gd name="connsiteY5" fmla="*/ 203835 h 268604"/>
                  <a:gd name="connsiteX6" fmla="*/ 183833 w 359871"/>
                  <a:gd name="connsiteY6" fmla="*/ 207645 h 268604"/>
                  <a:gd name="connsiteX7" fmla="*/ 182880 w 359871"/>
                  <a:gd name="connsiteY7" fmla="*/ 206692 h 268604"/>
                  <a:gd name="connsiteX8" fmla="*/ 188595 w 359871"/>
                  <a:gd name="connsiteY8" fmla="*/ 202883 h 268604"/>
                  <a:gd name="connsiteX9" fmla="*/ 188595 w 359871"/>
                  <a:gd name="connsiteY9" fmla="*/ 202883 h 268604"/>
                  <a:gd name="connsiteX10" fmla="*/ 187643 w 359871"/>
                  <a:gd name="connsiteY10" fmla="*/ 201930 h 268604"/>
                  <a:gd name="connsiteX11" fmla="*/ 171450 w 359871"/>
                  <a:gd name="connsiteY11" fmla="*/ 210503 h 268604"/>
                  <a:gd name="connsiteX12" fmla="*/ 168593 w 359871"/>
                  <a:gd name="connsiteY12" fmla="*/ 209550 h 268604"/>
                  <a:gd name="connsiteX13" fmla="*/ 147638 w 359871"/>
                  <a:gd name="connsiteY13" fmla="*/ 221933 h 268604"/>
                  <a:gd name="connsiteX14" fmla="*/ 147638 w 359871"/>
                  <a:gd name="connsiteY14" fmla="*/ 220980 h 268604"/>
                  <a:gd name="connsiteX15" fmla="*/ 138113 w 359871"/>
                  <a:gd name="connsiteY15" fmla="*/ 224790 h 268604"/>
                  <a:gd name="connsiteX16" fmla="*/ 125730 w 359871"/>
                  <a:gd name="connsiteY16" fmla="*/ 225742 h 268604"/>
                  <a:gd name="connsiteX17" fmla="*/ 107632 w 359871"/>
                  <a:gd name="connsiteY17" fmla="*/ 228600 h 268604"/>
                  <a:gd name="connsiteX18" fmla="*/ 106680 w 359871"/>
                  <a:gd name="connsiteY18" fmla="*/ 228600 h 268604"/>
                  <a:gd name="connsiteX19" fmla="*/ 97155 w 359871"/>
                  <a:gd name="connsiteY19" fmla="*/ 232410 h 268604"/>
                  <a:gd name="connsiteX20" fmla="*/ 97155 w 359871"/>
                  <a:gd name="connsiteY20" fmla="*/ 232410 h 268604"/>
                  <a:gd name="connsiteX21" fmla="*/ 96202 w 359871"/>
                  <a:gd name="connsiteY21" fmla="*/ 233363 h 268604"/>
                  <a:gd name="connsiteX22" fmla="*/ 92393 w 359871"/>
                  <a:gd name="connsiteY22" fmla="*/ 236220 h 268604"/>
                  <a:gd name="connsiteX23" fmla="*/ 83820 w 359871"/>
                  <a:gd name="connsiteY23" fmla="*/ 242888 h 268604"/>
                  <a:gd name="connsiteX24" fmla="*/ 82868 w 359871"/>
                  <a:gd name="connsiteY24" fmla="*/ 242888 h 268604"/>
                  <a:gd name="connsiteX25" fmla="*/ 74295 w 359871"/>
                  <a:gd name="connsiteY25" fmla="*/ 250508 h 268604"/>
                  <a:gd name="connsiteX26" fmla="*/ 72390 w 359871"/>
                  <a:gd name="connsiteY26" fmla="*/ 250508 h 268604"/>
                  <a:gd name="connsiteX27" fmla="*/ 72390 w 359871"/>
                  <a:gd name="connsiteY27" fmla="*/ 250508 h 268604"/>
                  <a:gd name="connsiteX28" fmla="*/ 72390 w 359871"/>
                  <a:gd name="connsiteY28" fmla="*/ 249555 h 268604"/>
                  <a:gd name="connsiteX29" fmla="*/ 73343 w 359871"/>
                  <a:gd name="connsiteY29" fmla="*/ 247650 h 268604"/>
                  <a:gd name="connsiteX30" fmla="*/ 75248 w 359871"/>
                  <a:gd name="connsiteY30" fmla="*/ 245745 h 268604"/>
                  <a:gd name="connsiteX31" fmla="*/ 77152 w 359871"/>
                  <a:gd name="connsiteY31" fmla="*/ 242888 h 268604"/>
                  <a:gd name="connsiteX32" fmla="*/ 77152 w 359871"/>
                  <a:gd name="connsiteY32" fmla="*/ 241935 h 268604"/>
                  <a:gd name="connsiteX33" fmla="*/ 76200 w 359871"/>
                  <a:gd name="connsiteY33" fmla="*/ 241935 h 268604"/>
                  <a:gd name="connsiteX34" fmla="*/ 84773 w 359871"/>
                  <a:gd name="connsiteY34" fmla="*/ 235267 h 268604"/>
                  <a:gd name="connsiteX35" fmla="*/ 84773 w 359871"/>
                  <a:gd name="connsiteY35" fmla="*/ 235267 h 268604"/>
                  <a:gd name="connsiteX36" fmla="*/ 83820 w 359871"/>
                  <a:gd name="connsiteY36" fmla="*/ 234315 h 268604"/>
                  <a:gd name="connsiteX37" fmla="*/ 84773 w 359871"/>
                  <a:gd name="connsiteY37" fmla="*/ 233363 h 268604"/>
                  <a:gd name="connsiteX38" fmla="*/ 84773 w 359871"/>
                  <a:gd name="connsiteY38" fmla="*/ 233363 h 268604"/>
                  <a:gd name="connsiteX39" fmla="*/ 84773 w 359871"/>
                  <a:gd name="connsiteY39" fmla="*/ 233363 h 268604"/>
                  <a:gd name="connsiteX40" fmla="*/ 84773 w 359871"/>
                  <a:gd name="connsiteY40" fmla="*/ 234315 h 268604"/>
                  <a:gd name="connsiteX41" fmla="*/ 80963 w 359871"/>
                  <a:gd name="connsiteY41" fmla="*/ 237173 h 268604"/>
                  <a:gd name="connsiteX42" fmla="*/ 80010 w 359871"/>
                  <a:gd name="connsiteY42" fmla="*/ 237173 h 268604"/>
                  <a:gd name="connsiteX43" fmla="*/ 79057 w 359871"/>
                  <a:gd name="connsiteY43" fmla="*/ 237173 h 268604"/>
                  <a:gd name="connsiteX44" fmla="*/ 79057 w 359871"/>
                  <a:gd name="connsiteY44" fmla="*/ 237173 h 268604"/>
                  <a:gd name="connsiteX45" fmla="*/ 79057 w 359871"/>
                  <a:gd name="connsiteY45" fmla="*/ 237173 h 268604"/>
                  <a:gd name="connsiteX46" fmla="*/ 79057 w 359871"/>
                  <a:gd name="connsiteY46" fmla="*/ 237173 h 268604"/>
                  <a:gd name="connsiteX47" fmla="*/ 79057 w 359871"/>
                  <a:gd name="connsiteY47" fmla="*/ 237173 h 268604"/>
                  <a:gd name="connsiteX48" fmla="*/ 79057 w 359871"/>
                  <a:gd name="connsiteY48" fmla="*/ 237173 h 268604"/>
                  <a:gd name="connsiteX49" fmla="*/ 79057 w 359871"/>
                  <a:gd name="connsiteY49" fmla="*/ 237173 h 268604"/>
                  <a:gd name="connsiteX50" fmla="*/ 79057 w 359871"/>
                  <a:gd name="connsiteY50" fmla="*/ 236220 h 268604"/>
                  <a:gd name="connsiteX51" fmla="*/ 79057 w 359871"/>
                  <a:gd name="connsiteY51" fmla="*/ 236220 h 268604"/>
                  <a:gd name="connsiteX52" fmla="*/ 80010 w 359871"/>
                  <a:gd name="connsiteY52" fmla="*/ 235267 h 268604"/>
                  <a:gd name="connsiteX53" fmla="*/ 80010 w 359871"/>
                  <a:gd name="connsiteY53" fmla="*/ 234315 h 268604"/>
                  <a:gd name="connsiteX54" fmla="*/ 80963 w 359871"/>
                  <a:gd name="connsiteY54" fmla="*/ 233363 h 268604"/>
                  <a:gd name="connsiteX55" fmla="*/ 80963 w 359871"/>
                  <a:gd name="connsiteY55" fmla="*/ 232410 h 268604"/>
                  <a:gd name="connsiteX56" fmla="*/ 84773 w 359871"/>
                  <a:gd name="connsiteY56" fmla="*/ 229553 h 268604"/>
                  <a:gd name="connsiteX57" fmla="*/ 84773 w 359871"/>
                  <a:gd name="connsiteY57" fmla="*/ 229553 h 268604"/>
                  <a:gd name="connsiteX58" fmla="*/ 90488 w 359871"/>
                  <a:gd name="connsiteY58" fmla="*/ 226695 h 268604"/>
                  <a:gd name="connsiteX59" fmla="*/ 91440 w 359871"/>
                  <a:gd name="connsiteY59" fmla="*/ 225742 h 268604"/>
                  <a:gd name="connsiteX60" fmla="*/ 82868 w 359871"/>
                  <a:gd name="connsiteY60" fmla="*/ 229553 h 268604"/>
                  <a:gd name="connsiteX61" fmla="*/ 81915 w 359871"/>
                  <a:gd name="connsiteY61" fmla="*/ 229553 h 268604"/>
                  <a:gd name="connsiteX62" fmla="*/ 80963 w 359871"/>
                  <a:gd name="connsiteY62" fmla="*/ 229553 h 268604"/>
                  <a:gd name="connsiteX63" fmla="*/ 80963 w 359871"/>
                  <a:gd name="connsiteY63" fmla="*/ 229553 h 268604"/>
                  <a:gd name="connsiteX64" fmla="*/ 83820 w 359871"/>
                  <a:gd name="connsiteY64" fmla="*/ 226695 h 268604"/>
                  <a:gd name="connsiteX65" fmla="*/ 84773 w 359871"/>
                  <a:gd name="connsiteY65" fmla="*/ 227648 h 268604"/>
                  <a:gd name="connsiteX66" fmla="*/ 142875 w 359871"/>
                  <a:gd name="connsiteY66" fmla="*/ 211455 h 268604"/>
                  <a:gd name="connsiteX67" fmla="*/ 147638 w 359871"/>
                  <a:gd name="connsiteY67" fmla="*/ 208598 h 268604"/>
                  <a:gd name="connsiteX68" fmla="*/ 155258 w 359871"/>
                  <a:gd name="connsiteY68" fmla="*/ 203835 h 268604"/>
                  <a:gd name="connsiteX69" fmla="*/ 163830 w 359871"/>
                  <a:gd name="connsiteY69" fmla="*/ 192405 h 268604"/>
                  <a:gd name="connsiteX70" fmla="*/ 162877 w 359871"/>
                  <a:gd name="connsiteY70" fmla="*/ 191453 h 268604"/>
                  <a:gd name="connsiteX71" fmla="*/ 140018 w 359871"/>
                  <a:gd name="connsiteY71" fmla="*/ 208598 h 268604"/>
                  <a:gd name="connsiteX72" fmla="*/ 106680 w 359871"/>
                  <a:gd name="connsiteY72" fmla="*/ 214313 h 268604"/>
                  <a:gd name="connsiteX73" fmla="*/ 109538 w 359871"/>
                  <a:gd name="connsiteY73" fmla="*/ 213360 h 268604"/>
                  <a:gd name="connsiteX74" fmla="*/ 111443 w 359871"/>
                  <a:gd name="connsiteY74" fmla="*/ 210503 h 268604"/>
                  <a:gd name="connsiteX75" fmla="*/ 113348 w 359871"/>
                  <a:gd name="connsiteY75" fmla="*/ 210503 h 268604"/>
                  <a:gd name="connsiteX76" fmla="*/ 114300 w 359871"/>
                  <a:gd name="connsiteY76" fmla="*/ 209550 h 268604"/>
                  <a:gd name="connsiteX77" fmla="*/ 116205 w 359871"/>
                  <a:gd name="connsiteY77" fmla="*/ 208598 h 268604"/>
                  <a:gd name="connsiteX78" fmla="*/ 108585 w 359871"/>
                  <a:gd name="connsiteY78" fmla="*/ 208598 h 268604"/>
                  <a:gd name="connsiteX79" fmla="*/ 110490 w 359871"/>
                  <a:gd name="connsiteY79" fmla="*/ 205740 h 268604"/>
                  <a:gd name="connsiteX80" fmla="*/ 112395 w 359871"/>
                  <a:gd name="connsiteY80" fmla="*/ 205740 h 268604"/>
                  <a:gd name="connsiteX81" fmla="*/ 113348 w 359871"/>
                  <a:gd name="connsiteY81" fmla="*/ 203835 h 268604"/>
                  <a:gd name="connsiteX82" fmla="*/ 135255 w 359871"/>
                  <a:gd name="connsiteY82" fmla="*/ 191453 h 268604"/>
                  <a:gd name="connsiteX83" fmla="*/ 131445 w 359871"/>
                  <a:gd name="connsiteY83" fmla="*/ 192405 h 268604"/>
                  <a:gd name="connsiteX84" fmla="*/ 132398 w 359871"/>
                  <a:gd name="connsiteY84" fmla="*/ 190500 h 268604"/>
                  <a:gd name="connsiteX85" fmla="*/ 148590 w 359871"/>
                  <a:gd name="connsiteY85" fmla="*/ 183833 h 268604"/>
                  <a:gd name="connsiteX86" fmla="*/ 142875 w 359871"/>
                  <a:gd name="connsiteY86" fmla="*/ 183833 h 268604"/>
                  <a:gd name="connsiteX87" fmla="*/ 145733 w 359871"/>
                  <a:gd name="connsiteY87" fmla="*/ 181928 h 268604"/>
                  <a:gd name="connsiteX88" fmla="*/ 145733 w 359871"/>
                  <a:gd name="connsiteY88" fmla="*/ 180023 h 268604"/>
                  <a:gd name="connsiteX89" fmla="*/ 146685 w 359871"/>
                  <a:gd name="connsiteY89" fmla="*/ 179070 h 268604"/>
                  <a:gd name="connsiteX90" fmla="*/ 145733 w 359871"/>
                  <a:gd name="connsiteY90" fmla="*/ 178117 h 268604"/>
                  <a:gd name="connsiteX91" fmla="*/ 148590 w 359871"/>
                  <a:gd name="connsiteY91" fmla="*/ 176213 h 268604"/>
                  <a:gd name="connsiteX92" fmla="*/ 146685 w 359871"/>
                  <a:gd name="connsiteY92" fmla="*/ 175260 h 268604"/>
                  <a:gd name="connsiteX93" fmla="*/ 153352 w 359871"/>
                  <a:gd name="connsiteY93" fmla="*/ 172403 h 268604"/>
                  <a:gd name="connsiteX94" fmla="*/ 151448 w 359871"/>
                  <a:gd name="connsiteY94" fmla="*/ 171450 h 268604"/>
                  <a:gd name="connsiteX95" fmla="*/ 152400 w 359871"/>
                  <a:gd name="connsiteY95" fmla="*/ 170498 h 268604"/>
                  <a:gd name="connsiteX96" fmla="*/ 152400 w 359871"/>
                  <a:gd name="connsiteY96" fmla="*/ 170498 h 268604"/>
                  <a:gd name="connsiteX97" fmla="*/ 151448 w 359871"/>
                  <a:gd name="connsiteY97" fmla="*/ 168592 h 268604"/>
                  <a:gd name="connsiteX98" fmla="*/ 156210 w 359871"/>
                  <a:gd name="connsiteY98" fmla="*/ 156210 h 268604"/>
                  <a:gd name="connsiteX99" fmla="*/ 155258 w 359871"/>
                  <a:gd name="connsiteY99" fmla="*/ 155258 h 268604"/>
                  <a:gd name="connsiteX100" fmla="*/ 134302 w 359871"/>
                  <a:gd name="connsiteY100" fmla="*/ 164783 h 268604"/>
                  <a:gd name="connsiteX101" fmla="*/ 131445 w 359871"/>
                  <a:gd name="connsiteY101" fmla="*/ 164783 h 268604"/>
                  <a:gd name="connsiteX102" fmla="*/ 122873 w 359871"/>
                  <a:gd name="connsiteY102" fmla="*/ 163830 h 268604"/>
                  <a:gd name="connsiteX103" fmla="*/ 118110 w 359871"/>
                  <a:gd name="connsiteY103" fmla="*/ 160020 h 268604"/>
                  <a:gd name="connsiteX104" fmla="*/ 105727 w 359871"/>
                  <a:gd name="connsiteY104" fmla="*/ 154305 h 268604"/>
                  <a:gd name="connsiteX105" fmla="*/ 66675 w 359871"/>
                  <a:gd name="connsiteY105" fmla="*/ 148590 h 268604"/>
                  <a:gd name="connsiteX106" fmla="*/ 84773 w 359871"/>
                  <a:gd name="connsiteY106" fmla="*/ 143828 h 268604"/>
                  <a:gd name="connsiteX107" fmla="*/ 110490 w 359871"/>
                  <a:gd name="connsiteY107" fmla="*/ 139065 h 268604"/>
                  <a:gd name="connsiteX108" fmla="*/ 105727 w 359871"/>
                  <a:gd name="connsiteY108" fmla="*/ 139065 h 268604"/>
                  <a:gd name="connsiteX109" fmla="*/ 83820 w 359871"/>
                  <a:gd name="connsiteY109" fmla="*/ 141923 h 268604"/>
                  <a:gd name="connsiteX110" fmla="*/ 68580 w 359871"/>
                  <a:gd name="connsiteY110" fmla="*/ 145733 h 268604"/>
                  <a:gd name="connsiteX111" fmla="*/ 60007 w 359871"/>
                  <a:gd name="connsiteY111" fmla="*/ 149542 h 268604"/>
                  <a:gd name="connsiteX112" fmla="*/ 60007 w 359871"/>
                  <a:gd name="connsiteY112" fmla="*/ 147638 h 268604"/>
                  <a:gd name="connsiteX113" fmla="*/ 79057 w 359871"/>
                  <a:gd name="connsiteY113" fmla="*/ 135255 h 268604"/>
                  <a:gd name="connsiteX114" fmla="*/ 105727 w 359871"/>
                  <a:gd name="connsiteY114" fmla="*/ 136208 h 268604"/>
                  <a:gd name="connsiteX115" fmla="*/ 124777 w 359871"/>
                  <a:gd name="connsiteY115" fmla="*/ 140017 h 268604"/>
                  <a:gd name="connsiteX116" fmla="*/ 129540 w 359871"/>
                  <a:gd name="connsiteY116" fmla="*/ 144780 h 268604"/>
                  <a:gd name="connsiteX117" fmla="*/ 139065 w 359871"/>
                  <a:gd name="connsiteY117" fmla="*/ 146685 h 268604"/>
                  <a:gd name="connsiteX118" fmla="*/ 139065 w 359871"/>
                  <a:gd name="connsiteY118" fmla="*/ 143828 h 268604"/>
                  <a:gd name="connsiteX119" fmla="*/ 145733 w 359871"/>
                  <a:gd name="connsiteY119" fmla="*/ 142875 h 268604"/>
                  <a:gd name="connsiteX120" fmla="*/ 140018 w 359871"/>
                  <a:gd name="connsiteY120" fmla="*/ 132398 h 268604"/>
                  <a:gd name="connsiteX121" fmla="*/ 140970 w 359871"/>
                  <a:gd name="connsiteY121" fmla="*/ 131445 h 268604"/>
                  <a:gd name="connsiteX122" fmla="*/ 153352 w 359871"/>
                  <a:gd name="connsiteY122" fmla="*/ 141923 h 268604"/>
                  <a:gd name="connsiteX123" fmla="*/ 160973 w 359871"/>
                  <a:gd name="connsiteY123" fmla="*/ 140970 h 268604"/>
                  <a:gd name="connsiteX124" fmla="*/ 149543 w 359871"/>
                  <a:gd name="connsiteY124" fmla="*/ 125730 h 268604"/>
                  <a:gd name="connsiteX125" fmla="*/ 149543 w 359871"/>
                  <a:gd name="connsiteY125" fmla="*/ 123825 h 268604"/>
                  <a:gd name="connsiteX126" fmla="*/ 147638 w 359871"/>
                  <a:gd name="connsiteY126" fmla="*/ 122873 h 268604"/>
                  <a:gd name="connsiteX127" fmla="*/ 147638 w 359871"/>
                  <a:gd name="connsiteY127" fmla="*/ 120015 h 268604"/>
                  <a:gd name="connsiteX128" fmla="*/ 144780 w 359871"/>
                  <a:gd name="connsiteY128" fmla="*/ 115253 h 268604"/>
                  <a:gd name="connsiteX129" fmla="*/ 142875 w 359871"/>
                  <a:gd name="connsiteY129" fmla="*/ 105728 h 268604"/>
                  <a:gd name="connsiteX130" fmla="*/ 141923 w 359871"/>
                  <a:gd name="connsiteY130" fmla="*/ 98108 h 268604"/>
                  <a:gd name="connsiteX131" fmla="*/ 137160 w 359871"/>
                  <a:gd name="connsiteY131" fmla="*/ 73342 h 268604"/>
                  <a:gd name="connsiteX132" fmla="*/ 147638 w 359871"/>
                  <a:gd name="connsiteY132" fmla="*/ 47625 h 268604"/>
                  <a:gd name="connsiteX133" fmla="*/ 161925 w 359871"/>
                  <a:gd name="connsiteY133" fmla="*/ 31433 h 268604"/>
                  <a:gd name="connsiteX134" fmla="*/ 171450 w 359871"/>
                  <a:gd name="connsiteY134" fmla="*/ 15240 h 268604"/>
                  <a:gd name="connsiteX135" fmla="*/ 187643 w 359871"/>
                  <a:gd name="connsiteY135" fmla="*/ 4763 h 268604"/>
                  <a:gd name="connsiteX136" fmla="*/ 200977 w 359871"/>
                  <a:gd name="connsiteY136" fmla="*/ 0 h 268604"/>
                  <a:gd name="connsiteX137" fmla="*/ 302895 w 359871"/>
                  <a:gd name="connsiteY137" fmla="*/ 0 h 268604"/>
                  <a:gd name="connsiteX138" fmla="*/ 305753 w 359871"/>
                  <a:gd name="connsiteY138" fmla="*/ 953 h 268604"/>
                  <a:gd name="connsiteX139" fmla="*/ 313373 w 359871"/>
                  <a:gd name="connsiteY139" fmla="*/ 4763 h 268604"/>
                  <a:gd name="connsiteX140" fmla="*/ 322898 w 359871"/>
                  <a:gd name="connsiteY140" fmla="*/ 13335 h 268604"/>
                  <a:gd name="connsiteX141" fmla="*/ 324803 w 359871"/>
                  <a:gd name="connsiteY141" fmla="*/ 20003 h 268604"/>
                  <a:gd name="connsiteX142" fmla="*/ 320992 w 359871"/>
                  <a:gd name="connsiteY142" fmla="*/ 27622 h 268604"/>
                  <a:gd name="connsiteX143" fmla="*/ 310515 w 359871"/>
                  <a:gd name="connsiteY143" fmla="*/ 28575 h 268604"/>
                  <a:gd name="connsiteX144" fmla="*/ 304800 w 359871"/>
                  <a:gd name="connsiteY144" fmla="*/ 27622 h 268604"/>
                  <a:gd name="connsiteX145" fmla="*/ 324803 w 359871"/>
                  <a:gd name="connsiteY145" fmla="*/ 40958 h 268604"/>
                  <a:gd name="connsiteX146" fmla="*/ 329565 w 359871"/>
                  <a:gd name="connsiteY146" fmla="*/ 42863 h 268604"/>
                  <a:gd name="connsiteX147" fmla="*/ 330517 w 359871"/>
                  <a:gd name="connsiteY147" fmla="*/ 44767 h 268604"/>
                  <a:gd name="connsiteX148" fmla="*/ 328613 w 359871"/>
                  <a:gd name="connsiteY148" fmla="*/ 47625 h 268604"/>
                  <a:gd name="connsiteX149" fmla="*/ 330517 w 359871"/>
                  <a:gd name="connsiteY149" fmla="*/ 47625 h 268604"/>
                  <a:gd name="connsiteX150" fmla="*/ 336233 w 359871"/>
                  <a:gd name="connsiteY150" fmla="*/ 42863 h 268604"/>
                  <a:gd name="connsiteX151" fmla="*/ 338138 w 359871"/>
                  <a:gd name="connsiteY151" fmla="*/ 50483 h 268604"/>
                  <a:gd name="connsiteX152" fmla="*/ 332423 w 359871"/>
                  <a:gd name="connsiteY152" fmla="*/ 55245 h 268604"/>
                  <a:gd name="connsiteX153" fmla="*/ 332423 w 359871"/>
                  <a:gd name="connsiteY153" fmla="*/ 59055 h 268604"/>
                  <a:gd name="connsiteX154" fmla="*/ 335280 w 359871"/>
                  <a:gd name="connsiteY154" fmla="*/ 64770 h 268604"/>
                  <a:gd name="connsiteX155" fmla="*/ 339090 w 359871"/>
                  <a:gd name="connsiteY155" fmla="*/ 76200 h 268604"/>
                  <a:gd name="connsiteX156" fmla="*/ 342900 w 359871"/>
                  <a:gd name="connsiteY156" fmla="*/ 99060 h 268604"/>
                  <a:gd name="connsiteX157" fmla="*/ 341948 w 359871"/>
                  <a:gd name="connsiteY157" fmla="*/ 110490 h 268604"/>
                  <a:gd name="connsiteX158" fmla="*/ 347663 w 359871"/>
                  <a:gd name="connsiteY158" fmla="*/ 120967 h 268604"/>
                  <a:gd name="connsiteX159" fmla="*/ 353378 w 359871"/>
                  <a:gd name="connsiteY159" fmla="*/ 129540 h 268604"/>
                  <a:gd name="connsiteX160" fmla="*/ 359092 w 359871"/>
                  <a:gd name="connsiteY160" fmla="*/ 145733 h 268604"/>
                  <a:gd name="connsiteX161" fmla="*/ 348615 w 359871"/>
                  <a:gd name="connsiteY161" fmla="*/ 150495 h 268604"/>
                  <a:gd name="connsiteX162" fmla="*/ 349567 w 359871"/>
                  <a:gd name="connsiteY162" fmla="*/ 160020 h 268604"/>
                  <a:gd name="connsiteX163" fmla="*/ 342900 w 359871"/>
                  <a:gd name="connsiteY163" fmla="*/ 169545 h 268604"/>
                  <a:gd name="connsiteX164" fmla="*/ 346710 w 359871"/>
                  <a:gd name="connsiteY164" fmla="*/ 171450 h 268604"/>
                  <a:gd name="connsiteX165" fmla="*/ 348615 w 359871"/>
                  <a:gd name="connsiteY165" fmla="*/ 178117 h 268604"/>
                  <a:gd name="connsiteX166" fmla="*/ 343853 w 359871"/>
                  <a:gd name="connsiteY166" fmla="*/ 187642 h 268604"/>
                  <a:gd name="connsiteX167" fmla="*/ 342900 w 359871"/>
                  <a:gd name="connsiteY167" fmla="*/ 199073 h 268604"/>
                  <a:gd name="connsiteX168" fmla="*/ 333375 w 359871"/>
                  <a:gd name="connsiteY168" fmla="*/ 206692 h 268604"/>
                  <a:gd name="connsiteX169" fmla="*/ 323850 w 359871"/>
                  <a:gd name="connsiteY169" fmla="*/ 207645 h 268604"/>
                  <a:gd name="connsiteX170" fmla="*/ 318135 w 359871"/>
                  <a:gd name="connsiteY170" fmla="*/ 205740 h 268604"/>
                  <a:gd name="connsiteX171" fmla="*/ 292417 w 359871"/>
                  <a:gd name="connsiteY171" fmla="*/ 201930 h 268604"/>
                  <a:gd name="connsiteX172" fmla="*/ 285750 w 359871"/>
                  <a:gd name="connsiteY172" fmla="*/ 203835 h 268604"/>
                  <a:gd name="connsiteX173" fmla="*/ 280035 w 359871"/>
                  <a:gd name="connsiteY173" fmla="*/ 209550 h 268604"/>
                  <a:gd name="connsiteX174" fmla="*/ 280035 w 359871"/>
                  <a:gd name="connsiteY174" fmla="*/ 209550 h 268604"/>
                  <a:gd name="connsiteX175" fmla="*/ 279083 w 359871"/>
                  <a:gd name="connsiteY175" fmla="*/ 210503 h 268604"/>
                  <a:gd name="connsiteX176" fmla="*/ 278130 w 359871"/>
                  <a:gd name="connsiteY176" fmla="*/ 211455 h 268604"/>
                  <a:gd name="connsiteX177" fmla="*/ 278130 w 359871"/>
                  <a:gd name="connsiteY177" fmla="*/ 212408 h 268604"/>
                  <a:gd name="connsiteX178" fmla="*/ 274320 w 359871"/>
                  <a:gd name="connsiteY178" fmla="*/ 218123 h 268604"/>
                  <a:gd name="connsiteX179" fmla="*/ 274320 w 359871"/>
                  <a:gd name="connsiteY179" fmla="*/ 218123 h 268604"/>
                  <a:gd name="connsiteX180" fmla="*/ 274320 w 359871"/>
                  <a:gd name="connsiteY180" fmla="*/ 219075 h 268604"/>
                  <a:gd name="connsiteX181" fmla="*/ 270510 w 359871"/>
                  <a:gd name="connsiteY181" fmla="*/ 228600 h 268604"/>
                  <a:gd name="connsiteX182" fmla="*/ 271463 w 359871"/>
                  <a:gd name="connsiteY182" fmla="*/ 252413 h 268604"/>
                  <a:gd name="connsiteX183" fmla="*/ 299085 w 359871"/>
                  <a:gd name="connsiteY183" fmla="*/ 262890 h 268604"/>
                  <a:gd name="connsiteX184" fmla="*/ 311467 w 359871"/>
                  <a:gd name="connsiteY184" fmla="*/ 268605 h 268604"/>
                  <a:gd name="connsiteX185" fmla="*/ 101918 w 359871"/>
                  <a:gd name="connsiteY185" fmla="*/ 268605 h 268604"/>
                  <a:gd name="connsiteX186" fmla="*/ 135255 w 359871"/>
                  <a:gd name="connsiteY186" fmla="*/ 251460 h 268604"/>
                  <a:gd name="connsiteX187" fmla="*/ 158115 w 359871"/>
                  <a:gd name="connsiteY187" fmla="*/ 237173 h 268604"/>
                  <a:gd name="connsiteX188" fmla="*/ 79057 w 359871"/>
                  <a:gd name="connsiteY188" fmla="*/ 200978 h 268604"/>
                  <a:gd name="connsiteX189" fmla="*/ 76200 w 359871"/>
                  <a:gd name="connsiteY189" fmla="*/ 200025 h 268604"/>
                  <a:gd name="connsiteX190" fmla="*/ 81915 w 359871"/>
                  <a:gd name="connsiteY190" fmla="*/ 196215 h 268604"/>
                  <a:gd name="connsiteX191" fmla="*/ 85725 w 359871"/>
                  <a:gd name="connsiteY191" fmla="*/ 195263 h 268604"/>
                  <a:gd name="connsiteX192" fmla="*/ 89535 w 359871"/>
                  <a:gd name="connsiteY192" fmla="*/ 197167 h 268604"/>
                  <a:gd name="connsiteX193" fmla="*/ 79057 w 359871"/>
                  <a:gd name="connsiteY193" fmla="*/ 200978 h 268604"/>
                  <a:gd name="connsiteX194" fmla="*/ 952 w 359871"/>
                  <a:gd name="connsiteY194" fmla="*/ 189548 h 268604"/>
                  <a:gd name="connsiteX195" fmla="*/ 0 w 359871"/>
                  <a:gd name="connsiteY195" fmla="*/ 188595 h 268604"/>
                  <a:gd name="connsiteX196" fmla="*/ 16193 w 359871"/>
                  <a:gd name="connsiteY196" fmla="*/ 162878 h 268604"/>
                  <a:gd name="connsiteX197" fmla="*/ 33338 w 359871"/>
                  <a:gd name="connsiteY197" fmla="*/ 148590 h 268604"/>
                  <a:gd name="connsiteX198" fmla="*/ 61913 w 359871"/>
                  <a:gd name="connsiteY198" fmla="*/ 125730 h 268604"/>
                  <a:gd name="connsiteX199" fmla="*/ 75248 w 359871"/>
                  <a:gd name="connsiteY199" fmla="*/ 126683 h 268604"/>
                  <a:gd name="connsiteX200" fmla="*/ 69532 w 359871"/>
                  <a:gd name="connsiteY200" fmla="*/ 129540 h 268604"/>
                  <a:gd name="connsiteX201" fmla="*/ 67627 w 359871"/>
                  <a:gd name="connsiteY201" fmla="*/ 128588 h 268604"/>
                  <a:gd name="connsiteX202" fmla="*/ 68580 w 359871"/>
                  <a:gd name="connsiteY202" fmla="*/ 126683 h 268604"/>
                  <a:gd name="connsiteX203" fmla="*/ 52388 w 359871"/>
                  <a:gd name="connsiteY203" fmla="*/ 141923 h 268604"/>
                  <a:gd name="connsiteX204" fmla="*/ 40957 w 359871"/>
                  <a:gd name="connsiteY204" fmla="*/ 155258 h 268604"/>
                  <a:gd name="connsiteX205" fmla="*/ 40005 w 359871"/>
                  <a:gd name="connsiteY205" fmla="*/ 154305 h 268604"/>
                  <a:gd name="connsiteX206" fmla="*/ 952 w 359871"/>
                  <a:gd name="connsiteY206" fmla="*/ 189548 h 268604"/>
                  <a:gd name="connsiteX207" fmla="*/ 43815 w 359871"/>
                  <a:gd name="connsiteY207" fmla="*/ 156210 h 268604"/>
                  <a:gd name="connsiteX208" fmla="*/ 41910 w 359871"/>
                  <a:gd name="connsiteY208" fmla="*/ 158115 h 268604"/>
                  <a:gd name="connsiteX209" fmla="*/ 40005 w 359871"/>
                  <a:gd name="connsiteY209" fmla="*/ 160020 h 268604"/>
                  <a:gd name="connsiteX210" fmla="*/ 39052 w 359871"/>
                  <a:gd name="connsiteY210" fmla="*/ 159067 h 268604"/>
                  <a:gd name="connsiteX211" fmla="*/ 42863 w 359871"/>
                  <a:gd name="connsiteY211" fmla="*/ 154305 h 268604"/>
                  <a:gd name="connsiteX212" fmla="*/ 43815 w 359871"/>
                  <a:gd name="connsiteY212" fmla="*/ 156210 h 268604"/>
                  <a:gd name="connsiteX213" fmla="*/ 67627 w 359871"/>
                  <a:gd name="connsiteY213" fmla="*/ 232410 h 268604"/>
                  <a:gd name="connsiteX214" fmla="*/ 66675 w 359871"/>
                  <a:gd name="connsiteY214" fmla="*/ 234315 h 268604"/>
                  <a:gd name="connsiteX215" fmla="*/ 67627 w 359871"/>
                  <a:gd name="connsiteY215" fmla="*/ 235267 h 268604"/>
                  <a:gd name="connsiteX216" fmla="*/ 63818 w 359871"/>
                  <a:gd name="connsiteY216" fmla="*/ 238125 h 268604"/>
                  <a:gd name="connsiteX217" fmla="*/ 62865 w 359871"/>
                  <a:gd name="connsiteY217" fmla="*/ 238125 h 268604"/>
                  <a:gd name="connsiteX218" fmla="*/ 60960 w 359871"/>
                  <a:gd name="connsiteY218" fmla="*/ 240030 h 268604"/>
                  <a:gd name="connsiteX219" fmla="*/ 58102 w 359871"/>
                  <a:gd name="connsiteY219" fmla="*/ 239078 h 268604"/>
                  <a:gd name="connsiteX220" fmla="*/ 61913 w 359871"/>
                  <a:gd name="connsiteY220" fmla="*/ 235267 h 268604"/>
                  <a:gd name="connsiteX221" fmla="*/ 63818 w 359871"/>
                  <a:gd name="connsiteY221" fmla="*/ 233363 h 268604"/>
                  <a:gd name="connsiteX222" fmla="*/ 64770 w 359871"/>
                  <a:gd name="connsiteY222" fmla="*/ 232410 h 268604"/>
                  <a:gd name="connsiteX223" fmla="*/ 67627 w 359871"/>
                  <a:gd name="connsiteY223" fmla="*/ 232410 h 268604"/>
                  <a:gd name="connsiteX224" fmla="*/ 58102 w 359871"/>
                  <a:gd name="connsiteY224" fmla="*/ 228600 h 268604"/>
                  <a:gd name="connsiteX225" fmla="*/ 58102 w 359871"/>
                  <a:gd name="connsiteY225" fmla="*/ 228600 h 268604"/>
                  <a:gd name="connsiteX226" fmla="*/ 52388 w 359871"/>
                  <a:gd name="connsiteY226" fmla="*/ 232410 h 268604"/>
                  <a:gd name="connsiteX227" fmla="*/ 45720 w 359871"/>
                  <a:gd name="connsiteY227" fmla="*/ 235267 h 268604"/>
                  <a:gd name="connsiteX228" fmla="*/ 45720 w 359871"/>
                  <a:gd name="connsiteY228" fmla="*/ 235267 h 268604"/>
                  <a:gd name="connsiteX229" fmla="*/ 44768 w 359871"/>
                  <a:gd name="connsiteY229" fmla="*/ 235267 h 268604"/>
                  <a:gd name="connsiteX230" fmla="*/ 40005 w 359871"/>
                  <a:gd name="connsiteY230" fmla="*/ 239078 h 268604"/>
                  <a:gd name="connsiteX231" fmla="*/ 39052 w 359871"/>
                  <a:gd name="connsiteY231" fmla="*/ 240030 h 268604"/>
                  <a:gd name="connsiteX232" fmla="*/ 39052 w 359871"/>
                  <a:gd name="connsiteY232" fmla="*/ 240030 h 268604"/>
                  <a:gd name="connsiteX233" fmla="*/ 39052 w 359871"/>
                  <a:gd name="connsiteY233" fmla="*/ 240030 h 268604"/>
                  <a:gd name="connsiteX234" fmla="*/ 38100 w 359871"/>
                  <a:gd name="connsiteY234" fmla="*/ 240983 h 268604"/>
                  <a:gd name="connsiteX235" fmla="*/ 38100 w 359871"/>
                  <a:gd name="connsiteY235" fmla="*/ 240983 h 268604"/>
                  <a:gd name="connsiteX236" fmla="*/ 38100 w 359871"/>
                  <a:gd name="connsiteY236" fmla="*/ 240983 h 268604"/>
                  <a:gd name="connsiteX237" fmla="*/ 37148 w 359871"/>
                  <a:gd name="connsiteY237" fmla="*/ 241935 h 268604"/>
                  <a:gd name="connsiteX238" fmla="*/ 36195 w 359871"/>
                  <a:gd name="connsiteY238" fmla="*/ 242888 h 268604"/>
                  <a:gd name="connsiteX239" fmla="*/ 35243 w 359871"/>
                  <a:gd name="connsiteY239" fmla="*/ 242888 h 268604"/>
                  <a:gd name="connsiteX240" fmla="*/ 35243 w 359871"/>
                  <a:gd name="connsiteY240" fmla="*/ 242888 h 268604"/>
                  <a:gd name="connsiteX241" fmla="*/ 34290 w 359871"/>
                  <a:gd name="connsiteY241" fmla="*/ 242888 h 268604"/>
                  <a:gd name="connsiteX242" fmla="*/ 33338 w 359871"/>
                  <a:gd name="connsiteY242" fmla="*/ 242888 h 268604"/>
                  <a:gd name="connsiteX243" fmla="*/ 33338 w 359871"/>
                  <a:gd name="connsiteY243" fmla="*/ 242888 h 268604"/>
                  <a:gd name="connsiteX244" fmla="*/ 33338 w 359871"/>
                  <a:gd name="connsiteY244" fmla="*/ 242888 h 268604"/>
                  <a:gd name="connsiteX245" fmla="*/ 31432 w 359871"/>
                  <a:gd name="connsiteY245" fmla="*/ 244792 h 268604"/>
                  <a:gd name="connsiteX246" fmla="*/ 28575 w 359871"/>
                  <a:gd name="connsiteY246" fmla="*/ 247650 h 268604"/>
                  <a:gd name="connsiteX247" fmla="*/ 28575 w 359871"/>
                  <a:gd name="connsiteY247" fmla="*/ 247650 h 268604"/>
                  <a:gd name="connsiteX248" fmla="*/ 28575 w 359871"/>
                  <a:gd name="connsiteY248" fmla="*/ 247650 h 268604"/>
                  <a:gd name="connsiteX249" fmla="*/ 28575 w 359871"/>
                  <a:gd name="connsiteY249" fmla="*/ 247650 h 268604"/>
                  <a:gd name="connsiteX250" fmla="*/ 28575 w 359871"/>
                  <a:gd name="connsiteY250" fmla="*/ 247650 h 268604"/>
                  <a:gd name="connsiteX251" fmla="*/ 28575 w 359871"/>
                  <a:gd name="connsiteY251" fmla="*/ 247650 h 268604"/>
                  <a:gd name="connsiteX252" fmla="*/ 28575 w 359871"/>
                  <a:gd name="connsiteY252" fmla="*/ 248603 h 268604"/>
                  <a:gd name="connsiteX253" fmla="*/ 28575 w 359871"/>
                  <a:gd name="connsiteY253" fmla="*/ 248603 h 268604"/>
                  <a:gd name="connsiteX254" fmla="*/ 28575 w 359871"/>
                  <a:gd name="connsiteY254" fmla="*/ 248603 h 268604"/>
                  <a:gd name="connsiteX255" fmla="*/ 28575 w 359871"/>
                  <a:gd name="connsiteY255" fmla="*/ 248603 h 268604"/>
                  <a:gd name="connsiteX256" fmla="*/ 28575 w 359871"/>
                  <a:gd name="connsiteY256" fmla="*/ 248603 h 268604"/>
                  <a:gd name="connsiteX257" fmla="*/ 28575 w 359871"/>
                  <a:gd name="connsiteY257" fmla="*/ 247650 h 268604"/>
                  <a:gd name="connsiteX258" fmla="*/ 28575 w 359871"/>
                  <a:gd name="connsiteY258" fmla="*/ 247650 h 268604"/>
                  <a:gd name="connsiteX259" fmla="*/ 28575 w 359871"/>
                  <a:gd name="connsiteY259" fmla="*/ 247650 h 268604"/>
                  <a:gd name="connsiteX260" fmla="*/ 30480 w 359871"/>
                  <a:gd name="connsiteY260" fmla="*/ 245745 h 268604"/>
                  <a:gd name="connsiteX261" fmla="*/ 30480 w 359871"/>
                  <a:gd name="connsiteY261" fmla="*/ 245745 h 268604"/>
                  <a:gd name="connsiteX262" fmla="*/ 31432 w 359871"/>
                  <a:gd name="connsiteY262" fmla="*/ 244792 h 268604"/>
                  <a:gd name="connsiteX263" fmla="*/ 32385 w 359871"/>
                  <a:gd name="connsiteY263" fmla="*/ 243840 h 268604"/>
                  <a:gd name="connsiteX264" fmla="*/ 32385 w 359871"/>
                  <a:gd name="connsiteY264" fmla="*/ 243840 h 268604"/>
                  <a:gd name="connsiteX265" fmla="*/ 34290 w 359871"/>
                  <a:gd name="connsiteY265" fmla="*/ 241935 h 268604"/>
                  <a:gd name="connsiteX266" fmla="*/ 34290 w 359871"/>
                  <a:gd name="connsiteY266" fmla="*/ 241935 h 268604"/>
                  <a:gd name="connsiteX267" fmla="*/ 34290 w 359871"/>
                  <a:gd name="connsiteY267" fmla="*/ 241935 h 268604"/>
                  <a:gd name="connsiteX268" fmla="*/ 35243 w 359871"/>
                  <a:gd name="connsiteY268" fmla="*/ 240983 h 268604"/>
                  <a:gd name="connsiteX269" fmla="*/ 36195 w 359871"/>
                  <a:gd name="connsiteY269" fmla="*/ 240030 h 268604"/>
                  <a:gd name="connsiteX270" fmla="*/ 36195 w 359871"/>
                  <a:gd name="connsiteY270" fmla="*/ 240030 h 268604"/>
                  <a:gd name="connsiteX271" fmla="*/ 36195 w 359871"/>
                  <a:gd name="connsiteY271" fmla="*/ 240030 h 268604"/>
                  <a:gd name="connsiteX272" fmla="*/ 36195 w 359871"/>
                  <a:gd name="connsiteY272" fmla="*/ 240030 h 268604"/>
                  <a:gd name="connsiteX273" fmla="*/ 37148 w 359871"/>
                  <a:gd name="connsiteY273" fmla="*/ 239078 h 268604"/>
                  <a:gd name="connsiteX274" fmla="*/ 37148 w 359871"/>
                  <a:gd name="connsiteY274" fmla="*/ 239078 h 268604"/>
                  <a:gd name="connsiteX275" fmla="*/ 37148 w 359871"/>
                  <a:gd name="connsiteY275" fmla="*/ 239078 h 268604"/>
                  <a:gd name="connsiteX276" fmla="*/ 37148 w 359871"/>
                  <a:gd name="connsiteY276" fmla="*/ 238125 h 268604"/>
                  <a:gd name="connsiteX277" fmla="*/ 37148 w 359871"/>
                  <a:gd name="connsiteY277" fmla="*/ 238125 h 268604"/>
                  <a:gd name="connsiteX278" fmla="*/ 37148 w 359871"/>
                  <a:gd name="connsiteY278" fmla="*/ 237173 h 268604"/>
                  <a:gd name="connsiteX279" fmla="*/ 37148 w 359871"/>
                  <a:gd name="connsiteY279" fmla="*/ 237173 h 268604"/>
                  <a:gd name="connsiteX280" fmla="*/ 39052 w 359871"/>
                  <a:gd name="connsiteY280" fmla="*/ 234315 h 268604"/>
                  <a:gd name="connsiteX281" fmla="*/ 39052 w 359871"/>
                  <a:gd name="connsiteY281" fmla="*/ 234315 h 268604"/>
                  <a:gd name="connsiteX282" fmla="*/ 37148 w 359871"/>
                  <a:gd name="connsiteY282" fmla="*/ 236220 h 268604"/>
                  <a:gd name="connsiteX283" fmla="*/ 36195 w 359871"/>
                  <a:gd name="connsiteY283" fmla="*/ 235267 h 268604"/>
                  <a:gd name="connsiteX284" fmla="*/ 37148 w 359871"/>
                  <a:gd name="connsiteY284" fmla="*/ 234315 h 268604"/>
                  <a:gd name="connsiteX285" fmla="*/ 37148 w 359871"/>
                  <a:gd name="connsiteY285" fmla="*/ 234315 h 268604"/>
                  <a:gd name="connsiteX286" fmla="*/ 40005 w 359871"/>
                  <a:gd name="connsiteY286" fmla="*/ 231458 h 268604"/>
                  <a:gd name="connsiteX287" fmla="*/ 41910 w 359871"/>
                  <a:gd name="connsiteY287" fmla="*/ 230505 h 268604"/>
                  <a:gd name="connsiteX288" fmla="*/ 41910 w 359871"/>
                  <a:gd name="connsiteY288" fmla="*/ 230505 h 268604"/>
                  <a:gd name="connsiteX289" fmla="*/ 42863 w 359871"/>
                  <a:gd name="connsiteY289" fmla="*/ 229553 h 268604"/>
                  <a:gd name="connsiteX290" fmla="*/ 42863 w 359871"/>
                  <a:gd name="connsiteY290" fmla="*/ 229553 h 268604"/>
                  <a:gd name="connsiteX291" fmla="*/ 62865 w 359871"/>
                  <a:gd name="connsiteY291" fmla="*/ 221933 h 268604"/>
                  <a:gd name="connsiteX292" fmla="*/ 71438 w 359871"/>
                  <a:gd name="connsiteY292" fmla="*/ 221933 h 268604"/>
                  <a:gd name="connsiteX293" fmla="*/ 76200 w 359871"/>
                  <a:gd name="connsiteY293" fmla="*/ 222885 h 268604"/>
                  <a:gd name="connsiteX294" fmla="*/ 58102 w 359871"/>
                  <a:gd name="connsiteY294" fmla="*/ 228600 h 268604"/>
                  <a:gd name="connsiteX295" fmla="*/ 68580 w 359871"/>
                  <a:gd name="connsiteY295" fmla="*/ 193358 h 268604"/>
                  <a:gd name="connsiteX296" fmla="*/ 70485 w 359871"/>
                  <a:gd name="connsiteY296" fmla="*/ 192405 h 268604"/>
                  <a:gd name="connsiteX297" fmla="*/ 66675 w 359871"/>
                  <a:gd name="connsiteY297" fmla="*/ 192405 h 268604"/>
                  <a:gd name="connsiteX298" fmla="*/ 65723 w 359871"/>
                  <a:gd name="connsiteY298" fmla="*/ 191453 h 268604"/>
                  <a:gd name="connsiteX299" fmla="*/ 57150 w 359871"/>
                  <a:gd name="connsiteY299" fmla="*/ 193358 h 268604"/>
                  <a:gd name="connsiteX300" fmla="*/ 46673 w 359871"/>
                  <a:gd name="connsiteY300" fmla="*/ 198120 h 268604"/>
                  <a:gd name="connsiteX301" fmla="*/ 30480 w 359871"/>
                  <a:gd name="connsiteY301" fmla="*/ 206692 h 268604"/>
                  <a:gd name="connsiteX302" fmla="*/ 29527 w 359871"/>
                  <a:gd name="connsiteY302" fmla="*/ 205740 h 268604"/>
                  <a:gd name="connsiteX303" fmla="*/ 33338 w 359871"/>
                  <a:gd name="connsiteY303" fmla="*/ 201930 h 268604"/>
                  <a:gd name="connsiteX304" fmla="*/ 32385 w 359871"/>
                  <a:gd name="connsiteY304" fmla="*/ 200978 h 268604"/>
                  <a:gd name="connsiteX305" fmla="*/ 47625 w 359871"/>
                  <a:gd name="connsiteY305" fmla="*/ 187642 h 268604"/>
                  <a:gd name="connsiteX306" fmla="*/ 47625 w 359871"/>
                  <a:gd name="connsiteY306" fmla="*/ 185738 h 268604"/>
                  <a:gd name="connsiteX307" fmla="*/ 52388 w 359871"/>
                  <a:gd name="connsiteY307" fmla="*/ 180023 h 268604"/>
                  <a:gd name="connsiteX308" fmla="*/ 57150 w 359871"/>
                  <a:gd name="connsiteY308" fmla="*/ 175260 h 268604"/>
                  <a:gd name="connsiteX309" fmla="*/ 55245 w 359871"/>
                  <a:gd name="connsiteY309" fmla="*/ 173355 h 268604"/>
                  <a:gd name="connsiteX310" fmla="*/ 49530 w 359871"/>
                  <a:gd name="connsiteY310" fmla="*/ 172403 h 268604"/>
                  <a:gd name="connsiteX311" fmla="*/ 52388 w 359871"/>
                  <a:gd name="connsiteY311" fmla="*/ 170498 h 268604"/>
                  <a:gd name="connsiteX312" fmla="*/ 51435 w 359871"/>
                  <a:gd name="connsiteY312" fmla="*/ 169545 h 268604"/>
                  <a:gd name="connsiteX313" fmla="*/ 54293 w 359871"/>
                  <a:gd name="connsiteY313" fmla="*/ 166688 h 268604"/>
                  <a:gd name="connsiteX314" fmla="*/ 60007 w 359871"/>
                  <a:gd name="connsiteY314" fmla="*/ 164783 h 268604"/>
                  <a:gd name="connsiteX315" fmla="*/ 48577 w 359871"/>
                  <a:gd name="connsiteY315" fmla="*/ 163830 h 268604"/>
                  <a:gd name="connsiteX316" fmla="*/ 60960 w 359871"/>
                  <a:gd name="connsiteY316" fmla="*/ 148590 h 268604"/>
                  <a:gd name="connsiteX317" fmla="*/ 62865 w 359871"/>
                  <a:gd name="connsiteY317" fmla="*/ 149542 h 268604"/>
                  <a:gd name="connsiteX318" fmla="*/ 59055 w 359871"/>
                  <a:gd name="connsiteY318" fmla="*/ 154305 h 268604"/>
                  <a:gd name="connsiteX319" fmla="*/ 71438 w 359871"/>
                  <a:gd name="connsiteY319" fmla="*/ 157163 h 268604"/>
                  <a:gd name="connsiteX320" fmla="*/ 69532 w 359871"/>
                  <a:gd name="connsiteY320" fmla="*/ 158115 h 268604"/>
                  <a:gd name="connsiteX321" fmla="*/ 78105 w 359871"/>
                  <a:gd name="connsiteY321" fmla="*/ 160973 h 268604"/>
                  <a:gd name="connsiteX322" fmla="*/ 73343 w 359871"/>
                  <a:gd name="connsiteY322" fmla="*/ 160973 h 268604"/>
                  <a:gd name="connsiteX323" fmla="*/ 119063 w 359871"/>
                  <a:gd name="connsiteY323" fmla="*/ 179070 h 268604"/>
                  <a:gd name="connsiteX324" fmla="*/ 83820 w 359871"/>
                  <a:gd name="connsiteY324" fmla="*/ 189548 h 268604"/>
                  <a:gd name="connsiteX325" fmla="*/ 80010 w 359871"/>
                  <a:gd name="connsiteY325" fmla="*/ 188595 h 268604"/>
                  <a:gd name="connsiteX326" fmla="*/ 79057 w 359871"/>
                  <a:gd name="connsiteY326" fmla="*/ 190500 h 268604"/>
                  <a:gd name="connsiteX327" fmla="*/ 74295 w 359871"/>
                  <a:gd name="connsiteY327" fmla="*/ 191453 h 268604"/>
                  <a:gd name="connsiteX328" fmla="*/ 68580 w 359871"/>
                  <a:gd name="connsiteY328" fmla="*/ 193358 h 268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</a:cxnLst>
                <a:rect l="l" t="t" r="r" b="b"/>
                <a:pathLst>
                  <a:path w="359871" h="268604">
                    <a:moveTo>
                      <a:pt x="158115" y="237173"/>
                    </a:moveTo>
                    <a:cubicBezTo>
                      <a:pt x="160973" y="234315"/>
                      <a:pt x="163830" y="231458"/>
                      <a:pt x="166688" y="227648"/>
                    </a:cubicBezTo>
                    <a:lnTo>
                      <a:pt x="166688" y="227648"/>
                    </a:lnTo>
                    <a:cubicBezTo>
                      <a:pt x="172402" y="221933"/>
                      <a:pt x="177165" y="215265"/>
                      <a:pt x="183833" y="210503"/>
                    </a:cubicBezTo>
                    <a:cubicBezTo>
                      <a:pt x="185738" y="208598"/>
                      <a:pt x="187643" y="207645"/>
                      <a:pt x="189548" y="205740"/>
                    </a:cubicBezTo>
                    <a:cubicBezTo>
                      <a:pt x="190500" y="204788"/>
                      <a:pt x="190500" y="203835"/>
                      <a:pt x="190500" y="203835"/>
                    </a:cubicBezTo>
                    <a:cubicBezTo>
                      <a:pt x="187643" y="204788"/>
                      <a:pt x="186690" y="206692"/>
                      <a:pt x="183833" y="207645"/>
                    </a:cubicBezTo>
                    <a:cubicBezTo>
                      <a:pt x="182880" y="207645"/>
                      <a:pt x="182880" y="206692"/>
                      <a:pt x="182880" y="206692"/>
                    </a:cubicBezTo>
                    <a:cubicBezTo>
                      <a:pt x="184785" y="205740"/>
                      <a:pt x="186690" y="203835"/>
                      <a:pt x="188595" y="202883"/>
                    </a:cubicBezTo>
                    <a:cubicBezTo>
                      <a:pt x="188595" y="202883"/>
                      <a:pt x="188595" y="202883"/>
                      <a:pt x="188595" y="202883"/>
                    </a:cubicBezTo>
                    <a:cubicBezTo>
                      <a:pt x="187643" y="202883"/>
                      <a:pt x="187643" y="201930"/>
                      <a:pt x="187643" y="201930"/>
                    </a:cubicBezTo>
                    <a:cubicBezTo>
                      <a:pt x="180975" y="201930"/>
                      <a:pt x="176213" y="205740"/>
                      <a:pt x="171450" y="210503"/>
                    </a:cubicBezTo>
                    <a:cubicBezTo>
                      <a:pt x="170498" y="211455"/>
                      <a:pt x="169545" y="209550"/>
                      <a:pt x="168593" y="209550"/>
                    </a:cubicBezTo>
                    <a:cubicBezTo>
                      <a:pt x="160973" y="212408"/>
                      <a:pt x="155258" y="219075"/>
                      <a:pt x="147638" y="221933"/>
                    </a:cubicBezTo>
                    <a:lnTo>
                      <a:pt x="147638" y="220980"/>
                    </a:lnTo>
                    <a:cubicBezTo>
                      <a:pt x="144780" y="221933"/>
                      <a:pt x="141923" y="223838"/>
                      <a:pt x="138113" y="224790"/>
                    </a:cubicBezTo>
                    <a:cubicBezTo>
                      <a:pt x="133350" y="225742"/>
                      <a:pt x="129540" y="225742"/>
                      <a:pt x="125730" y="225742"/>
                    </a:cubicBezTo>
                    <a:cubicBezTo>
                      <a:pt x="120015" y="226695"/>
                      <a:pt x="113348" y="227648"/>
                      <a:pt x="107632" y="228600"/>
                    </a:cubicBezTo>
                    <a:cubicBezTo>
                      <a:pt x="107632" y="228600"/>
                      <a:pt x="107632" y="228600"/>
                      <a:pt x="106680" y="228600"/>
                    </a:cubicBezTo>
                    <a:cubicBezTo>
                      <a:pt x="103823" y="229553"/>
                      <a:pt x="100013" y="230505"/>
                      <a:pt x="97155" y="232410"/>
                    </a:cubicBezTo>
                    <a:cubicBezTo>
                      <a:pt x="97155" y="232410"/>
                      <a:pt x="97155" y="232410"/>
                      <a:pt x="97155" y="232410"/>
                    </a:cubicBezTo>
                    <a:cubicBezTo>
                      <a:pt x="97155" y="232410"/>
                      <a:pt x="96202" y="233363"/>
                      <a:pt x="96202" y="233363"/>
                    </a:cubicBezTo>
                    <a:cubicBezTo>
                      <a:pt x="95250" y="234315"/>
                      <a:pt x="94298" y="235267"/>
                      <a:pt x="92393" y="236220"/>
                    </a:cubicBezTo>
                    <a:cubicBezTo>
                      <a:pt x="89535" y="238125"/>
                      <a:pt x="86677" y="240983"/>
                      <a:pt x="83820" y="242888"/>
                    </a:cubicBezTo>
                    <a:cubicBezTo>
                      <a:pt x="83820" y="242888"/>
                      <a:pt x="82868" y="242888"/>
                      <a:pt x="82868" y="242888"/>
                    </a:cubicBezTo>
                    <a:cubicBezTo>
                      <a:pt x="80010" y="245745"/>
                      <a:pt x="77152" y="248603"/>
                      <a:pt x="74295" y="250508"/>
                    </a:cubicBezTo>
                    <a:cubicBezTo>
                      <a:pt x="74295" y="250508"/>
                      <a:pt x="73343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50508"/>
                    </a:cubicBezTo>
                    <a:cubicBezTo>
                      <a:pt x="72390" y="250508"/>
                      <a:pt x="72390" y="250508"/>
                      <a:pt x="72390" y="249555"/>
                    </a:cubicBezTo>
                    <a:cubicBezTo>
                      <a:pt x="72390" y="248603"/>
                      <a:pt x="73343" y="247650"/>
                      <a:pt x="73343" y="247650"/>
                    </a:cubicBezTo>
                    <a:cubicBezTo>
                      <a:pt x="74295" y="246698"/>
                      <a:pt x="74295" y="245745"/>
                      <a:pt x="75248" y="245745"/>
                    </a:cubicBezTo>
                    <a:cubicBezTo>
                      <a:pt x="76200" y="244792"/>
                      <a:pt x="76200" y="243840"/>
                      <a:pt x="77152" y="242888"/>
                    </a:cubicBezTo>
                    <a:cubicBezTo>
                      <a:pt x="77152" y="242888"/>
                      <a:pt x="77152" y="241935"/>
                      <a:pt x="77152" y="241935"/>
                    </a:cubicBezTo>
                    <a:cubicBezTo>
                      <a:pt x="77152" y="241935"/>
                      <a:pt x="77152" y="241935"/>
                      <a:pt x="76200" y="241935"/>
                    </a:cubicBezTo>
                    <a:cubicBezTo>
                      <a:pt x="79057" y="239078"/>
                      <a:pt x="81915" y="237173"/>
                      <a:pt x="84773" y="235267"/>
                    </a:cubicBezTo>
                    <a:lnTo>
                      <a:pt x="84773" y="235267"/>
                    </a:lnTo>
                    <a:cubicBezTo>
                      <a:pt x="84773" y="235267"/>
                      <a:pt x="83820" y="235267"/>
                      <a:pt x="83820" y="234315"/>
                    </a:cubicBezTo>
                    <a:cubicBezTo>
                      <a:pt x="83820" y="234315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4773" y="233363"/>
                      <a:pt x="84773" y="233363"/>
                      <a:pt x="84773" y="233363"/>
                    </a:cubicBezTo>
                    <a:cubicBezTo>
                      <a:pt x="85725" y="233363"/>
                      <a:pt x="84773" y="234315"/>
                      <a:pt x="84773" y="234315"/>
                    </a:cubicBezTo>
                    <a:cubicBezTo>
                      <a:pt x="83820" y="235267"/>
                      <a:pt x="82868" y="238125"/>
                      <a:pt x="80963" y="237173"/>
                    </a:cubicBezTo>
                    <a:cubicBezTo>
                      <a:pt x="80963" y="237173"/>
                      <a:pt x="80010" y="237173"/>
                      <a:pt x="80010" y="237173"/>
                    </a:cubicBezTo>
                    <a:cubicBezTo>
                      <a:pt x="80010" y="237173"/>
                      <a:pt x="80010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7173"/>
                    </a:cubicBezTo>
                    <a:cubicBezTo>
                      <a:pt x="79057" y="237173"/>
                      <a:pt x="79057" y="237173"/>
                      <a:pt x="79057" y="236220"/>
                    </a:cubicBezTo>
                    <a:cubicBezTo>
                      <a:pt x="79057" y="236220"/>
                      <a:pt x="79057" y="236220"/>
                      <a:pt x="79057" y="236220"/>
                    </a:cubicBezTo>
                    <a:cubicBezTo>
                      <a:pt x="79057" y="236220"/>
                      <a:pt x="79057" y="235267"/>
                      <a:pt x="80010" y="235267"/>
                    </a:cubicBezTo>
                    <a:cubicBezTo>
                      <a:pt x="80010" y="235267"/>
                      <a:pt x="80010" y="235267"/>
                      <a:pt x="80010" y="234315"/>
                    </a:cubicBezTo>
                    <a:cubicBezTo>
                      <a:pt x="80010" y="234315"/>
                      <a:pt x="80010" y="233363"/>
                      <a:pt x="80963" y="233363"/>
                    </a:cubicBezTo>
                    <a:cubicBezTo>
                      <a:pt x="80963" y="233363"/>
                      <a:pt x="80963" y="232410"/>
                      <a:pt x="80963" y="232410"/>
                    </a:cubicBezTo>
                    <a:cubicBezTo>
                      <a:pt x="81915" y="231458"/>
                      <a:pt x="82868" y="230505"/>
                      <a:pt x="84773" y="229553"/>
                    </a:cubicBezTo>
                    <a:lnTo>
                      <a:pt x="84773" y="229553"/>
                    </a:lnTo>
                    <a:cubicBezTo>
                      <a:pt x="86677" y="228600"/>
                      <a:pt x="88582" y="227648"/>
                      <a:pt x="90488" y="226695"/>
                    </a:cubicBezTo>
                    <a:cubicBezTo>
                      <a:pt x="90488" y="226695"/>
                      <a:pt x="91440" y="225742"/>
                      <a:pt x="91440" y="225742"/>
                    </a:cubicBezTo>
                    <a:cubicBezTo>
                      <a:pt x="88582" y="226695"/>
                      <a:pt x="85725" y="227648"/>
                      <a:pt x="82868" y="229553"/>
                    </a:cubicBezTo>
                    <a:cubicBezTo>
                      <a:pt x="82868" y="229553"/>
                      <a:pt x="81915" y="229553"/>
                      <a:pt x="81915" y="229553"/>
                    </a:cubicBezTo>
                    <a:cubicBezTo>
                      <a:pt x="81915" y="229553"/>
                      <a:pt x="80963" y="229553"/>
                      <a:pt x="80963" y="229553"/>
                    </a:cubicBezTo>
                    <a:cubicBezTo>
                      <a:pt x="80963" y="229553"/>
                      <a:pt x="80963" y="229553"/>
                      <a:pt x="80963" y="229553"/>
                    </a:cubicBezTo>
                    <a:cubicBezTo>
                      <a:pt x="81915" y="228600"/>
                      <a:pt x="82868" y="227648"/>
                      <a:pt x="83820" y="226695"/>
                    </a:cubicBezTo>
                    <a:cubicBezTo>
                      <a:pt x="84773" y="226695"/>
                      <a:pt x="84773" y="226695"/>
                      <a:pt x="84773" y="227648"/>
                    </a:cubicBezTo>
                    <a:cubicBezTo>
                      <a:pt x="100965" y="215265"/>
                      <a:pt x="123825" y="218123"/>
                      <a:pt x="142875" y="211455"/>
                    </a:cubicBezTo>
                    <a:cubicBezTo>
                      <a:pt x="144780" y="210503"/>
                      <a:pt x="145733" y="209550"/>
                      <a:pt x="147638" y="208598"/>
                    </a:cubicBezTo>
                    <a:cubicBezTo>
                      <a:pt x="150495" y="207645"/>
                      <a:pt x="152400" y="204788"/>
                      <a:pt x="155258" y="203835"/>
                    </a:cubicBezTo>
                    <a:cubicBezTo>
                      <a:pt x="159068" y="200978"/>
                      <a:pt x="161925" y="197167"/>
                      <a:pt x="163830" y="192405"/>
                    </a:cubicBezTo>
                    <a:cubicBezTo>
                      <a:pt x="163830" y="191453"/>
                      <a:pt x="162877" y="191453"/>
                      <a:pt x="162877" y="191453"/>
                    </a:cubicBezTo>
                    <a:cubicBezTo>
                      <a:pt x="156210" y="199073"/>
                      <a:pt x="148590" y="203835"/>
                      <a:pt x="140018" y="208598"/>
                    </a:cubicBezTo>
                    <a:cubicBezTo>
                      <a:pt x="129540" y="214313"/>
                      <a:pt x="117157" y="213360"/>
                      <a:pt x="106680" y="214313"/>
                    </a:cubicBezTo>
                    <a:cubicBezTo>
                      <a:pt x="107632" y="213360"/>
                      <a:pt x="108585" y="213360"/>
                      <a:pt x="109538" y="213360"/>
                    </a:cubicBezTo>
                    <a:cubicBezTo>
                      <a:pt x="109538" y="211455"/>
                      <a:pt x="110490" y="211455"/>
                      <a:pt x="111443" y="210503"/>
                    </a:cubicBezTo>
                    <a:lnTo>
                      <a:pt x="113348" y="210503"/>
                    </a:lnTo>
                    <a:cubicBezTo>
                      <a:pt x="114300" y="210503"/>
                      <a:pt x="114300" y="209550"/>
                      <a:pt x="114300" y="209550"/>
                    </a:cubicBezTo>
                    <a:cubicBezTo>
                      <a:pt x="115252" y="209550"/>
                      <a:pt x="117157" y="208598"/>
                      <a:pt x="116205" y="208598"/>
                    </a:cubicBezTo>
                    <a:cubicBezTo>
                      <a:pt x="114300" y="206692"/>
                      <a:pt x="111443" y="210503"/>
                      <a:pt x="108585" y="208598"/>
                    </a:cubicBezTo>
                    <a:cubicBezTo>
                      <a:pt x="109538" y="207645"/>
                      <a:pt x="109538" y="205740"/>
                      <a:pt x="110490" y="205740"/>
                    </a:cubicBezTo>
                    <a:lnTo>
                      <a:pt x="112395" y="205740"/>
                    </a:lnTo>
                    <a:cubicBezTo>
                      <a:pt x="112395" y="204788"/>
                      <a:pt x="113348" y="203835"/>
                      <a:pt x="113348" y="203835"/>
                    </a:cubicBezTo>
                    <a:cubicBezTo>
                      <a:pt x="120968" y="199073"/>
                      <a:pt x="128588" y="195263"/>
                      <a:pt x="135255" y="191453"/>
                    </a:cubicBezTo>
                    <a:cubicBezTo>
                      <a:pt x="133350" y="191453"/>
                      <a:pt x="132398" y="193358"/>
                      <a:pt x="131445" y="192405"/>
                    </a:cubicBezTo>
                    <a:cubicBezTo>
                      <a:pt x="132398" y="192405"/>
                      <a:pt x="131445" y="190500"/>
                      <a:pt x="132398" y="190500"/>
                    </a:cubicBezTo>
                    <a:cubicBezTo>
                      <a:pt x="138113" y="188595"/>
                      <a:pt x="142875" y="185738"/>
                      <a:pt x="148590" y="183833"/>
                    </a:cubicBezTo>
                    <a:cubicBezTo>
                      <a:pt x="146685" y="183833"/>
                      <a:pt x="144780" y="185738"/>
                      <a:pt x="142875" y="183833"/>
                    </a:cubicBezTo>
                    <a:cubicBezTo>
                      <a:pt x="143827" y="182880"/>
                      <a:pt x="144780" y="181928"/>
                      <a:pt x="145733" y="181928"/>
                    </a:cubicBezTo>
                    <a:lnTo>
                      <a:pt x="145733" y="180023"/>
                    </a:lnTo>
                    <a:cubicBezTo>
                      <a:pt x="145733" y="179070"/>
                      <a:pt x="146685" y="179070"/>
                      <a:pt x="146685" y="179070"/>
                    </a:cubicBezTo>
                    <a:cubicBezTo>
                      <a:pt x="145733" y="179070"/>
                      <a:pt x="145733" y="178117"/>
                      <a:pt x="145733" y="178117"/>
                    </a:cubicBezTo>
                    <a:cubicBezTo>
                      <a:pt x="146685" y="177165"/>
                      <a:pt x="147638" y="177165"/>
                      <a:pt x="148590" y="176213"/>
                    </a:cubicBezTo>
                    <a:cubicBezTo>
                      <a:pt x="147638" y="176213"/>
                      <a:pt x="146685" y="176213"/>
                      <a:pt x="146685" y="175260"/>
                    </a:cubicBezTo>
                    <a:cubicBezTo>
                      <a:pt x="148590" y="173355"/>
                      <a:pt x="150495" y="172403"/>
                      <a:pt x="153352" y="172403"/>
                    </a:cubicBezTo>
                    <a:cubicBezTo>
                      <a:pt x="152400" y="171450"/>
                      <a:pt x="151448" y="172403"/>
                      <a:pt x="151448" y="171450"/>
                    </a:cubicBezTo>
                    <a:cubicBezTo>
                      <a:pt x="151448" y="170498"/>
                      <a:pt x="152400" y="170498"/>
                      <a:pt x="152400" y="170498"/>
                    </a:cubicBezTo>
                    <a:lnTo>
                      <a:pt x="152400" y="170498"/>
                    </a:lnTo>
                    <a:cubicBezTo>
                      <a:pt x="151448" y="169545"/>
                      <a:pt x="151448" y="168592"/>
                      <a:pt x="151448" y="168592"/>
                    </a:cubicBezTo>
                    <a:cubicBezTo>
                      <a:pt x="154305" y="164783"/>
                      <a:pt x="154305" y="160020"/>
                      <a:pt x="156210" y="156210"/>
                    </a:cubicBezTo>
                    <a:cubicBezTo>
                      <a:pt x="155258" y="156210"/>
                      <a:pt x="155258" y="156210"/>
                      <a:pt x="155258" y="155258"/>
                    </a:cubicBezTo>
                    <a:cubicBezTo>
                      <a:pt x="150495" y="160973"/>
                      <a:pt x="141923" y="162878"/>
                      <a:pt x="134302" y="164783"/>
                    </a:cubicBezTo>
                    <a:lnTo>
                      <a:pt x="131445" y="164783"/>
                    </a:lnTo>
                    <a:cubicBezTo>
                      <a:pt x="128588" y="165735"/>
                      <a:pt x="125730" y="165735"/>
                      <a:pt x="122873" y="163830"/>
                    </a:cubicBezTo>
                    <a:cubicBezTo>
                      <a:pt x="120968" y="162878"/>
                      <a:pt x="120015" y="160973"/>
                      <a:pt x="118110" y="160020"/>
                    </a:cubicBezTo>
                    <a:cubicBezTo>
                      <a:pt x="114300" y="157163"/>
                      <a:pt x="109538" y="155258"/>
                      <a:pt x="105727" y="154305"/>
                    </a:cubicBezTo>
                    <a:cubicBezTo>
                      <a:pt x="93345" y="150495"/>
                      <a:pt x="80010" y="148590"/>
                      <a:pt x="66675" y="148590"/>
                    </a:cubicBezTo>
                    <a:cubicBezTo>
                      <a:pt x="72390" y="145733"/>
                      <a:pt x="78105" y="145733"/>
                      <a:pt x="84773" y="143828"/>
                    </a:cubicBezTo>
                    <a:cubicBezTo>
                      <a:pt x="93345" y="140970"/>
                      <a:pt x="101918" y="138113"/>
                      <a:pt x="110490" y="139065"/>
                    </a:cubicBezTo>
                    <a:cubicBezTo>
                      <a:pt x="108585" y="138113"/>
                      <a:pt x="106680" y="139065"/>
                      <a:pt x="105727" y="139065"/>
                    </a:cubicBezTo>
                    <a:cubicBezTo>
                      <a:pt x="98107" y="138113"/>
                      <a:pt x="91440" y="140970"/>
                      <a:pt x="83820" y="141923"/>
                    </a:cubicBezTo>
                    <a:cubicBezTo>
                      <a:pt x="79057" y="142875"/>
                      <a:pt x="74295" y="144780"/>
                      <a:pt x="68580" y="145733"/>
                    </a:cubicBezTo>
                    <a:cubicBezTo>
                      <a:pt x="65723" y="146685"/>
                      <a:pt x="63818" y="149542"/>
                      <a:pt x="60007" y="149542"/>
                    </a:cubicBezTo>
                    <a:lnTo>
                      <a:pt x="60007" y="147638"/>
                    </a:lnTo>
                    <a:cubicBezTo>
                      <a:pt x="64770" y="141923"/>
                      <a:pt x="71438" y="135255"/>
                      <a:pt x="79057" y="135255"/>
                    </a:cubicBezTo>
                    <a:cubicBezTo>
                      <a:pt x="88582" y="133350"/>
                      <a:pt x="97155" y="135255"/>
                      <a:pt x="105727" y="136208"/>
                    </a:cubicBezTo>
                    <a:cubicBezTo>
                      <a:pt x="112395" y="137160"/>
                      <a:pt x="118110" y="138113"/>
                      <a:pt x="124777" y="140017"/>
                    </a:cubicBezTo>
                    <a:cubicBezTo>
                      <a:pt x="127635" y="140017"/>
                      <a:pt x="127635" y="143828"/>
                      <a:pt x="129540" y="144780"/>
                    </a:cubicBezTo>
                    <a:cubicBezTo>
                      <a:pt x="132398" y="145733"/>
                      <a:pt x="135255" y="144780"/>
                      <a:pt x="139065" y="146685"/>
                    </a:cubicBezTo>
                    <a:cubicBezTo>
                      <a:pt x="139065" y="145733"/>
                      <a:pt x="138113" y="144780"/>
                      <a:pt x="139065" y="143828"/>
                    </a:cubicBezTo>
                    <a:cubicBezTo>
                      <a:pt x="140970" y="141923"/>
                      <a:pt x="143827" y="144780"/>
                      <a:pt x="145733" y="142875"/>
                    </a:cubicBezTo>
                    <a:cubicBezTo>
                      <a:pt x="149543" y="140017"/>
                      <a:pt x="141923" y="136208"/>
                      <a:pt x="140018" y="132398"/>
                    </a:cubicBezTo>
                    <a:cubicBezTo>
                      <a:pt x="140018" y="131445"/>
                      <a:pt x="140970" y="131445"/>
                      <a:pt x="140970" y="131445"/>
                    </a:cubicBezTo>
                    <a:cubicBezTo>
                      <a:pt x="144780" y="135255"/>
                      <a:pt x="147638" y="139065"/>
                      <a:pt x="153352" y="141923"/>
                    </a:cubicBezTo>
                    <a:cubicBezTo>
                      <a:pt x="156210" y="142875"/>
                      <a:pt x="161925" y="144780"/>
                      <a:pt x="160973" y="140970"/>
                    </a:cubicBezTo>
                    <a:cubicBezTo>
                      <a:pt x="158115" y="135255"/>
                      <a:pt x="153352" y="130492"/>
                      <a:pt x="149543" y="125730"/>
                    </a:cubicBezTo>
                    <a:lnTo>
                      <a:pt x="149543" y="123825"/>
                    </a:lnTo>
                    <a:cubicBezTo>
                      <a:pt x="148590" y="123825"/>
                      <a:pt x="148590" y="122873"/>
                      <a:pt x="147638" y="122873"/>
                    </a:cubicBezTo>
                    <a:lnTo>
                      <a:pt x="147638" y="120015"/>
                    </a:lnTo>
                    <a:cubicBezTo>
                      <a:pt x="145733" y="119063"/>
                      <a:pt x="145733" y="117158"/>
                      <a:pt x="144780" y="115253"/>
                    </a:cubicBezTo>
                    <a:cubicBezTo>
                      <a:pt x="142875" y="112395"/>
                      <a:pt x="143827" y="109538"/>
                      <a:pt x="142875" y="105728"/>
                    </a:cubicBezTo>
                    <a:cubicBezTo>
                      <a:pt x="142875" y="103823"/>
                      <a:pt x="142875" y="100965"/>
                      <a:pt x="141923" y="98108"/>
                    </a:cubicBezTo>
                    <a:cubicBezTo>
                      <a:pt x="140018" y="89535"/>
                      <a:pt x="138113" y="81915"/>
                      <a:pt x="137160" y="73342"/>
                    </a:cubicBezTo>
                    <a:cubicBezTo>
                      <a:pt x="136208" y="63817"/>
                      <a:pt x="142875" y="56197"/>
                      <a:pt x="147638" y="47625"/>
                    </a:cubicBezTo>
                    <a:cubicBezTo>
                      <a:pt x="151448" y="41910"/>
                      <a:pt x="155258" y="35242"/>
                      <a:pt x="161925" y="31433"/>
                    </a:cubicBezTo>
                    <a:cubicBezTo>
                      <a:pt x="163830" y="25718"/>
                      <a:pt x="167640" y="20003"/>
                      <a:pt x="171450" y="15240"/>
                    </a:cubicBezTo>
                    <a:cubicBezTo>
                      <a:pt x="175260" y="10478"/>
                      <a:pt x="181927" y="7620"/>
                      <a:pt x="187643" y="4763"/>
                    </a:cubicBezTo>
                    <a:cubicBezTo>
                      <a:pt x="194310" y="1905"/>
                      <a:pt x="200977" y="0"/>
                      <a:pt x="200977" y="0"/>
                    </a:cubicBezTo>
                    <a:lnTo>
                      <a:pt x="302895" y="0"/>
                    </a:lnTo>
                    <a:cubicBezTo>
                      <a:pt x="302895" y="0"/>
                      <a:pt x="303848" y="0"/>
                      <a:pt x="305753" y="953"/>
                    </a:cubicBezTo>
                    <a:cubicBezTo>
                      <a:pt x="307658" y="1905"/>
                      <a:pt x="311467" y="3810"/>
                      <a:pt x="313373" y="4763"/>
                    </a:cubicBezTo>
                    <a:cubicBezTo>
                      <a:pt x="317183" y="6668"/>
                      <a:pt x="320992" y="9525"/>
                      <a:pt x="322898" y="13335"/>
                    </a:cubicBezTo>
                    <a:cubicBezTo>
                      <a:pt x="323850" y="15240"/>
                      <a:pt x="325755" y="18097"/>
                      <a:pt x="324803" y="20003"/>
                    </a:cubicBezTo>
                    <a:cubicBezTo>
                      <a:pt x="323850" y="22860"/>
                      <a:pt x="322898" y="26670"/>
                      <a:pt x="320992" y="27622"/>
                    </a:cubicBezTo>
                    <a:cubicBezTo>
                      <a:pt x="318135" y="29528"/>
                      <a:pt x="314325" y="29528"/>
                      <a:pt x="310515" y="28575"/>
                    </a:cubicBezTo>
                    <a:cubicBezTo>
                      <a:pt x="308610" y="28575"/>
                      <a:pt x="306705" y="27622"/>
                      <a:pt x="304800" y="27622"/>
                    </a:cubicBezTo>
                    <a:cubicBezTo>
                      <a:pt x="312420" y="30480"/>
                      <a:pt x="320040" y="34290"/>
                      <a:pt x="324803" y="40958"/>
                    </a:cubicBezTo>
                    <a:cubicBezTo>
                      <a:pt x="325755" y="41910"/>
                      <a:pt x="327660" y="42863"/>
                      <a:pt x="329565" y="42863"/>
                    </a:cubicBezTo>
                    <a:cubicBezTo>
                      <a:pt x="330517" y="42863"/>
                      <a:pt x="330517" y="43815"/>
                      <a:pt x="330517" y="44767"/>
                    </a:cubicBezTo>
                    <a:cubicBezTo>
                      <a:pt x="329565" y="45720"/>
                      <a:pt x="328613" y="46672"/>
                      <a:pt x="328613" y="47625"/>
                    </a:cubicBezTo>
                    <a:lnTo>
                      <a:pt x="330517" y="47625"/>
                    </a:lnTo>
                    <a:cubicBezTo>
                      <a:pt x="333375" y="46672"/>
                      <a:pt x="332423" y="41910"/>
                      <a:pt x="336233" y="42863"/>
                    </a:cubicBezTo>
                    <a:cubicBezTo>
                      <a:pt x="339090" y="44767"/>
                      <a:pt x="340042" y="47625"/>
                      <a:pt x="338138" y="50483"/>
                    </a:cubicBezTo>
                    <a:cubicBezTo>
                      <a:pt x="336233" y="52388"/>
                      <a:pt x="334328" y="54292"/>
                      <a:pt x="332423" y="55245"/>
                    </a:cubicBezTo>
                    <a:cubicBezTo>
                      <a:pt x="331470" y="56197"/>
                      <a:pt x="331470" y="58103"/>
                      <a:pt x="332423" y="59055"/>
                    </a:cubicBezTo>
                    <a:cubicBezTo>
                      <a:pt x="334328" y="60960"/>
                      <a:pt x="334328" y="62865"/>
                      <a:pt x="335280" y="64770"/>
                    </a:cubicBezTo>
                    <a:cubicBezTo>
                      <a:pt x="337185" y="68580"/>
                      <a:pt x="337185" y="72390"/>
                      <a:pt x="339090" y="76200"/>
                    </a:cubicBezTo>
                    <a:cubicBezTo>
                      <a:pt x="340995" y="83820"/>
                      <a:pt x="342900" y="91440"/>
                      <a:pt x="342900" y="99060"/>
                    </a:cubicBezTo>
                    <a:cubicBezTo>
                      <a:pt x="342900" y="102870"/>
                      <a:pt x="340995" y="106680"/>
                      <a:pt x="341948" y="110490"/>
                    </a:cubicBezTo>
                    <a:cubicBezTo>
                      <a:pt x="342900" y="114300"/>
                      <a:pt x="345758" y="118110"/>
                      <a:pt x="347663" y="120967"/>
                    </a:cubicBezTo>
                    <a:cubicBezTo>
                      <a:pt x="349567" y="123825"/>
                      <a:pt x="351473" y="125730"/>
                      <a:pt x="353378" y="129540"/>
                    </a:cubicBezTo>
                    <a:cubicBezTo>
                      <a:pt x="356235" y="134303"/>
                      <a:pt x="361950" y="140017"/>
                      <a:pt x="359092" y="145733"/>
                    </a:cubicBezTo>
                    <a:cubicBezTo>
                      <a:pt x="357188" y="149542"/>
                      <a:pt x="351473" y="148590"/>
                      <a:pt x="348615" y="150495"/>
                    </a:cubicBezTo>
                    <a:cubicBezTo>
                      <a:pt x="345758" y="153353"/>
                      <a:pt x="347663" y="157163"/>
                      <a:pt x="349567" y="160020"/>
                    </a:cubicBezTo>
                    <a:cubicBezTo>
                      <a:pt x="352425" y="164783"/>
                      <a:pt x="346710" y="167640"/>
                      <a:pt x="342900" y="169545"/>
                    </a:cubicBezTo>
                    <a:cubicBezTo>
                      <a:pt x="343853" y="171450"/>
                      <a:pt x="345758" y="170498"/>
                      <a:pt x="346710" y="171450"/>
                    </a:cubicBezTo>
                    <a:cubicBezTo>
                      <a:pt x="347663" y="174308"/>
                      <a:pt x="349567" y="175260"/>
                      <a:pt x="348615" y="178117"/>
                    </a:cubicBezTo>
                    <a:cubicBezTo>
                      <a:pt x="346710" y="180975"/>
                      <a:pt x="340042" y="182880"/>
                      <a:pt x="343853" y="187642"/>
                    </a:cubicBezTo>
                    <a:cubicBezTo>
                      <a:pt x="345758" y="191453"/>
                      <a:pt x="344805" y="195263"/>
                      <a:pt x="342900" y="199073"/>
                    </a:cubicBezTo>
                    <a:cubicBezTo>
                      <a:pt x="340995" y="203835"/>
                      <a:pt x="337185" y="205740"/>
                      <a:pt x="333375" y="206692"/>
                    </a:cubicBezTo>
                    <a:cubicBezTo>
                      <a:pt x="330517" y="207645"/>
                      <a:pt x="326708" y="207645"/>
                      <a:pt x="323850" y="207645"/>
                    </a:cubicBezTo>
                    <a:cubicBezTo>
                      <a:pt x="320040" y="205740"/>
                      <a:pt x="319088" y="205740"/>
                      <a:pt x="318135" y="205740"/>
                    </a:cubicBezTo>
                    <a:cubicBezTo>
                      <a:pt x="309563" y="204788"/>
                      <a:pt x="300990" y="201930"/>
                      <a:pt x="292417" y="201930"/>
                    </a:cubicBezTo>
                    <a:cubicBezTo>
                      <a:pt x="289560" y="202883"/>
                      <a:pt x="287655" y="202883"/>
                      <a:pt x="285750" y="203835"/>
                    </a:cubicBezTo>
                    <a:cubicBezTo>
                      <a:pt x="283845" y="205740"/>
                      <a:pt x="280988" y="207645"/>
                      <a:pt x="280035" y="209550"/>
                    </a:cubicBezTo>
                    <a:cubicBezTo>
                      <a:pt x="280035" y="209550"/>
                      <a:pt x="280035" y="209550"/>
                      <a:pt x="280035" y="209550"/>
                    </a:cubicBezTo>
                    <a:cubicBezTo>
                      <a:pt x="280035" y="209550"/>
                      <a:pt x="279083" y="210503"/>
                      <a:pt x="279083" y="210503"/>
                    </a:cubicBezTo>
                    <a:cubicBezTo>
                      <a:pt x="279083" y="210503"/>
                      <a:pt x="279083" y="211455"/>
                      <a:pt x="278130" y="211455"/>
                    </a:cubicBezTo>
                    <a:cubicBezTo>
                      <a:pt x="278130" y="211455"/>
                      <a:pt x="278130" y="211455"/>
                      <a:pt x="278130" y="212408"/>
                    </a:cubicBezTo>
                    <a:cubicBezTo>
                      <a:pt x="276225" y="214313"/>
                      <a:pt x="275273" y="216217"/>
                      <a:pt x="274320" y="218123"/>
                    </a:cubicBezTo>
                    <a:cubicBezTo>
                      <a:pt x="274320" y="218123"/>
                      <a:pt x="274320" y="218123"/>
                      <a:pt x="274320" y="218123"/>
                    </a:cubicBezTo>
                    <a:cubicBezTo>
                      <a:pt x="274320" y="218123"/>
                      <a:pt x="274320" y="219075"/>
                      <a:pt x="274320" y="219075"/>
                    </a:cubicBezTo>
                    <a:cubicBezTo>
                      <a:pt x="272415" y="221933"/>
                      <a:pt x="271463" y="225742"/>
                      <a:pt x="270510" y="228600"/>
                    </a:cubicBezTo>
                    <a:cubicBezTo>
                      <a:pt x="266700" y="240030"/>
                      <a:pt x="268605" y="250508"/>
                      <a:pt x="271463" y="252413"/>
                    </a:cubicBezTo>
                    <a:cubicBezTo>
                      <a:pt x="272415" y="253365"/>
                      <a:pt x="288608" y="258128"/>
                      <a:pt x="299085" y="262890"/>
                    </a:cubicBezTo>
                    <a:cubicBezTo>
                      <a:pt x="304800" y="264795"/>
                      <a:pt x="307658" y="266700"/>
                      <a:pt x="311467" y="268605"/>
                    </a:cubicBezTo>
                    <a:lnTo>
                      <a:pt x="101918" y="268605"/>
                    </a:lnTo>
                    <a:cubicBezTo>
                      <a:pt x="111443" y="261938"/>
                      <a:pt x="120968" y="258128"/>
                      <a:pt x="135255" y="251460"/>
                    </a:cubicBezTo>
                    <a:cubicBezTo>
                      <a:pt x="138113" y="249555"/>
                      <a:pt x="153352" y="242888"/>
                      <a:pt x="158115" y="237173"/>
                    </a:cubicBezTo>
                    <a:moveTo>
                      <a:pt x="79057" y="200978"/>
                    </a:moveTo>
                    <a:cubicBezTo>
                      <a:pt x="78105" y="200978"/>
                      <a:pt x="76200" y="201930"/>
                      <a:pt x="76200" y="200025"/>
                    </a:cubicBezTo>
                    <a:cubicBezTo>
                      <a:pt x="77152" y="197167"/>
                      <a:pt x="80010" y="197167"/>
                      <a:pt x="81915" y="196215"/>
                    </a:cubicBezTo>
                    <a:cubicBezTo>
                      <a:pt x="82868" y="195263"/>
                      <a:pt x="84773" y="194310"/>
                      <a:pt x="85725" y="195263"/>
                    </a:cubicBezTo>
                    <a:cubicBezTo>
                      <a:pt x="86677" y="197167"/>
                      <a:pt x="88582" y="196215"/>
                      <a:pt x="89535" y="197167"/>
                    </a:cubicBezTo>
                    <a:cubicBezTo>
                      <a:pt x="86677" y="200978"/>
                      <a:pt x="82868" y="200025"/>
                      <a:pt x="79057" y="200978"/>
                    </a:cubicBezTo>
                    <a:moveTo>
                      <a:pt x="952" y="189548"/>
                    </a:moveTo>
                    <a:cubicBezTo>
                      <a:pt x="952" y="189548"/>
                      <a:pt x="0" y="188595"/>
                      <a:pt x="0" y="188595"/>
                    </a:cubicBezTo>
                    <a:cubicBezTo>
                      <a:pt x="6668" y="180023"/>
                      <a:pt x="11430" y="171450"/>
                      <a:pt x="16193" y="162878"/>
                    </a:cubicBezTo>
                    <a:cubicBezTo>
                      <a:pt x="22860" y="159067"/>
                      <a:pt x="28575" y="154305"/>
                      <a:pt x="33338" y="148590"/>
                    </a:cubicBezTo>
                    <a:cubicBezTo>
                      <a:pt x="41910" y="139065"/>
                      <a:pt x="51435" y="131445"/>
                      <a:pt x="61913" y="125730"/>
                    </a:cubicBezTo>
                    <a:cubicBezTo>
                      <a:pt x="65723" y="123825"/>
                      <a:pt x="71438" y="124778"/>
                      <a:pt x="75248" y="126683"/>
                    </a:cubicBezTo>
                    <a:cubicBezTo>
                      <a:pt x="73343" y="128588"/>
                      <a:pt x="71438" y="128588"/>
                      <a:pt x="69532" y="129540"/>
                    </a:cubicBezTo>
                    <a:cubicBezTo>
                      <a:pt x="68580" y="129540"/>
                      <a:pt x="68580" y="129540"/>
                      <a:pt x="67627" y="128588"/>
                    </a:cubicBezTo>
                    <a:cubicBezTo>
                      <a:pt x="68580" y="127635"/>
                      <a:pt x="68580" y="127635"/>
                      <a:pt x="68580" y="126683"/>
                    </a:cubicBezTo>
                    <a:cubicBezTo>
                      <a:pt x="63818" y="132398"/>
                      <a:pt x="56198" y="135255"/>
                      <a:pt x="52388" y="141923"/>
                    </a:cubicBezTo>
                    <a:cubicBezTo>
                      <a:pt x="49530" y="146685"/>
                      <a:pt x="47625" y="153353"/>
                      <a:pt x="40957" y="155258"/>
                    </a:cubicBezTo>
                    <a:cubicBezTo>
                      <a:pt x="39052" y="156210"/>
                      <a:pt x="41910" y="153353"/>
                      <a:pt x="40005" y="154305"/>
                    </a:cubicBezTo>
                    <a:cubicBezTo>
                      <a:pt x="24765" y="164783"/>
                      <a:pt x="13335" y="176213"/>
                      <a:pt x="952" y="189548"/>
                    </a:cubicBezTo>
                    <a:moveTo>
                      <a:pt x="43815" y="156210"/>
                    </a:moveTo>
                    <a:cubicBezTo>
                      <a:pt x="42863" y="157163"/>
                      <a:pt x="42863" y="157163"/>
                      <a:pt x="41910" y="158115"/>
                    </a:cubicBezTo>
                    <a:cubicBezTo>
                      <a:pt x="40957" y="159067"/>
                      <a:pt x="40957" y="160020"/>
                      <a:pt x="40005" y="160020"/>
                    </a:cubicBezTo>
                    <a:cubicBezTo>
                      <a:pt x="39052" y="160020"/>
                      <a:pt x="39052" y="160020"/>
                      <a:pt x="39052" y="159067"/>
                    </a:cubicBezTo>
                    <a:cubicBezTo>
                      <a:pt x="40005" y="157163"/>
                      <a:pt x="40957" y="155258"/>
                      <a:pt x="42863" y="154305"/>
                    </a:cubicBezTo>
                    <a:cubicBezTo>
                      <a:pt x="43815" y="155258"/>
                      <a:pt x="43815" y="155258"/>
                      <a:pt x="43815" y="156210"/>
                    </a:cubicBezTo>
                    <a:moveTo>
                      <a:pt x="67627" y="232410"/>
                    </a:moveTo>
                    <a:cubicBezTo>
                      <a:pt x="67627" y="233363"/>
                      <a:pt x="66675" y="233363"/>
                      <a:pt x="66675" y="234315"/>
                    </a:cubicBezTo>
                    <a:cubicBezTo>
                      <a:pt x="67627" y="234315"/>
                      <a:pt x="67627" y="234315"/>
                      <a:pt x="67627" y="235267"/>
                    </a:cubicBezTo>
                    <a:cubicBezTo>
                      <a:pt x="66675" y="236220"/>
                      <a:pt x="65723" y="237173"/>
                      <a:pt x="63818" y="238125"/>
                    </a:cubicBezTo>
                    <a:cubicBezTo>
                      <a:pt x="63818" y="238125"/>
                      <a:pt x="63818" y="238125"/>
                      <a:pt x="62865" y="238125"/>
                    </a:cubicBezTo>
                    <a:cubicBezTo>
                      <a:pt x="61913" y="239078"/>
                      <a:pt x="61913" y="239078"/>
                      <a:pt x="60960" y="240030"/>
                    </a:cubicBezTo>
                    <a:cubicBezTo>
                      <a:pt x="60007" y="240983"/>
                      <a:pt x="57150" y="240030"/>
                      <a:pt x="58102" y="239078"/>
                    </a:cubicBezTo>
                    <a:cubicBezTo>
                      <a:pt x="59055" y="238125"/>
                      <a:pt x="60960" y="236220"/>
                      <a:pt x="61913" y="235267"/>
                    </a:cubicBezTo>
                    <a:cubicBezTo>
                      <a:pt x="62865" y="234315"/>
                      <a:pt x="63818" y="234315"/>
                      <a:pt x="63818" y="233363"/>
                    </a:cubicBezTo>
                    <a:cubicBezTo>
                      <a:pt x="63818" y="233363"/>
                      <a:pt x="64770" y="232410"/>
                      <a:pt x="64770" y="232410"/>
                    </a:cubicBezTo>
                    <a:cubicBezTo>
                      <a:pt x="64770" y="231458"/>
                      <a:pt x="67627" y="231458"/>
                      <a:pt x="67627" y="232410"/>
                    </a:cubicBezTo>
                    <a:moveTo>
                      <a:pt x="58102" y="228600"/>
                    </a:moveTo>
                    <a:cubicBezTo>
                      <a:pt x="58102" y="228600"/>
                      <a:pt x="58102" y="228600"/>
                      <a:pt x="58102" y="228600"/>
                    </a:cubicBezTo>
                    <a:cubicBezTo>
                      <a:pt x="56198" y="230505"/>
                      <a:pt x="54293" y="231458"/>
                      <a:pt x="52388" y="232410"/>
                    </a:cubicBezTo>
                    <a:cubicBezTo>
                      <a:pt x="50482" y="233363"/>
                      <a:pt x="47625" y="234315"/>
                      <a:pt x="45720" y="235267"/>
                    </a:cubicBezTo>
                    <a:cubicBezTo>
                      <a:pt x="45720" y="235267"/>
                      <a:pt x="45720" y="235267"/>
                      <a:pt x="45720" y="235267"/>
                    </a:cubicBezTo>
                    <a:cubicBezTo>
                      <a:pt x="45720" y="235267"/>
                      <a:pt x="44768" y="235267"/>
                      <a:pt x="44768" y="235267"/>
                    </a:cubicBezTo>
                    <a:cubicBezTo>
                      <a:pt x="42863" y="236220"/>
                      <a:pt x="40957" y="238125"/>
                      <a:pt x="40005" y="239078"/>
                    </a:cubicBezTo>
                    <a:cubicBezTo>
                      <a:pt x="40005" y="239078"/>
                      <a:pt x="40005" y="239078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9052" y="240030"/>
                      <a:pt x="39052" y="240030"/>
                    </a:cubicBezTo>
                    <a:cubicBezTo>
                      <a:pt x="39052" y="240030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8100" y="240983"/>
                      <a:pt x="38100" y="240983"/>
                    </a:cubicBezTo>
                    <a:cubicBezTo>
                      <a:pt x="38100" y="240983"/>
                      <a:pt x="37148" y="241935"/>
                      <a:pt x="37148" y="241935"/>
                    </a:cubicBezTo>
                    <a:cubicBezTo>
                      <a:pt x="37148" y="241935"/>
                      <a:pt x="37148" y="242888"/>
                      <a:pt x="36195" y="242888"/>
                    </a:cubicBezTo>
                    <a:cubicBezTo>
                      <a:pt x="36195" y="242888"/>
                      <a:pt x="35243" y="242888"/>
                      <a:pt x="35243" y="242888"/>
                    </a:cubicBezTo>
                    <a:cubicBezTo>
                      <a:pt x="35243" y="242888"/>
                      <a:pt x="35243" y="242888"/>
                      <a:pt x="35243" y="242888"/>
                    </a:cubicBezTo>
                    <a:cubicBezTo>
                      <a:pt x="35243" y="242888"/>
                      <a:pt x="34290" y="242888"/>
                      <a:pt x="34290" y="242888"/>
                    </a:cubicBezTo>
                    <a:cubicBezTo>
                      <a:pt x="34290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3338" y="242888"/>
                      <a:pt x="33338" y="242888"/>
                      <a:pt x="33338" y="242888"/>
                    </a:cubicBezTo>
                    <a:cubicBezTo>
                      <a:pt x="32385" y="243840"/>
                      <a:pt x="32385" y="243840"/>
                      <a:pt x="31432" y="244792"/>
                    </a:cubicBezTo>
                    <a:cubicBezTo>
                      <a:pt x="30480" y="245745"/>
                      <a:pt x="29527" y="246698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8575" y="247650"/>
                      <a:pt x="28575" y="247650"/>
                      <a:pt x="28575" y="248603"/>
                    </a:cubicBezTo>
                    <a:lnTo>
                      <a:pt x="28575" y="248603"/>
                    </a:ln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8603"/>
                      <a:pt x="28575" y="248603"/>
                    </a:cubicBezTo>
                    <a:cubicBezTo>
                      <a:pt x="28575" y="248603"/>
                      <a:pt x="28575" y="247650"/>
                      <a:pt x="28575" y="247650"/>
                    </a:cubicBezTo>
                    <a:lnTo>
                      <a:pt x="28575" y="247650"/>
                    </a:lnTo>
                    <a:cubicBezTo>
                      <a:pt x="28575" y="247650"/>
                      <a:pt x="28575" y="247650"/>
                      <a:pt x="28575" y="247650"/>
                    </a:cubicBezTo>
                    <a:cubicBezTo>
                      <a:pt x="29527" y="246698"/>
                      <a:pt x="29527" y="246698"/>
                      <a:pt x="30480" y="245745"/>
                    </a:cubicBezTo>
                    <a:cubicBezTo>
                      <a:pt x="30480" y="245745"/>
                      <a:pt x="30480" y="245745"/>
                      <a:pt x="30480" y="245745"/>
                    </a:cubicBezTo>
                    <a:cubicBezTo>
                      <a:pt x="30480" y="245745"/>
                      <a:pt x="30480" y="245745"/>
                      <a:pt x="31432" y="244792"/>
                    </a:cubicBezTo>
                    <a:cubicBezTo>
                      <a:pt x="31432" y="244792"/>
                      <a:pt x="32385" y="243840"/>
                      <a:pt x="32385" y="243840"/>
                    </a:cubicBezTo>
                    <a:cubicBezTo>
                      <a:pt x="32385" y="243840"/>
                      <a:pt x="32385" y="243840"/>
                      <a:pt x="32385" y="243840"/>
                    </a:cubicBezTo>
                    <a:cubicBezTo>
                      <a:pt x="33338" y="242888"/>
                      <a:pt x="33338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4290" y="241935"/>
                      <a:pt x="34290" y="241935"/>
                    </a:cubicBezTo>
                    <a:cubicBezTo>
                      <a:pt x="34290" y="241935"/>
                      <a:pt x="35243" y="240983"/>
                      <a:pt x="35243" y="240983"/>
                    </a:cubicBezTo>
                    <a:cubicBezTo>
                      <a:pt x="35243" y="240983"/>
                      <a:pt x="35243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40030"/>
                      <a:pt x="36195" y="240030"/>
                    </a:cubicBezTo>
                    <a:cubicBezTo>
                      <a:pt x="36195" y="240030"/>
                      <a:pt x="36195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9078"/>
                    </a:cubicBezTo>
                    <a:cubicBezTo>
                      <a:pt x="37148" y="239078"/>
                      <a:pt x="37148" y="239078"/>
                      <a:pt x="37148" y="238125"/>
                    </a:cubicBezTo>
                    <a:cubicBezTo>
                      <a:pt x="37148" y="238125"/>
                      <a:pt x="37148" y="238125"/>
                      <a:pt x="37148" y="238125"/>
                    </a:cubicBezTo>
                    <a:cubicBezTo>
                      <a:pt x="37148" y="238125"/>
                      <a:pt x="37148" y="237173"/>
                      <a:pt x="37148" y="237173"/>
                    </a:cubicBezTo>
                    <a:cubicBezTo>
                      <a:pt x="37148" y="237173"/>
                      <a:pt x="37148" y="237173"/>
                      <a:pt x="37148" y="237173"/>
                    </a:cubicBezTo>
                    <a:cubicBezTo>
                      <a:pt x="38100" y="236220"/>
                      <a:pt x="38100" y="235267"/>
                      <a:pt x="39052" y="234315"/>
                    </a:cubicBezTo>
                    <a:cubicBezTo>
                      <a:pt x="39052" y="234315"/>
                      <a:pt x="39052" y="234315"/>
                      <a:pt x="39052" y="234315"/>
                    </a:cubicBezTo>
                    <a:cubicBezTo>
                      <a:pt x="38100" y="234315"/>
                      <a:pt x="38100" y="235267"/>
                      <a:pt x="37148" y="236220"/>
                    </a:cubicBezTo>
                    <a:cubicBezTo>
                      <a:pt x="36195" y="236220"/>
                      <a:pt x="35243" y="236220"/>
                      <a:pt x="36195" y="235267"/>
                    </a:cubicBezTo>
                    <a:cubicBezTo>
                      <a:pt x="36195" y="235267"/>
                      <a:pt x="37148" y="234315"/>
                      <a:pt x="37148" y="234315"/>
                    </a:cubicBezTo>
                    <a:cubicBezTo>
                      <a:pt x="37148" y="234315"/>
                      <a:pt x="37148" y="234315"/>
                      <a:pt x="37148" y="234315"/>
                    </a:cubicBezTo>
                    <a:cubicBezTo>
                      <a:pt x="38100" y="233363"/>
                      <a:pt x="39052" y="232410"/>
                      <a:pt x="40005" y="231458"/>
                    </a:cubicBezTo>
                    <a:cubicBezTo>
                      <a:pt x="40957" y="231458"/>
                      <a:pt x="40957" y="230505"/>
                      <a:pt x="41910" y="230505"/>
                    </a:cubicBezTo>
                    <a:cubicBezTo>
                      <a:pt x="41910" y="230505"/>
                      <a:pt x="41910" y="230505"/>
                      <a:pt x="41910" y="230505"/>
                    </a:cubicBezTo>
                    <a:cubicBezTo>
                      <a:pt x="41910" y="230505"/>
                      <a:pt x="42863" y="229553"/>
                      <a:pt x="42863" y="229553"/>
                    </a:cubicBezTo>
                    <a:cubicBezTo>
                      <a:pt x="42863" y="229553"/>
                      <a:pt x="42863" y="229553"/>
                      <a:pt x="42863" y="229553"/>
                    </a:cubicBezTo>
                    <a:cubicBezTo>
                      <a:pt x="47625" y="224790"/>
                      <a:pt x="56198" y="224790"/>
                      <a:pt x="62865" y="221933"/>
                    </a:cubicBezTo>
                    <a:cubicBezTo>
                      <a:pt x="65723" y="220980"/>
                      <a:pt x="68580" y="222885"/>
                      <a:pt x="71438" y="221933"/>
                    </a:cubicBezTo>
                    <a:cubicBezTo>
                      <a:pt x="73343" y="221933"/>
                      <a:pt x="74295" y="221933"/>
                      <a:pt x="76200" y="222885"/>
                    </a:cubicBezTo>
                    <a:cubicBezTo>
                      <a:pt x="66675" y="222885"/>
                      <a:pt x="62865" y="225742"/>
                      <a:pt x="58102" y="228600"/>
                    </a:cubicBezTo>
                    <a:moveTo>
                      <a:pt x="68580" y="193358"/>
                    </a:moveTo>
                    <a:cubicBezTo>
                      <a:pt x="67627" y="192405"/>
                      <a:pt x="70485" y="193358"/>
                      <a:pt x="70485" y="192405"/>
                    </a:cubicBezTo>
                    <a:lnTo>
                      <a:pt x="66675" y="192405"/>
                    </a:lnTo>
                    <a:cubicBezTo>
                      <a:pt x="65723" y="192405"/>
                      <a:pt x="65723" y="191453"/>
                      <a:pt x="65723" y="191453"/>
                    </a:cubicBezTo>
                    <a:cubicBezTo>
                      <a:pt x="62865" y="192405"/>
                      <a:pt x="60007" y="193358"/>
                      <a:pt x="57150" y="193358"/>
                    </a:cubicBezTo>
                    <a:cubicBezTo>
                      <a:pt x="53340" y="194310"/>
                      <a:pt x="50482" y="197167"/>
                      <a:pt x="46673" y="198120"/>
                    </a:cubicBezTo>
                    <a:cubicBezTo>
                      <a:pt x="40957" y="200025"/>
                      <a:pt x="36195" y="204788"/>
                      <a:pt x="30480" y="206692"/>
                    </a:cubicBezTo>
                    <a:cubicBezTo>
                      <a:pt x="29527" y="206692"/>
                      <a:pt x="29527" y="205740"/>
                      <a:pt x="29527" y="205740"/>
                    </a:cubicBezTo>
                    <a:cubicBezTo>
                      <a:pt x="30480" y="203835"/>
                      <a:pt x="32385" y="203835"/>
                      <a:pt x="33338" y="201930"/>
                    </a:cubicBezTo>
                    <a:cubicBezTo>
                      <a:pt x="33338" y="200978"/>
                      <a:pt x="33338" y="200978"/>
                      <a:pt x="32385" y="200978"/>
                    </a:cubicBezTo>
                    <a:cubicBezTo>
                      <a:pt x="36195" y="195263"/>
                      <a:pt x="41910" y="192405"/>
                      <a:pt x="47625" y="187642"/>
                    </a:cubicBezTo>
                    <a:lnTo>
                      <a:pt x="47625" y="185738"/>
                    </a:lnTo>
                    <a:cubicBezTo>
                      <a:pt x="49530" y="183833"/>
                      <a:pt x="51435" y="182880"/>
                      <a:pt x="52388" y="180023"/>
                    </a:cubicBezTo>
                    <a:cubicBezTo>
                      <a:pt x="53340" y="178117"/>
                      <a:pt x="55245" y="176213"/>
                      <a:pt x="57150" y="175260"/>
                    </a:cubicBezTo>
                    <a:cubicBezTo>
                      <a:pt x="56198" y="174308"/>
                      <a:pt x="55245" y="174308"/>
                      <a:pt x="55245" y="173355"/>
                    </a:cubicBezTo>
                    <a:cubicBezTo>
                      <a:pt x="53340" y="173355"/>
                      <a:pt x="51435" y="174308"/>
                      <a:pt x="49530" y="172403"/>
                    </a:cubicBezTo>
                    <a:cubicBezTo>
                      <a:pt x="50482" y="171450"/>
                      <a:pt x="51435" y="170498"/>
                      <a:pt x="52388" y="170498"/>
                    </a:cubicBezTo>
                    <a:cubicBezTo>
                      <a:pt x="52388" y="170498"/>
                      <a:pt x="51435" y="170498"/>
                      <a:pt x="51435" y="169545"/>
                    </a:cubicBezTo>
                    <a:cubicBezTo>
                      <a:pt x="50482" y="168592"/>
                      <a:pt x="52388" y="167640"/>
                      <a:pt x="54293" y="166688"/>
                    </a:cubicBezTo>
                    <a:cubicBezTo>
                      <a:pt x="56198" y="165735"/>
                      <a:pt x="59055" y="165735"/>
                      <a:pt x="60007" y="164783"/>
                    </a:cubicBezTo>
                    <a:cubicBezTo>
                      <a:pt x="56198" y="163830"/>
                      <a:pt x="52388" y="165735"/>
                      <a:pt x="48577" y="163830"/>
                    </a:cubicBezTo>
                    <a:cubicBezTo>
                      <a:pt x="51435" y="157163"/>
                      <a:pt x="55245" y="151448"/>
                      <a:pt x="60960" y="148590"/>
                    </a:cubicBezTo>
                    <a:cubicBezTo>
                      <a:pt x="61913" y="148590"/>
                      <a:pt x="62865" y="148590"/>
                      <a:pt x="62865" y="149542"/>
                    </a:cubicBezTo>
                    <a:cubicBezTo>
                      <a:pt x="62865" y="152400"/>
                      <a:pt x="60960" y="154305"/>
                      <a:pt x="59055" y="154305"/>
                    </a:cubicBezTo>
                    <a:cubicBezTo>
                      <a:pt x="62865" y="155258"/>
                      <a:pt x="67627" y="155258"/>
                      <a:pt x="71438" y="157163"/>
                    </a:cubicBezTo>
                    <a:cubicBezTo>
                      <a:pt x="70485" y="158115"/>
                      <a:pt x="69532" y="158115"/>
                      <a:pt x="69532" y="158115"/>
                    </a:cubicBezTo>
                    <a:cubicBezTo>
                      <a:pt x="72390" y="160020"/>
                      <a:pt x="75248" y="159067"/>
                      <a:pt x="78105" y="160973"/>
                    </a:cubicBezTo>
                    <a:cubicBezTo>
                      <a:pt x="76200" y="162878"/>
                      <a:pt x="75248" y="160973"/>
                      <a:pt x="73343" y="160973"/>
                    </a:cubicBezTo>
                    <a:cubicBezTo>
                      <a:pt x="89535" y="165735"/>
                      <a:pt x="105727" y="169545"/>
                      <a:pt x="119063" y="179070"/>
                    </a:cubicBezTo>
                    <a:cubicBezTo>
                      <a:pt x="107632" y="184785"/>
                      <a:pt x="96202" y="187642"/>
                      <a:pt x="83820" y="189548"/>
                    </a:cubicBezTo>
                    <a:cubicBezTo>
                      <a:pt x="81915" y="189548"/>
                      <a:pt x="80963" y="189548"/>
                      <a:pt x="80010" y="188595"/>
                    </a:cubicBezTo>
                    <a:cubicBezTo>
                      <a:pt x="80010" y="189548"/>
                      <a:pt x="80010" y="190500"/>
                      <a:pt x="79057" y="190500"/>
                    </a:cubicBezTo>
                    <a:cubicBezTo>
                      <a:pt x="77152" y="190500"/>
                      <a:pt x="75248" y="190500"/>
                      <a:pt x="74295" y="191453"/>
                    </a:cubicBezTo>
                    <a:cubicBezTo>
                      <a:pt x="73343" y="194310"/>
                      <a:pt x="70485" y="194310"/>
                      <a:pt x="68580" y="193358"/>
                    </a:cubicBezTo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6" name="Forme libre : forme 15">
                <a:extLst>
                  <a:ext uri="{FF2B5EF4-FFF2-40B4-BE49-F238E27FC236}">
                    <a16:creationId xmlns:a16="http://schemas.microsoft.com/office/drawing/2014/main" id="{D8D3202E-8F82-4420-97EA-F8CC611573DC}"/>
                  </a:ext>
                </a:extLst>
              </p:cNvPr>
              <p:cNvSpPr/>
              <p:nvPr/>
            </p:nvSpPr>
            <p:spPr>
              <a:xfrm>
                <a:off x="270509" y="270509"/>
                <a:ext cx="349567" cy="269557"/>
              </a:xfrm>
              <a:custGeom>
                <a:avLst/>
                <a:gdLst>
                  <a:gd name="connsiteX0" fmla="*/ 306705 w 349567"/>
                  <a:gd name="connsiteY0" fmla="*/ 237173 h 269557"/>
                  <a:gd name="connsiteX1" fmla="*/ 315278 w 349567"/>
                  <a:gd name="connsiteY1" fmla="*/ 227648 h 269557"/>
                  <a:gd name="connsiteX2" fmla="*/ 315278 w 349567"/>
                  <a:gd name="connsiteY2" fmla="*/ 227648 h 269557"/>
                  <a:gd name="connsiteX3" fmla="*/ 332423 w 349567"/>
                  <a:gd name="connsiteY3" fmla="*/ 210503 h 269557"/>
                  <a:gd name="connsiteX4" fmla="*/ 338138 w 349567"/>
                  <a:gd name="connsiteY4" fmla="*/ 205740 h 269557"/>
                  <a:gd name="connsiteX5" fmla="*/ 339090 w 349567"/>
                  <a:gd name="connsiteY5" fmla="*/ 203835 h 269557"/>
                  <a:gd name="connsiteX6" fmla="*/ 332423 w 349567"/>
                  <a:gd name="connsiteY6" fmla="*/ 207645 h 269557"/>
                  <a:gd name="connsiteX7" fmla="*/ 331470 w 349567"/>
                  <a:gd name="connsiteY7" fmla="*/ 206692 h 269557"/>
                  <a:gd name="connsiteX8" fmla="*/ 337185 w 349567"/>
                  <a:gd name="connsiteY8" fmla="*/ 202883 h 269557"/>
                  <a:gd name="connsiteX9" fmla="*/ 337185 w 349567"/>
                  <a:gd name="connsiteY9" fmla="*/ 202883 h 269557"/>
                  <a:gd name="connsiteX10" fmla="*/ 336233 w 349567"/>
                  <a:gd name="connsiteY10" fmla="*/ 201930 h 269557"/>
                  <a:gd name="connsiteX11" fmla="*/ 320040 w 349567"/>
                  <a:gd name="connsiteY11" fmla="*/ 210503 h 269557"/>
                  <a:gd name="connsiteX12" fmla="*/ 317183 w 349567"/>
                  <a:gd name="connsiteY12" fmla="*/ 209550 h 269557"/>
                  <a:gd name="connsiteX13" fmla="*/ 296228 w 349567"/>
                  <a:gd name="connsiteY13" fmla="*/ 221933 h 269557"/>
                  <a:gd name="connsiteX14" fmla="*/ 296228 w 349567"/>
                  <a:gd name="connsiteY14" fmla="*/ 220980 h 269557"/>
                  <a:gd name="connsiteX15" fmla="*/ 286703 w 349567"/>
                  <a:gd name="connsiteY15" fmla="*/ 224790 h 269557"/>
                  <a:gd name="connsiteX16" fmla="*/ 274320 w 349567"/>
                  <a:gd name="connsiteY16" fmla="*/ 225742 h 269557"/>
                  <a:gd name="connsiteX17" fmla="*/ 256223 w 349567"/>
                  <a:gd name="connsiteY17" fmla="*/ 228600 h 269557"/>
                  <a:gd name="connsiteX18" fmla="*/ 255270 w 349567"/>
                  <a:gd name="connsiteY18" fmla="*/ 228600 h 269557"/>
                  <a:gd name="connsiteX19" fmla="*/ 245745 w 349567"/>
                  <a:gd name="connsiteY19" fmla="*/ 232410 h 269557"/>
                  <a:gd name="connsiteX20" fmla="*/ 245745 w 349567"/>
                  <a:gd name="connsiteY20" fmla="*/ 232410 h 269557"/>
                  <a:gd name="connsiteX21" fmla="*/ 244792 w 349567"/>
                  <a:gd name="connsiteY21" fmla="*/ 233363 h 269557"/>
                  <a:gd name="connsiteX22" fmla="*/ 240983 w 349567"/>
                  <a:gd name="connsiteY22" fmla="*/ 236220 h 269557"/>
                  <a:gd name="connsiteX23" fmla="*/ 232410 w 349567"/>
                  <a:gd name="connsiteY23" fmla="*/ 242888 h 269557"/>
                  <a:gd name="connsiteX24" fmla="*/ 231458 w 349567"/>
                  <a:gd name="connsiteY24" fmla="*/ 242888 h 269557"/>
                  <a:gd name="connsiteX25" fmla="*/ 222885 w 349567"/>
                  <a:gd name="connsiteY25" fmla="*/ 250508 h 269557"/>
                  <a:gd name="connsiteX26" fmla="*/ 220980 w 349567"/>
                  <a:gd name="connsiteY26" fmla="*/ 250508 h 269557"/>
                  <a:gd name="connsiteX27" fmla="*/ 220980 w 349567"/>
                  <a:gd name="connsiteY27" fmla="*/ 250508 h 269557"/>
                  <a:gd name="connsiteX28" fmla="*/ 220980 w 349567"/>
                  <a:gd name="connsiteY28" fmla="*/ 249555 h 269557"/>
                  <a:gd name="connsiteX29" fmla="*/ 221933 w 349567"/>
                  <a:gd name="connsiteY29" fmla="*/ 247650 h 269557"/>
                  <a:gd name="connsiteX30" fmla="*/ 223838 w 349567"/>
                  <a:gd name="connsiteY30" fmla="*/ 245745 h 269557"/>
                  <a:gd name="connsiteX31" fmla="*/ 225742 w 349567"/>
                  <a:gd name="connsiteY31" fmla="*/ 242888 h 269557"/>
                  <a:gd name="connsiteX32" fmla="*/ 225742 w 349567"/>
                  <a:gd name="connsiteY32" fmla="*/ 241935 h 269557"/>
                  <a:gd name="connsiteX33" fmla="*/ 224790 w 349567"/>
                  <a:gd name="connsiteY33" fmla="*/ 241935 h 269557"/>
                  <a:gd name="connsiteX34" fmla="*/ 233363 w 349567"/>
                  <a:gd name="connsiteY34" fmla="*/ 235267 h 269557"/>
                  <a:gd name="connsiteX35" fmla="*/ 233363 w 349567"/>
                  <a:gd name="connsiteY35" fmla="*/ 235267 h 269557"/>
                  <a:gd name="connsiteX36" fmla="*/ 232410 w 349567"/>
                  <a:gd name="connsiteY36" fmla="*/ 234315 h 269557"/>
                  <a:gd name="connsiteX37" fmla="*/ 233363 w 349567"/>
                  <a:gd name="connsiteY37" fmla="*/ 233363 h 269557"/>
                  <a:gd name="connsiteX38" fmla="*/ 233363 w 349567"/>
                  <a:gd name="connsiteY38" fmla="*/ 233363 h 269557"/>
                  <a:gd name="connsiteX39" fmla="*/ 233363 w 349567"/>
                  <a:gd name="connsiteY39" fmla="*/ 233363 h 269557"/>
                  <a:gd name="connsiteX40" fmla="*/ 233363 w 349567"/>
                  <a:gd name="connsiteY40" fmla="*/ 234315 h 269557"/>
                  <a:gd name="connsiteX41" fmla="*/ 229553 w 349567"/>
                  <a:gd name="connsiteY41" fmla="*/ 237173 h 269557"/>
                  <a:gd name="connsiteX42" fmla="*/ 228600 w 349567"/>
                  <a:gd name="connsiteY42" fmla="*/ 237173 h 269557"/>
                  <a:gd name="connsiteX43" fmla="*/ 227648 w 349567"/>
                  <a:gd name="connsiteY43" fmla="*/ 237173 h 269557"/>
                  <a:gd name="connsiteX44" fmla="*/ 227648 w 349567"/>
                  <a:gd name="connsiteY44" fmla="*/ 237173 h 269557"/>
                  <a:gd name="connsiteX45" fmla="*/ 227648 w 349567"/>
                  <a:gd name="connsiteY45" fmla="*/ 237173 h 269557"/>
                  <a:gd name="connsiteX46" fmla="*/ 227648 w 349567"/>
                  <a:gd name="connsiteY46" fmla="*/ 237173 h 269557"/>
                  <a:gd name="connsiteX47" fmla="*/ 227648 w 349567"/>
                  <a:gd name="connsiteY47" fmla="*/ 237173 h 269557"/>
                  <a:gd name="connsiteX48" fmla="*/ 227648 w 349567"/>
                  <a:gd name="connsiteY48" fmla="*/ 237173 h 269557"/>
                  <a:gd name="connsiteX49" fmla="*/ 227648 w 349567"/>
                  <a:gd name="connsiteY49" fmla="*/ 237173 h 269557"/>
                  <a:gd name="connsiteX50" fmla="*/ 227648 w 349567"/>
                  <a:gd name="connsiteY50" fmla="*/ 236220 h 269557"/>
                  <a:gd name="connsiteX51" fmla="*/ 227648 w 349567"/>
                  <a:gd name="connsiteY51" fmla="*/ 236220 h 269557"/>
                  <a:gd name="connsiteX52" fmla="*/ 228600 w 349567"/>
                  <a:gd name="connsiteY52" fmla="*/ 235267 h 269557"/>
                  <a:gd name="connsiteX53" fmla="*/ 228600 w 349567"/>
                  <a:gd name="connsiteY53" fmla="*/ 234315 h 269557"/>
                  <a:gd name="connsiteX54" fmla="*/ 229553 w 349567"/>
                  <a:gd name="connsiteY54" fmla="*/ 233363 h 269557"/>
                  <a:gd name="connsiteX55" fmla="*/ 229553 w 349567"/>
                  <a:gd name="connsiteY55" fmla="*/ 232410 h 269557"/>
                  <a:gd name="connsiteX56" fmla="*/ 233363 w 349567"/>
                  <a:gd name="connsiteY56" fmla="*/ 229553 h 269557"/>
                  <a:gd name="connsiteX57" fmla="*/ 233363 w 349567"/>
                  <a:gd name="connsiteY57" fmla="*/ 229553 h 269557"/>
                  <a:gd name="connsiteX58" fmla="*/ 239078 w 349567"/>
                  <a:gd name="connsiteY58" fmla="*/ 226695 h 269557"/>
                  <a:gd name="connsiteX59" fmla="*/ 240030 w 349567"/>
                  <a:gd name="connsiteY59" fmla="*/ 225742 h 269557"/>
                  <a:gd name="connsiteX60" fmla="*/ 231458 w 349567"/>
                  <a:gd name="connsiteY60" fmla="*/ 229553 h 269557"/>
                  <a:gd name="connsiteX61" fmla="*/ 230505 w 349567"/>
                  <a:gd name="connsiteY61" fmla="*/ 229553 h 269557"/>
                  <a:gd name="connsiteX62" fmla="*/ 229553 w 349567"/>
                  <a:gd name="connsiteY62" fmla="*/ 229553 h 269557"/>
                  <a:gd name="connsiteX63" fmla="*/ 229553 w 349567"/>
                  <a:gd name="connsiteY63" fmla="*/ 229553 h 269557"/>
                  <a:gd name="connsiteX64" fmla="*/ 232410 w 349567"/>
                  <a:gd name="connsiteY64" fmla="*/ 226695 h 269557"/>
                  <a:gd name="connsiteX65" fmla="*/ 233363 w 349567"/>
                  <a:gd name="connsiteY65" fmla="*/ 227648 h 269557"/>
                  <a:gd name="connsiteX66" fmla="*/ 291465 w 349567"/>
                  <a:gd name="connsiteY66" fmla="*/ 211455 h 269557"/>
                  <a:gd name="connsiteX67" fmla="*/ 296228 w 349567"/>
                  <a:gd name="connsiteY67" fmla="*/ 208598 h 269557"/>
                  <a:gd name="connsiteX68" fmla="*/ 303848 w 349567"/>
                  <a:gd name="connsiteY68" fmla="*/ 203835 h 269557"/>
                  <a:gd name="connsiteX69" fmla="*/ 312420 w 349567"/>
                  <a:gd name="connsiteY69" fmla="*/ 192405 h 269557"/>
                  <a:gd name="connsiteX70" fmla="*/ 311468 w 349567"/>
                  <a:gd name="connsiteY70" fmla="*/ 191453 h 269557"/>
                  <a:gd name="connsiteX71" fmla="*/ 288608 w 349567"/>
                  <a:gd name="connsiteY71" fmla="*/ 208598 h 269557"/>
                  <a:gd name="connsiteX72" fmla="*/ 255270 w 349567"/>
                  <a:gd name="connsiteY72" fmla="*/ 214313 h 269557"/>
                  <a:gd name="connsiteX73" fmla="*/ 258128 w 349567"/>
                  <a:gd name="connsiteY73" fmla="*/ 213360 h 269557"/>
                  <a:gd name="connsiteX74" fmla="*/ 260033 w 349567"/>
                  <a:gd name="connsiteY74" fmla="*/ 210503 h 269557"/>
                  <a:gd name="connsiteX75" fmla="*/ 261938 w 349567"/>
                  <a:gd name="connsiteY75" fmla="*/ 210503 h 269557"/>
                  <a:gd name="connsiteX76" fmla="*/ 262890 w 349567"/>
                  <a:gd name="connsiteY76" fmla="*/ 209550 h 269557"/>
                  <a:gd name="connsiteX77" fmla="*/ 264795 w 349567"/>
                  <a:gd name="connsiteY77" fmla="*/ 208598 h 269557"/>
                  <a:gd name="connsiteX78" fmla="*/ 257175 w 349567"/>
                  <a:gd name="connsiteY78" fmla="*/ 208598 h 269557"/>
                  <a:gd name="connsiteX79" fmla="*/ 259080 w 349567"/>
                  <a:gd name="connsiteY79" fmla="*/ 205740 h 269557"/>
                  <a:gd name="connsiteX80" fmla="*/ 260985 w 349567"/>
                  <a:gd name="connsiteY80" fmla="*/ 205740 h 269557"/>
                  <a:gd name="connsiteX81" fmla="*/ 261938 w 349567"/>
                  <a:gd name="connsiteY81" fmla="*/ 203835 h 269557"/>
                  <a:gd name="connsiteX82" fmla="*/ 283845 w 349567"/>
                  <a:gd name="connsiteY82" fmla="*/ 191453 h 269557"/>
                  <a:gd name="connsiteX83" fmla="*/ 280035 w 349567"/>
                  <a:gd name="connsiteY83" fmla="*/ 192405 h 269557"/>
                  <a:gd name="connsiteX84" fmla="*/ 280988 w 349567"/>
                  <a:gd name="connsiteY84" fmla="*/ 190500 h 269557"/>
                  <a:gd name="connsiteX85" fmla="*/ 297180 w 349567"/>
                  <a:gd name="connsiteY85" fmla="*/ 183833 h 269557"/>
                  <a:gd name="connsiteX86" fmla="*/ 291465 w 349567"/>
                  <a:gd name="connsiteY86" fmla="*/ 183833 h 269557"/>
                  <a:gd name="connsiteX87" fmla="*/ 294323 w 349567"/>
                  <a:gd name="connsiteY87" fmla="*/ 181928 h 269557"/>
                  <a:gd name="connsiteX88" fmla="*/ 294323 w 349567"/>
                  <a:gd name="connsiteY88" fmla="*/ 180023 h 269557"/>
                  <a:gd name="connsiteX89" fmla="*/ 295275 w 349567"/>
                  <a:gd name="connsiteY89" fmla="*/ 179070 h 269557"/>
                  <a:gd name="connsiteX90" fmla="*/ 294323 w 349567"/>
                  <a:gd name="connsiteY90" fmla="*/ 178117 h 269557"/>
                  <a:gd name="connsiteX91" fmla="*/ 297180 w 349567"/>
                  <a:gd name="connsiteY91" fmla="*/ 176213 h 269557"/>
                  <a:gd name="connsiteX92" fmla="*/ 295275 w 349567"/>
                  <a:gd name="connsiteY92" fmla="*/ 175260 h 269557"/>
                  <a:gd name="connsiteX93" fmla="*/ 301943 w 349567"/>
                  <a:gd name="connsiteY93" fmla="*/ 172403 h 269557"/>
                  <a:gd name="connsiteX94" fmla="*/ 300038 w 349567"/>
                  <a:gd name="connsiteY94" fmla="*/ 171450 h 269557"/>
                  <a:gd name="connsiteX95" fmla="*/ 300990 w 349567"/>
                  <a:gd name="connsiteY95" fmla="*/ 170498 h 269557"/>
                  <a:gd name="connsiteX96" fmla="*/ 300990 w 349567"/>
                  <a:gd name="connsiteY96" fmla="*/ 170498 h 269557"/>
                  <a:gd name="connsiteX97" fmla="*/ 300038 w 349567"/>
                  <a:gd name="connsiteY97" fmla="*/ 168592 h 269557"/>
                  <a:gd name="connsiteX98" fmla="*/ 304800 w 349567"/>
                  <a:gd name="connsiteY98" fmla="*/ 156210 h 269557"/>
                  <a:gd name="connsiteX99" fmla="*/ 303848 w 349567"/>
                  <a:gd name="connsiteY99" fmla="*/ 155258 h 269557"/>
                  <a:gd name="connsiteX100" fmla="*/ 282893 w 349567"/>
                  <a:gd name="connsiteY100" fmla="*/ 164783 h 269557"/>
                  <a:gd name="connsiteX101" fmla="*/ 280035 w 349567"/>
                  <a:gd name="connsiteY101" fmla="*/ 164783 h 269557"/>
                  <a:gd name="connsiteX102" fmla="*/ 271463 w 349567"/>
                  <a:gd name="connsiteY102" fmla="*/ 163830 h 269557"/>
                  <a:gd name="connsiteX103" fmla="*/ 266700 w 349567"/>
                  <a:gd name="connsiteY103" fmla="*/ 160020 h 269557"/>
                  <a:gd name="connsiteX104" fmla="*/ 254317 w 349567"/>
                  <a:gd name="connsiteY104" fmla="*/ 154305 h 269557"/>
                  <a:gd name="connsiteX105" fmla="*/ 215265 w 349567"/>
                  <a:gd name="connsiteY105" fmla="*/ 148590 h 269557"/>
                  <a:gd name="connsiteX106" fmla="*/ 233363 w 349567"/>
                  <a:gd name="connsiteY106" fmla="*/ 143828 h 269557"/>
                  <a:gd name="connsiteX107" fmla="*/ 259080 w 349567"/>
                  <a:gd name="connsiteY107" fmla="*/ 139065 h 269557"/>
                  <a:gd name="connsiteX108" fmla="*/ 254317 w 349567"/>
                  <a:gd name="connsiteY108" fmla="*/ 139065 h 269557"/>
                  <a:gd name="connsiteX109" fmla="*/ 232410 w 349567"/>
                  <a:gd name="connsiteY109" fmla="*/ 141923 h 269557"/>
                  <a:gd name="connsiteX110" fmla="*/ 217170 w 349567"/>
                  <a:gd name="connsiteY110" fmla="*/ 145733 h 269557"/>
                  <a:gd name="connsiteX111" fmla="*/ 208598 w 349567"/>
                  <a:gd name="connsiteY111" fmla="*/ 149542 h 269557"/>
                  <a:gd name="connsiteX112" fmla="*/ 208598 w 349567"/>
                  <a:gd name="connsiteY112" fmla="*/ 147638 h 269557"/>
                  <a:gd name="connsiteX113" fmla="*/ 227648 w 349567"/>
                  <a:gd name="connsiteY113" fmla="*/ 135255 h 269557"/>
                  <a:gd name="connsiteX114" fmla="*/ 254317 w 349567"/>
                  <a:gd name="connsiteY114" fmla="*/ 136208 h 269557"/>
                  <a:gd name="connsiteX115" fmla="*/ 273368 w 349567"/>
                  <a:gd name="connsiteY115" fmla="*/ 140017 h 269557"/>
                  <a:gd name="connsiteX116" fmla="*/ 278130 w 349567"/>
                  <a:gd name="connsiteY116" fmla="*/ 144780 h 269557"/>
                  <a:gd name="connsiteX117" fmla="*/ 287655 w 349567"/>
                  <a:gd name="connsiteY117" fmla="*/ 146685 h 269557"/>
                  <a:gd name="connsiteX118" fmla="*/ 287655 w 349567"/>
                  <a:gd name="connsiteY118" fmla="*/ 143828 h 269557"/>
                  <a:gd name="connsiteX119" fmla="*/ 294323 w 349567"/>
                  <a:gd name="connsiteY119" fmla="*/ 142875 h 269557"/>
                  <a:gd name="connsiteX120" fmla="*/ 288608 w 349567"/>
                  <a:gd name="connsiteY120" fmla="*/ 132398 h 269557"/>
                  <a:gd name="connsiteX121" fmla="*/ 289560 w 349567"/>
                  <a:gd name="connsiteY121" fmla="*/ 131445 h 269557"/>
                  <a:gd name="connsiteX122" fmla="*/ 301943 w 349567"/>
                  <a:gd name="connsiteY122" fmla="*/ 141923 h 269557"/>
                  <a:gd name="connsiteX123" fmla="*/ 309563 w 349567"/>
                  <a:gd name="connsiteY123" fmla="*/ 140970 h 269557"/>
                  <a:gd name="connsiteX124" fmla="*/ 298133 w 349567"/>
                  <a:gd name="connsiteY124" fmla="*/ 125730 h 269557"/>
                  <a:gd name="connsiteX125" fmla="*/ 298133 w 349567"/>
                  <a:gd name="connsiteY125" fmla="*/ 123825 h 269557"/>
                  <a:gd name="connsiteX126" fmla="*/ 296228 w 349567"/>
                  <a:gd name="connsiteY126" fmla="*/ 122873 h 269557"/>
                  <a:gd name="connsiteX127" fmla="*/ 296228 w 349567"/>
                  <a:gd name="connsiteY127" fmla="*/ 120015 h 269557"/>
                  <a:gd name="connsiteX128" fmla="*/ 293370 w 349567"/>
                  <a:gd name="connsiteY128" fmla="*/ 115253 h 269557"/>
                  <a:gd name="connsiteX129" fmla="*/ 291465 w 349567"/>
                  <a:gd name="connsiteY129" fmla="*/ 105728 h 269557"/>
                  <a:gd name="connsiteX130" fmla="*/ 290513 w 349567"/>
                  <a:gd name="connsiteY130" fmla="*/ 98108 h 269557"/>
                  <a:gd name="connsiteX131" fmla="*/ 285750 w 349567"/>
                  <a:gd name="connsiteY131" fmla="*/ 73342 h 269557"/>
                  <a:gd name="connsiteX132" fmla="*/ 296228 w 349567"/>
                  <a:gd name="connsiteY132" fmla="*/ 47625 h 269557"/>
                  <a:gd name="connsiteX133" fmla="*/ 310515 w 349567"/>
                  <a:gd name="connsiteY133" fmla="*/ 31433 h 269557"/>
                  <a:gd name="connsiteX134" fmla="*/ 320040 w 349567"/>
                  <a:gd name="connsiteY134" fmla="*/ 15240 h 269557"/>
                  <a:gd name="connsiteX135" fmla="*/ 336233 w 349567"/>
                  <a:gd name="connsiteY135" fmla="*/ 4763 h 269557"/>
                  <a:gd name="connsiteX136" fmla="*/ 349568 w 349567"/>
                  <a:gd name="connsiteY136" fmla="*/ 0 h 269557"/>
                  <a:gd name="connsiteX137" fmla="*/ 0 w 349567"/>
                  <a:gd name="connsiteY137" fmla="*/ 0 h 269557"/>
                  <a:gd name="connsiteX138" fmla="*/ 0 w 349567"/>
                  <a:gd name="connsiteY138" fmla="*/ 269558 h 269557"/>
                  <a:gd name="connsiteX139" fmla="*/ 247650 w 349567"/>
                  <a:gd name="connsiteY139" fmla="*/ 269558 h 269557"/>
                  <a:gd name="connsiteX140" fmla="*/ 280988 w 349567"/>
                  <a:gd name="connsiteY140" fmla="*/ 252413 h 269557"/>
                  <a:gd name="connsiteX141" fmla="*/ 306705 w 349567"/>
                  <a:gd name="connsiteY141" fmla="*/ 237173 h 269557"/>
                  <a:gd name="connsiteX142" fmla="*/ 227648 w 349567"/>
                  <a:gd name="connsiteY142" fmla="*/ 200978 h 269557"/>
                  <a:gd name="connsiteX143" fmla="*/ 224790 w 349567"/>
                  <a:gd name="connsiteY143" fmla="*/ 200025 h 269557"/>
                  <a:gd name="connsiteX144" fmla="*/ 230505 w 349567"/>
                  <a:gd name="connsiteY144" fmla="*/ 196215 h 269557"/>
                  <a:gd name="connsiteX145" fmla="*/ 234315 w 349567"/>
                  <a:gd name="connsiteY145" fmla="*/ 195263 h 269557"/>
                  <a:gd name="connsiteX146" fmla="*/ 238125 w 349567"/>
                  <a:gd name="connsiteY146" fmla="*/ 197167 h 269557"/>
                  <a:gd name="connsiteX147" fmla="*/ 227648 w 349567"/>
                  <a:gd name="connsiteY147" fmla="*/ 200978 h 269557"/>
                  <a:gd name="connsiteX148" fmla="*/ 149542 w 349567"/>
                  <a:gd name="connsiteY148" fmla="*/ 189548 h 269557"/>
                  <a:gd name="connsiteX149" fmla="*/ 148590 w 349567"/>
                  <a:gd name="connsiteY149" fmla="*/ 188595 h 269557"/>
                  <a:gd name="connsiteX150" fmla="*/ 164783 w 349567"/>
                  <a:gd name="connsiteY150" fmla="*/ 162878 h 269557"/>
                  <a:gd name="connsiteX151" fmla="*/ 181928 w 349567"/>
                  <a:gd name="connsiteY151" fmla="*/ 148590 h 269557"/>
                  <a:gd name="connsiteX152" fmla="*/ 210503 w 349567"/>
                  <a:gd name="connsiteY152" fmla="*/ 125730 h 269557"/>
                  <a:gd name="connsiteX153" fmla="*/ 223838 w 349567"/>
                  <a:gd name="connsiteY153" fmla="*/ 126683 h 269557"/>
                  <a:gd name="connsiteX154" fmla="*/ 218123 w 349567"/>
                  <a:gd name="connsiteY154" fmla="*/ 129540 h 269557"/>
                  <a:gd name="connsiteX155" fmla="*/ 216217 w 349567"/>
                  <a:gd name="connsiteY155" fmla="*/ 128588 h 269557"/>
                  <a:gd name="connsiteX156" fmla="*/ 217170 w 349567"/>
                  <a:gd name="connsiteY156" fmla="*/ 126683 h 269557"/>
                  <a:gd name="connsiteX157" fmla="*/ 200978 w 349567"/>
                  <a:gd name="connsiteY157" fmla="*/ 141923 h 269557"/>
                  <a:gd name="connsiteX158" fmla="*/ 189548 w 349567"/>
                  <a:gd name="connsiteY158" fmla="*/ 155258 h 269557"/>
                  <a:gd name="connsiteX159" fmla="*/ 188595 w 349567"/>
                  <a:gd name="connsiteY159" fmla="*/ 154305 h 269557"/>
                  <a:gd name="connsiteX160" fmla="*/ 149542 w 349567"/>
                  <a:gd name="connsiteY160" fmla="*/ 189548 h 269557"/>
                  <a:gd name="connsiteX161" fmla="*/ 192405 w 349567"/>
                  <a:gd name="connsiteY161" fmla="*/ 156210 h 269557"/>
                  <a:gd name="connsiteX162" fmla="*/ 190500 w 349567"/>
                  <a:gd name="connsiteY162" fmla="*/ 158115 h 269557"/>
                  <a:gd name="connsiteX163" fmla="*/ 188595 w 349567"/>
                  <a:gd name="connsiteY163" fmla="*/ 160020 h 269557"/>
                  <a:gd name="connsiteX164" fmla="*/ 187642 w 349567"/>
                  <a:gd name="connsiteY164" fmla="*/ 159067 h 269557"/>
                  <a:gd name="connsiteX165" fmla="*/ 191453 w 349567"/>
                  <a:gd name="connsiteY165" fmla="*/ 154305 h 269557"/>
                  <a:gd name="connsiteX166" fmla="*/ 192405 w 349567"/>
                  <a:gd name="connsiteY166" fmla="*/ 156210 h 269557"/>
                  <a:gd name="connsiteX167" fmla="*/ 216217 w 349567"/>
                  <a:gd name="connsiteY167" fmla="*/ 232410 h 269557"/>
                  <a:gd name="connsiteX168" fmla="*/ 215265 w 349567"/>
                  <a:gd name="connsiteY168" fmla="*/ 234315 h 269557"/>
                  <a:gd name="connsiteX169" fmla="*/ 216217 w 349567"/>
                  <a:gd name="connsiteY169" fmla="*/ 235267 h 269557"/>
                  <a:gd name="connsiteX170" fmla="*/ 212408 w 349567"/>
                  <a:gd name="connsiteY170" fmla="*/ 238125 h 269557"/>
                  <a:gd name="connsiteX171" fmla="*/ 211455 w 349567"/>
                  <a:gd name="connsiteY171" fmla="*/ 238125 h 269557"/>
                  <a:gd name="connsiteX172" fmla="*/ 209550 w 349567"/>
                  <a:gd name="connsiteY172" fmla="*/ 240030 h 269557"/>
                  <a:gd name="connsiteX173" fmla="*/ 206692 w 349567"/>
                  <a:gd name="connsiteY173" fmla="*/ 239078 h 269557"/>
                  <a:gd name="connsiteX174" fmla="*/ 210503 w 349567"/>
                  <a:gd name="connsiteY174" fmla="*/ 235267 h 269557"/>
                  <a:gd name="connsiteX175" fmla="*/ 212408 w 349567"/>
                  <a:gd name="connsiteY175" fmla="*/ 233363 h 269557"/>
                  <a:gd name="connsiteX176" fmla="*/ 213360 w 349567"/>
                  <a:gd name="connsiteY176" fmla="*/ 232410 h 269557"/>
                  <a:gd name="connsiteX177" fmla="*/ 216217 w 349567"/>
                  <a:gd name="connsiteY177" fmla="*/ 232410 h 269557"/>
                  <a:gd name="connsiteX178" fmla="*/ 206692 w 349567"/>
                  <a:gd name="connsiteY178" fmla="*/ 228600 h 269557"/>
                  <a:gd name="connsiteX179" fmla="*/ 206692 w 349567"/>
                  <a:gd name="connsiteY179" fmla="*/ 228600 h 269557"/>
                  <a:gd name="connsiteX180" fmla="*/ 200978 w 349567"/>
                  <a:gd name="connsiteY180" fmla="*/ 232410 h 269557"/>
                  <a:gd name="connsiteX181" fmla="*/ 194310 w 349567"/>
                  <a:gd name="connsiteY181" fmla="*/ 235267 h 269557"/>
                  <a:gd name="connsiteX182" fmla="*/ 194310 w 349567"/>
                  <a:gd name="connsiteY182" fmla="*/ 235267 h 269557"/>
                  <a:gd name="connsiteX183" fmla="*/ 193358 w 349567"/>
                  <a:gd name="connsiteY183" fmla="*/ 235267 h 269557"/>
                  <a:gd name="connsiteX184" fmla="*/ 188595 w 349567"/>
                  <a:gd name="connsiteY184" fmla="*/ 239078 h 269557"/>
                  <a:gd name="connsiteX185" fmla="*/ 187642 w 349567"/>
                  <a:gd name="connsiteY185" fmla="*/ 240030 h 269557"/>
                  <a:gd name="connsiteX186" fmla="*/ 187642 w 349567"/>
                  <a:gd name="connsiteY186" fmla="*/ 240030 h 269557"/>
                  <a:gd name="connsiteX187" fmla="*/ 187642 w 349567"/>
                  <a:gd name="connsiteY187" fmla="*/ 240030 h 269557"/>
                  <a:gd name="connsiteX188" fmla="*/ 186690 w 349567"/>
                  <a:gd name="connsiteY188" fmla="*/ 240983 h 269557"/>
                  <a:gd name="connsiteX189" fmla="*/ 186690 w 349567"/>
                  <a:gd name="connsiteY189" fmla="*/ 240983 h 269557"/>
                  <a:gd name="connsiteX190" fmla="*/ 186690 w 349567"/>
                  <a:gd name="connsiteY190" fmla="*/ 240983 h 269557"/>
                  <a:gd name="connsiteX191" fmla="*/ 185738 w 349567"/>
                  <a:gd name="connsiteY191" fmla="*/ 241935 h 269557"/>
                  <a:gd name="connsiteX192" fmla="*/ 184785 w 349567"/>
                  <a:gd name="connsiteY192" fmla="*/ 242888 h 269557"/>
                  <a:gd name="connsiteX193" fmla="*/ 183833 w 349567"/>
                  <a:gd name="connsiteY193" fmla="*/ 242888 h 269557"/>
                  <a:gd name="connsiteX194" fmla="*/ 183833 w 349567"/>
                  <a:gd name="connsiteY194" fmla="*/ 242888 h 269557"/>
                  <a:gd name="connsiteX195" fmla="*/ 182880 w 349567"/>
                  <a:gd name="connsiteY195" fmla="*/ 242888 h 269557"/>
                  <a:gd name="connsiteX196" fmla="*/ 181928 w 349567"/>
                  <a:gd name="connsiteY196" fmla="*/ 242888 h 269557"/>
                  <a:gd name="connsiteX197" fmla="*/ 181928 w 349567"/>
                  <a:gd name="connsiteY197" fmla="*/ 242888 h 269557"/>
                  <a:gd name="connsiteX198" fmla="*/ 181928 w 349567"/>
                  <a:gd name="connsiteY198" fmla="*/ 242888 h 269557"/>
                  <a:gd name="connsiteX199" fmla="*/ 180023 w 349567"/>
                  <a:gd name="connsiteY199" fmla="*/ 244792 h 269557"/>
                  <a:gd name="connsiteX200" fmla="*/ 177165 w 349567"/>
                  <a:gd name="connsiteY200" fmla="*/ 247650 h 269557"/>
                  <a:gd name="connsiteX201" fmla="*/ 177165 w 349567"/>
                  <a:gd name="connsiteY201" fmla="*/ 247650 h 269557"/>
                  <a:gd name="connsiteX202" fmla="*/ 177165 w 349567"/>
                  <a:gd name="connsiteY202" fmla="*/ 247650 h 269557"/>
                  <a:gd name="connsiteX203" fmla="*/ 177165 w 349567"/>
                  <a:gd name="connsiteY203" fmla="*/ 247650 h 269557"/>
                  <a:gd name="connsiteX204" fmla="*/ 177165 w 349567"/>
                  <a:gd name="connsiteY204" fmla="*/ 247650 h 269557"/>
                  <a:gd name="connsiteX205" fmla="*/ 177165 w 349567"/>
                  <a:gd name="connsiteY205" fmla="*/ 247650 h 269557"/>
                  <a:gd name="connsiteX206" fmla="*/ 177165 w 349567"/>
                  <a:gd name="connsiteY206" fmla="*/ 248603 h 269557"/>
                  <a:gd name="connsiteX207" fmla="*/ 177165 w 349567"/>
                  <a:gd name="connsiteY207" fmla="*/ 248603 h 269557"/>
                  <a:gd name="connsiteX208" fmla="*/ 177165 w 349567"/>
                  <a:gd name="connsiteY208" fmla="*/ 248603 h 269557"/>
                  <a:gd name="connsiteX209" fmla="*/ 177165 w 349567"/>
                  <a:gd name="connsiteY209" fmla="*/ 248603 h 269557"/>
                  <a:gd name="connsiteX210" fmla="*/ 177165 w 349567"/>
                  <a:gd name="connsiteY210" fmla="*/ 248603 h 269557"/>
                  <a:gd name="connsiteX211" fmla="*/ 177165 w 349567"/>
                  <a:gd name="connsiteY211" fmla="*/ 247650 h 269557"/>
                  <a:gd name="connsiteX212" fmla="*/ 177165 w 349567"/>
                  <a:gd name="connsiteY212" fmla="*/ 247650 h 269557"/>
                  <a:gd name="connsiteX213" fmla="*/ 177165 w 349567"/>
                  <a:gd name="connsiteY213" fmla="*/ 247650 h 269557"/>
                  <a:gd name="connsiteX214" fmla="*/ 179070 w 349567"/>
                  <a:gd name="connsiteY214" fmla="*/ 245745 h 269557"/>
                  <a:gd name="connsiteX215" fmla="*/ 179070 w 349567"/>
                  <a:gd name="connsiteY215" fmla="*/ 245745 h 269557"/>
                  <a:gd name="connsiteX216" fmla="*/ 180023 w 349567"/>
                  <a:gd name="connsiteY216" fmla="*/ 244792 h 269557"/>
                  <a:gd name="connsiteX217" fmla="*/ 180975 w 349567"/>
                  <a:gd name="connsiteY217" fmla="*/ 243840 h 269557"/>
                  <a:gd name="connsiteX218" fmla="*/ 180975 w 349567"/>
                  <a:gd name="connsiteY218" fmla="*/ 243840 h 269557"/>
                  <a:gd name="connsiteX219" fmla="*/ 182880 w 349567"/>
                  <a:gd name="connsiteY219" fmla="*/ 241935 h 269557"/>
                  <a:gd name="connsiteX220" fmla="*/ 182880 w 349567"/>
                  <a:gd name="connsiteY220" fmla="*/ 241935 h 269557"/>
                  <a:gd name="connsiteX221" fmla="*/ 182880 w 349567"/>
                  <a:gd name="connsiteY221" fmla="*/ 241935 h 269557"/>
                  <a:gd name="connsiteX222" fmla="*/ 183833 w 349567"/>
                  <a:gd name="connsiteY222" fmla="*/ 240983 h 269557"/>
                  <a:gd name="connsiteX223" fmla="*/ 184785 w 349567"/>
                  <a:gd name="connsiteY223" fmla="*/ 240030 h 269557"/>
                  <a:gd name="connsiteX224" fmla="*/ 184785 w 349567"/>
                  <a:gd name="connsiteY224" fmla="*/ 240030 h 269557"/>
                  <a:gd name="connsiteX225" fmla="*/ 184785 w 349567"/>
                  <a:gd name="connsiteY225" fmla="*/ 240030 h 269557"/>
                  <a:gd name="connsiteX226" fmla="*/ 184785 w 349567"/>
                  <a:gd name="connsiteY226" fmla="*/ 240030 h 269557"/>
                  <a:gd name="connsiteX227" fmla="*/ 185738 w 349567"/>
                  <a:gd name="connsiteY227" fmla="*/ 239078 h 269557"/>
                  <a:gd name="connsiteX228" fmla="*/ 185738 w 349567"/>
                  <a:gd name="connsiteY228" fmla="*/ 239078 h 269557"/>
                  <a:gd name="connsiteX229" fmla="*/ 185738 w 349567"/>
                  <a:gd name="connsiteY229" fmla="*/ 239078 h 269557"/>
                  <a:gd name="connsiteX230" fmla="*/ 185738 w 349567"/>
                  <a:gd name="connsiteY230" fmla="*/ 238125 h 269557"/>
                  <a:gd name="connsiteX231" fmla="*/ 185738 w 349567"/>
                  <a:gd name="connsiteY231" fmla="*/ 238125 h 269557"/>
                  <a:gd name="connsiteX232" fmla="*/ 185738 w 349567"/>
                  <a:gd name="connsiteY232" fmla="*/ 237173 h 269557"/>
                  <a:gd name="connsiteX233" fmla="*/ 185738 w 349567"/>
                  <a:gd name="connsiteY233" fmla="*/ 237173 h 269557"/>
                  <a:gd name="connsiteX234" fmla="*/ 187642 w 349567"/>
                  <a:gd name="connsiteY234" fmla="*/ 234315 h 269557"/>
                  <a:gd name="connsiteX235" fmla="*/ 187642 w 349567"/>
                  <a:gd name="connsiteY235" fmla="*/ 234315 h 269557"/>
                  <a:gd name="connsiteX236" fmla="*/ 185738 w 349567"/>
                  <a:gd name="connsiteY236" fmla="*/ 236220 h 269557"/>
                  <a:gd name="connsiteX237" fmla="*/ 184785 w 349567"/>
                  <a:gd name="connsiteY237" fmla="*/ 235267 h 269557"/>
                  <a:gd name="connsiteX238" fmla="*/ 185738 w 349567"/>
                  <a:gd name="connsiteY238" fmla="*/ 234315 h 269557"/>
                  <a:gd name="connsiteX239" fmla="*/ 185738 w 349567"/>
                  <a:gd name="connsiteY239" fmla="*/ 234315 h 269557"/>
                  <a:gd name="connsiteX240" fmla="*/ 188595 w 349567"/>
                  <a:gd name="connsiteY240" fmla="*/ 231458 h 269557"/>
                  <a:gd name="connsiteX241" fmla="*/ 190500 w 349567"/>
                  <a:gd name="connsiteY241" fmla="*/ 230505 h 269557"/>
                  <a:gd name="connsiteX242" fmla="*/ 190500 w 349567"/>
                  <a:gd name="connsiteY242" fmla="*/ 230505 h 269557"/>
                  <a:gd name="connsiteX243" fmla="*/ 191453 w 349567"/>
                  <a:gd name="connsiteY243" fmla="*/ 229553 h 269557"/>
                  <a:gd name="connsiteX244" fmla="*/ 191453 w 349567"/>
                  <a:gd name="connsiteY244" fmla="*/ 229553 h 269557"/>
                  <a:gd name="connsiteX245" fmla="*/ 211455 w 349567"/>
                  <a:gd name="connsiteY245" fmla="*/ 221933 h 269557"/>
                  <a:gd name="connsiteX246" fmla="*/ 220028 w 349567"/>
                  <a:gd name="connsiteY246" fmla="*/ 221933 h 269557"/>
                  <a:gd name="connsiteX247" fmla="*/ 224790 w 349567"/>
                  <a:gd name="connsiteY247" fmla="*/ 222885 h 269557"/>
                  <a:gd name="connsiteX248" fmla="*/ 206692 w 349567"/>
                  <a:gd name="connsiteY248" fmla="*/ 228600 h 269557"/>
                  <a:gd name="connsiteX249" fmla="*/ 217170 w 349567"/>
                  <a:gd name="connsiteY249" fmla="*/ 193358 h 269557"/>
                  <a:gd name="connsiteX250" fmla="*/ 219075 w 349567"/>
                  <a:gd name="connsiteY250" fmla="*/ 192405 h 269557"/>
                  <a:gd name="connsiteX251" fmla="*/ 215265 w 349567"/>
                  <a:gd name="connsiteY251" fmla="*/ 192405 h 269557"/>
                  <a:gd name="connsiteX252" fmla="*/ 214313 w 349567"/>
                  <a:gd name="connsiteY252" fmla="*/ 191453 h 269557"/>
                  <a:gd name="connsiteX253" fmla="*/ 205740 w 349567"/>
                  <a:gd name="connsiteY253" fmla="*/ 193358 h 269557"/>
                  <a:gd name="connsiteX254" fmla="*/ 195263 w 349567"/>
                  <a:gd name="connsiteY254" fmla="*/ 198120 h 269557"/>
                  <a:gd name="connsiteX255" fmla="*/ 179070 w 349567"/>
                  <a:gd name="connsiteY255" fmla="*/ 206692 h 269557"/>
                  <a:gd name="connsiteX256" fmla="*/ 178117 w 349567"/>
                  <a:gd name="connsiteY256" fmla="*/ 205740 h 269557"/>
                  <a:gd name="connsiteX257" fmla="*/ 181928 w 349567"/>
                  <a:gd name="connsiteY257" fmla="*/ 201930 h 269557"/>
                  <a:gd name="connsiteX258" fmla="*/ 180975 w 349567"/>
                  <a:gd name="connsiteY258" fmla="*/ 200978 h 269557"/>
                  <a:gd name="connsiteX259" fmla="*/ 196215 w 349567"/>
                  <a:gd name="connsiteY259" fmla="*/ 187642 h 269557"/>
                  <a:gd name="connsiteX260" fmla="*/ 196215 w 349567"/>
                  <a:gd name="connsiteY260" fmla="*/ 185738 h 269557"/>
                  <a:gd name="connsiteX261" fmla="*/ 200978 w 349567"/>
                  <a:gd name="connsiteY261" fmla="*/ 180023 h 269557"/>
                  <a:gd name="connsiteX262" fmla="*/ 205740 w 349567"/>
                  <a:gd name="connsiteY262" fmla="*/ 175260 h 269557"/>
                  <a:gd name="connsiteX263" fmla="*/ 203835 w 349567"/>
                  <a:gd name="connsiteY263" fmla="*/ 173355 h 269557"/>
                  <a:gd name="connsiteX264" fmla="*/ 198120 w 349567"/>
                  <a:gd name="connsiteY264" fmla="*/ 172403 h 269557"/>
                  <a:gd name="connsiteX265" fmla="*/ 200978 w 349567"/>
                  <a:gd name="connsiteY265" fmla="*/ 170498 h 269557"/>
                  <a:gd name="connsiteX266" fmla="*/ 200025 w 349567"/>
                  <a:gd name="connsiteY266" fmla="*/ 169545 h 269557"/>
                  <a:gd name="connsiteX267" fmla="*/ 202883 w 349567"/>
                  <a:gd name="connsiteY267" fmla="*/ 166688 h 269557"/>
                  <a:gd name="connsiteX268" fmla="*/ 208598 w 349567"/>
                  <a:gd name="connsiteY268" fmla="*/ 164783 h 269557"/>
                  <a:gd name="connsiteX269" fmla="*/ 197167 w 349567"/>
                  <a:gd name="connsiteY269" fmla="*/ 163830 h 269557"/>
                  <a:gd name="connsiteX270" fmla="*/ 209550 w 349567"/>
                  <a:gd name="connsiteY270" fmla="*/ 148590 h 269557"/>
                  <a:gd name="connsiteX271" fmla="*/ 211455 w 349567"/>
                  <a:gd name="connsiteY271" fmla="*/ 149542 h 269557"/>
                  <a:gd name="connsiteX272" fmla="*/ 207645 w 349567"/>
                  <a:gd name="connsiteY272" fmla="*/ 154305 h 269557"/>
                  <a:gd name="connsiteX273" fmla="*/ 220028 w 349567"/>
                  <a:gd name="connsiteY273" fmla="*/ 157163 h 269557"/>
                  <a:gd name="connsiteX274" fmla="*/ 218123 w 349567"/>
                  <a:gd name="connsiteY274" fmla="*/ 158115 h 269557"/>
                  <a:gd name="connsiteX275" fmla="*/ 226695 w 349567"/>
                  <a:gd name="connsiteY275" fmla="*/ 160973 h 269557"/>
                  <a:gd name="connsiteX276" fmla="*/ 221933 w 349567"/>
                  <a:gd name="connsiteY276" fmla="*/ 160973 h 269557"/>
                  <a:gd name="connsiteX277" fmla="*/ 267653 w 349567"/>
                  <a:gd name="connsiteY277" fmla="*/ 179070 h 269557"/>
                  <a:gd name="connsiteX278" fmla="*/ 232410 w 349567"/>
                  <a:gd name="connsiteY278" fmla="*/ 189548 h 269557"/>
                  <a:gd name="connsiteX279" fmla="*/ 228600 w 349567"/>
                  <a:gd name="connsiteY279" fmla="*/ 188595 h 269557"/>
                  <a:gd name="connsiteX280" fmla="*/ 227648 w 349567"/>
                  <a:gd name="connsiteY280" fmla="*/ 190500 h 269557"/>
                  <a:gd name="connsiteX281" fmla="*/ 222885 w 349567"/>
                  <a:gd name="connsiteY281" fmla="*/ 191453 h 269557"/>
                  <a:gd name="connsiteX282" fmla="*/ 217170 w 349567"/>
                  <a:gd name="connsiteY282" fmla="*/ 193358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</a:cxnLst>
                <a:rect l="l" t="t" r="r" b="b"/>
                <a:pathLst>
                  <a:path w="349567" h="269557">
                    <a:moveTo>
                      <a:pt x="306705" y="237173"/>
                    </a:moveTo>
                    <a:cubicBezTo>
                      <a:pt x="309563" y="234315"/>
                      <a:pt x="312420" y="231458"/>
                      <a:pt x="315278" y="227648"/>
                    </a:cubicBezTo>
                    <a:lnTo>
                      <a:pt x="315278" y="227648"/>
                    </a:lnTo>
                    <a:cubicBezTo>
                      <a:pt x="320993" y="221933"/>
                      <a:pt x="325755" y="215265"/>
                      <a:pt x="332423" y="210503"/>
                    </a:cubicBezTo>
                    <a:cubicBezTo>
                      <a:pt x="334328" y="208598"/>
                      <a:pt x="336233" y="207645"/>
                      <a:pt x="338138" y="205740"/>
                    </a:cubicBezTo>
                    <a:cubicBezTo>
                      <a:pt x="339090" y="204788"/>
                      <a:pt x="339090" y="203835"/>
                      <a:pt x="339090" y="203835"/>
                    </a:cubicBezTo>
                    <a:cubicBezTo>
                      <a:pt x="336233" y="204788"/>
                      <a:pt x="335280" y="206692"/>
                      <a:pt x="332423" y="207645"/>
                    </a:cubicBezTo>
                    <a:cubicBezTo>
                      <a:pt x="331470" y="207645"/>
                      <a:pt x="331470" y="206692"/>
                      <a:pt x="331470" y="206692"/>
                    </a:cubicBezTo>
                    <a:cubicBezTo>
                      <a:pt x="333375" y="205740"/>
                      <a:pt x="335280" y="203835"/>
                      <a:pt x="337185" y="202883"/>
                    </a:cubicBezTo>
                    <a:cubicBezTo>
                      <a:pt x="337185" y="202883"/>
                      <a:pt x="337185" y="202883"/>
                      <a:pt x="337185" y="202883"/>
                    </a:cubicBezTo>
                    <a:cubicBezTo>
                      <a:pt x="336233" y="202883"/>
                      <a:pt x="336233" y="201930"/>
                      <a:pt x="336233" y="201930"/>
                    </a:cubicBezTo>
                    <a:cubicBezTo>
                      <a:pt x="329565" y="201930"/>
                      <a:pt x="324803" y="205740"/>
                      <a:pt x="320040" y="210503"/>
                    </a:cubicBezTo>
                    <a:cubicBezTo>
                      <a:pt x="319088" y="211455"/>
                      <a:pt x="318135" y="209550"/>
                      <a:pt x="317183" y="209550"/>
                    </a:cubicBezTo>
                    <a:cubicBezTo>
                      <a:pt x="309563" y="212408"/>
                      <a:pt x="303848" y="219075"/>
                      <a:pt x="296228" y="221933"/>
                    </a:cubicBezTo>
                    <a:lnTo>
                      <a:pt x="296228" y="220980"/>
                    </a:lnTo>
                    <a:cubicBezTo>
                      <a:pt x="293370" y="221933"/>
                      <a:pt x="290513" y="223838"/>
                      <a:pt x="286703" y="224790"/>
                    </a:cubicBezTo>
                    <a:cubicBezTo>
                      <a:pt x="281940" y="225742"/>
                      <a:pt x="278130" y="225742"/>
                      <a:pt x="274320" y="225742"/>
                    </a:cubicBezTo>
                    <a:cubicBezTo>
                      <a:pt x="268605" y="226695"/>
                      <a:pt x="261938" y="227648"/>
                      <a:pt x="256223" y="228600"/>
                    </a:cubicBezTo>
                    <a:cubicBezTo>
                      <a:pt x="256223" y="228600"/>
                      <a:pt x="256223" y="228600"/>
                      <a:pt x="255270" y="228600"/>
                    </a:cubicBezTo>
                    <a:cubicBezTo>
                      <a:pt x="252413" y="229553"/>
                      <a:pt x="248603" y="230505"/>
                      <a:pt x="245745" y="232410"/>
                    </a:cubicBezTo>
                    <a:cubicBezTo>
                      <a:pt x="245745" y="232410"/>
                      <a:pt x="245745" y="232410"/>
                      <a:pt x="245745" y="232410"/>
                    </a:cubicBezTo>
                    <a:cubicBezTo>
                      <a:pt x="245745" y="232410"/>
                      <a:pt x="244792" y="233363"/>
                      <a:pt x="244792" y="233363"/>
                    </a:cubicBezTo>
                    <a:cubicBezTo>
                      <a:pt x="243840" y="234315"/>
                      <a:pt x="242888" y="235267"/>
                      <a:pt x="240983" y="236220"/>
                    </a:cubicBezTo>
                    <a:cubicBezTo>
                      <a:pt x="238125" y="238125"/>
                      <a:pt x="235267" y="240983"/>
                      <a:pt x="232410" y="242888"/>
                    </a:cubicBezTo>
                    <a:cubicBezTo>
                      <a:pt x="232410" y="242888"/>
                      <a:pt x="231458" y="242888"/>
                      <a:pt x="231458" y="242888"/>
                    </a:cubicBezTo>
                    <a:cubicBezTo>
                      <a:pt x="228600" y="245745"/>
                      <a:pt x="225742" y="248603"/>
                      <a:pt x="222885" y="250508"/>
                    </a:cubicBezTo>
                    <a:cubicBezTo>
                      <a:pt x="222885" y="250508"/>
                      <a:pt x="221933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50508"/>
                    </a:cubicBezTo>
                    <a:cubicBezTo>
                      <a:pt x="220980" y="250508"/>
                      <a:pt x="220980" y="250508"/>
                      <a:pt x="220980" y="249555"/>
                    </a:cubicBezTo>
                    <a:cubicBezTo>
                      <a:pt x="220980" y="248603"/>
                      <a:pt x="221933" y="247650"/>
                      <a:pt x="221933" y="247650"/>
                    </a:cubicBezTo>
                    <a:cubicBezTo>
                      <a:pt x="222885" y="246698"/>
                      <a:pt x="222885" y="245745"/>
                      <a:pt x="223838" y="245745"/>
                    </a:cubicBezTo>
                    <a:cubicBezTo>
                      <a:pt x="224790" y="244792"/>
                      <a:pt x="224790" y="243840"/>
                      <a:pt x="225742" y="242888"/>
                    </a:cubicBezTo>
                    <a:cubicBezTo>
                      <a:pt x="225742" y="242888"/>
                      <a:pt x="225742" y="241935"/>
                      <a:pt x="225742" y="241935"/>
                    </a:cubicBezTo>
                    <a:cubicBezTo>
                      <a:pt x="225742" y="241935"/>
                      <a:pt x="225742" y="241935"/>
                      <a:pt x="224790" y="241935"/>
                    </a:cubicBezTo>
                    <a:cubicBezTo>
                      <a:pt x="227648" y="239078"/>
                      <a:pt x="230505" y="237173"/>
                      <a:pt x="233363" y="235267"/>
                    </a:cubicBezTo>
                    <a:lnTo>
                      <a:pt x="233363" y="235267"/>
                    </a:lnTo>
                    <a:cubicBezTo>
                      <a:pt x="233363" y="235267"/>
                      <a:pt x="232410" y="235267"/>
                      <a:pt x="232410" y="234315"/>
                    </a:cubicBezTo>
                    <a:cubicBezTo>
                      <a:pt x="232410" y="234315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3363" y="233363"/>
                      <a:pt x="233363" y="233363"/>
                      <a:pt x="233363" y="233363"/>
                    </a:cubicBezTo>
                    <a:cubicBezTo>
                      <a:pt x="234315" y="233363"/>
                      <a:pt x="233363" y="234315"/>
                      <a:pt x="233363" y="234315"/>
                    </a:cubicBezTo>
                    <a:cubicBezTo>
                      <a:pt x="232410" y="235267"/>
                      <a:pt x="231458" y="238125"/>
                      <a:pt x="229553" y="237173"/>
                    </a:cubicBezTo>
                    <a:cubicBezTo>
                      <a:pt x="229553" y="237173"/>
                      <a:pt x="228600" y="237173"/>
                      <a:pt x="228600" y="237173"/>
                    </a:cubicBezTo>
                    <a:cubicBezTo>
                      <a:pt x="228600" y="237173"/>
                      <a:pt x="228600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7173"/>
                    </a:cubicBezTo>
                    <a:cubicBezTo>
                      <a:pt x="227648" y="237173"/>
                      <a:pt x="227648" y="237173"/>
                      <a:pt x="227648" y="236220"/>
                    </a:cubicBezTo>
                    <a:cubicBezTo>
                      <a:pt x="227648" y="236220"/>
                      <a:pt x="227648" y="236220"/>
                      <a:pt x="227648" y="236220"/>
                    </a:cubicBezTo>
                    <a:cubicBezTo>
                      <a:pt x="227648" y="236220"/>
                      <a:pt x="227648" y="235267"/>
                      <a:pt x="228600" y="235267"/>
                    </a:cubicBezTo>
                    <a:cubicBezTo>
                      <a:pt x="228600" y="235267"/>
                      <a:pt x="228600" y="235267"/>
                      <a:pt x="228600" y="234315"/>
                    </a:cubicBezTo>
                    <a:cubicBezTo>
                      <a:pt x="228600" y="234315"/>
                      <a:pt x="228600" y="233363"/>
                      <a:pt x="229553" y="233363"/>
                    </a:cubicBezTo>
                    <a:cubicBezTo>
                      <a:pt x="229553" y="233363"/>
                      <a:pt x="229553" y="232410"/>
                      <a:pt x="229553" y="232410"/>
                    </a:cubicBezTo>
                    <a:cubicBezTo>
                      <a:pt x="230505" y="231458"/>
                      <a:pt x="231458" y="230505"/>
                      <a:pt x="233363" y="229553"/>
                    </a:cubicBezTo>
                    <a:lnTo>
                      <a:pt x="233363" y="229553"/>
                    </a:lnTo>
                    <a:cubicBezTo>
                      <a:pt x="235267" y="228600"/>
                      <a:pt x="237173" y="227648"/>
                      <a:pt x="239078" y="226695"/>
                    </a:cubicBezTo>
                    <a:cubicBezTo>
                      <a:pt x="239078" y="226695"/>
                      <a:pt x="240030" y="225742"/>
                      <a:pt x="240030" y="225742"/>
                    </a:cubicBezTo>
                    <a:cubicBezTo>
                      <a:pt x="237173" y="226695"/>
                      <a:pt x="234315" y="227648"/>
                      <a:pt x="231458" y="229553"/>
                    </a:cubicBezTo>
                    <a:cubicBezTo>
                      <a:pt x="231458" y="229553"/>
                      <a:pt x="230505" y="229553"/>
                      <a:pt x="230505" y="229553"/>
                    </a:cubicBezTo>
                    <a:cubicBezTo>
                      <a:pt x="230505" y="229553"/>
                      <a:pt x="229553" y="229553"/>
                      <a:pt x="229553" y="229553"/>
                    </a:cubicBezTo>
                    <a:cubicBezTo>
                      <a:pt x="229553" y="229553"/>
                      <a:pt x="229553" y="229553"/>
                      <a:pt x="229553" y="229553"/>
                    </a:cubicBezTo>
                    <a:cubicBezTo>
                      <a:pt x="230505" y="228600"/>
                      <a:pt x="231458" y="227648"/>
                      <a:pt x="232410" y="226695"/>
                    </a:cubicBezTo>
                    <a:cubicBezTo>
                      <a:pt x="233363" y="226695"/>
                      <a:pt x="233363" y="226695"/>
                      <a:pt x="233363" y="227648"/>
                    </a:cubicBezTo>
                    <a:cubicBezTo>
                      <a:pt x="249555" y="215265"/>
                      <a:pt x="272415" y="218123"/>
                      <a:pt x="291465" y="211455"/>
                    </a:cubicBezTo>
                    <a:cubicBezTo>
                      <a:pt x="293370" y="210503"/>
                      <a:pt x="294323" y="209550"/>
                      <a:pt x="296228" y="208598"/>
                    </a:cubicBezTo>
                    <a:cubicBezTo>
                      <a:pt x="299085" y="207645"/>
                      <a:pt x="300990" y="204788"/>
                      <a:pt x="303848" y="203835"/>
                    </a:cubicBezTo>
                    <a:cubicBezTo>
                      <a:pt x="307658" y="200978"/>
                      <a:pt x="310515" y="197167"/>
                      <a:pt x="312420" y="192405"/>
                    </a:cubicBezTo>
                    <a:cubicBezTo>
                      <a:pt x="312420" y="191453"/>
                      <a:pt x="311468" y="191453"/>
                      <a:pt x="311468" y="191453"/>
                    </a:cubicBezTo>
                    <a:cubicBezTo>
                      <a:pt x="304800" y="199073"/>
                      <a:pt x="297180" y="203835"/>
                      <a:pt x="288608" y="208598"/>
                    </a:cubicBezTo>
                    <a:cubicBezTo>
                      <a:pt x="278130" y="214313"/>
                      <a:pt x="265748" y="213360"/>
                      <a:pt x="255270" y="214313"/>
                    </a:cubicBezTo>
                    <a:cubicBezTo>
                      <a:pt x="256223" y="213360"/>
                      <a:pt x="257175" y="213360"/>
                      <a:pt x="258128" y="213360"/>
                    </a:cubicBezTo>
                    <a:cubicBezTo>
                      <a:pt x="258128" y="211455"/>
                      <a:pt x="259080" y="211455"/>
                      <a:pt x="260033" y="210503"/>
                    </a:cubicBezTo>
                    <a:lnTo>
                      <a:pt x="261938" y="210503"/>
                    </a:lnTo>
                    <a:cubicBezTo>
                      <a:pt x="262890" y="210503"/>
                      <a:pt x="262890" y="209550"/>
                      <a:pt x="262890" y="209550"/>
                    </a:cubicBezTo>
                    <a:cubicBezTo>
                      <a:pt x="263843" y="209550"/>
                      <a:pt x="265748" y="208598"/>
                      <a:pt x="264795" y="208598"/>
                    </a:cubicBezTo>
                    <a:cubicBezTo>
                      <a:pt x="262890" y="206692"/>
                      <a:pt x="260033" y="210503"/>
                      <a:pt x="257175" y="208598"/>
                    </a:cubicBezTo>
                    <a:cubicBezTo>
                      <a:pt x="258128" y="207645"/>
                      <a:pt x="258128" y="205740"/>
                      <a:pt x="259080" y="205740"/>
                    </a:cubicBezTo>
                    <a:lnTo>
                      <a:pt x="260985" y="205740"/>
                    </a:lnTo>
                    <a:cubicBezTo>
                      <a:pt x="260985" y="204788"/>
                      <a:pt x="261938" y="203835"/>
                      <a:pt x="261938" y="203835"/>
                    </a:cubicBezTo>
                    <a:cubicBezTo>
                      <a:pt x="269558" y="199073"/>
                      <a:pt x="277178" y="195263"/>
                      <a:pt x="283845" y="191453"/>
                    </a:cubicBezTo>
                    <a:cubicBezTo>
                      <a:pt x="281940" y="191453"/>
                      <a:pt x="280988" y="193358"/>
                      <a:pt x="280035" y="192405"/>
                    </a:cubicBezTo>
                    <a:cubicBezTo>
                      <a:pt x="280988" y="192405"/>
                      <a:pt x="280035" y="190500"/>
                      <a:pt x="280988" y="190500"/>
                    </a:cubicBezTo>
                    <a:cubicBezTo>
                      <a:pt x="286703" y="188595"/>
                      <a:pt x="291465" y="185738"/>
                      <a:pt x="297180" y="183833"/>
                    </a:cubicBezTo>
                    <a:cubicBezTo>
                      <a:pt x="295275" y="183833"/>
                      <a:pt x="293370" y="185738"/>
                      <a:pt x="291465" y="183833"/>
                    </a:cubicBezTo>
                    <a:cubicBezTo>
                      <a:pt x="292418" y="182880"/>
                      <a:pt x="293370" y="181928"/>
                      <a:pt x="294323" y="181928"/>
                    </a:cubicBezTo>
                    <a:lnTo>
                      <a:pt x="294323" y="180023"/>
                    </a:lnTo>
                    <a:cubicBezTo>
                      <a:pt x="294323" y="179070"/>
                      <a:pt x="295275" y="179070"/>
                      <a:pt x="295275" y="179070"/>
                    </a:cubicBezTo>
                    <a:cubicBezTo>
                      <a:pt x="294323" y="179070"/>
                      <a:pt x="294323" y="178117"/>
                      <a:pt x="294323" y="178117"/>
                    </a:cubicBezTo>
                    <a:cubicBezTo>
                      <a:pt x="295275" y="177165"/>
                      <a:pt x="296228" y="177165"/>
                      <a:pt x="297180" y="176213"/>
                    </a:cubicBezTo>
                    <a:cubicBezTo>
                      <a:pt x="296228" y="176213"/>
                      <a:pt x="295275" y="176213"/>
                      <a:pt x="295275" y="175260"/>
                    </a:cubicBezTo>
                    <a:cubicBezTo>
                      <a:pt x="297180" y="173355"/>
                      <a:pt x="299085" y="172403"/>
                      <a:pt x="301943" y="172403"/>
                    </a:cubicBezTo>
                    <a:cubicBezTo>
                      <a:pt x="300990" y="171450"/>
                      <a:pt x="300038" y="172403"/>
                      <a:pt x="300038" y="171450"/>
                    </a:cubicBezTo>
                    <a:cubicBezTo>
                      <a:pt x="300038" y="170498"/>
                      <a:pt x="300990" y="170498"/>
                      <a:pt x="300990" y="170498"/>
                    </a:cubicBezTo>
                    <a:lnTo>
                      <a:pt x="300990" y="170498"/>
                    </a:lnTo>
                    <a:cubicBezTo>
                      <a:pt x="300038" y="169545"/>
                      <a:pt x="300038" y="168592"/>
                      <a:pt x="300038" y="168592"/>
                    </a:cubicBezTo>
                    <a:cubicBezTo>
                      <a:pt x="302895" y="164783"/>
                      <a:pt x="302895" y="160020"/>
                      <a:pt x="304800" y="156210"/>
                    </a:cubicBezTo>
                    <a:cubicBezTo>
                      <a:pt x="303848" y="156210"/>
                      <a:pt x="303848" y="156210"/>
                      <a:pt x="303848" y="155258"/>
                    </a:cubicBezTo>
                    <a:cubicBezTo>
                      <a:pt x="299085" y="160973"/>
                      <a:pt x="290513" y="162878"/>
                      <a:pt x="282893" y="164783"/>
                    </a:cubicBezTo>
                    <a:lnTo>
                      <a:pt x="280035" y="164783"/>
                    </a:lnTo>
                    <a:cubicBezTo>
                      <a:pt x="277178" y="165735"/>
                      <a:pt x="274320" y="165735"/>
                      <a:pt x="271463" y="163830"/>
                    </a:cubicBezTo>
                    <a:cubicBezTo>
                      <a:pt x="269558" y="162878"/>
                      <a:pt x="268605" y="160973"/>
                      <a:pt x="266700" y="160020"/>
                    </a:cubicBezTo>
                    <a:cubicBezTo>
                      <a:pt x="262890" y="157163"/>
                      <a:pt x="258128" y="155258"/>
                      <a:pt x="254317" y="154305"/>
                    </a:cubicBezTo>
                    <a:cubicBezTo>
                      <a:pt x="240983" y="150495"/>
                      <a:pt x="227648" y="148590"/>
                      <a:pt x="215265" y="148590"/>
                    </a:cubicBezTo>
                    <a:cubicBezTo>
                      <a:pt x="220980" y="145733"/>
                      <a:pt x="226695" y="145733"/>
                      <a:pt x="233363" y="143828"/>
                    </a:cubicBezTo>
                    <a:cubicBezTo>
                      <a:pt x="241935" y="140970"/>
                      <a:pt x="250508" y="138113"/>
                      <a:pt x="259080" y="139065"/>
                    </a:cubicBezTo>
                    <a:cubicBezTo>
                      <a:pt x="257175" y="138113"/>
                      <a:pt x="255270" y="139065"/>
                      <a:pt x="254317" y="139065"/>
                    </a:cubicBezTo>
                    <a:cubicBezTo>
                      <a:pt x="246698" y="138113"/>
                      <a:pt x="240030" y="140970"/>
                      <a:pt x="232410" y="141923"/>
                    </a:cubicBezTo>
                    <a:cubicBezTo>
                      <a:pt x="227648" y="142875"/>
                      <a:pt x="222885" y="144780"/>
                      <a:pt x="217170" y="145733"/>
                    </a:cubicBezTo>
                    <a:cubicBezTo>
                      <a:pt x="214313" y="146685"/>
                      <a:pt x="212408" y="149542"/>
                      <a:pt x="208598" y="149542"/>
                    </a:cubicBezTo>
                    <a:lnTo>
                      <a:pt x="208598" y="147638"/>
                    </a:lnTo>
                    <a:cubicBezTo>
                      <a:pt x="213360" y="141923"/>
                      <a:pt x="220028" y="135255"/>
                      <a:pt x="227648" y="135255"/>
                    </a:cubicBezTo>
                    <a:cubicBezTo>
                      <a:pt x="237173" y="133350"/>
                      <a:pt x="245745" y="135255"/>
                      <a:pt x="254317" y="136208"/>
                    </a:cubicBezTo>
                    <a:cubicBezTo>
                      <a:pt x="260985" y="137160"/>
                      <a:pt x="266700" y="138113"/>
                      <a:pt x="273368" y="140017"/>
                    </a:cubicBezTo>
                    <a:cubicBezTo>
                      <a:pt x="276225" y="140017"/>
                      <a:pt x="276225" y="143828"/>
                      <a:pt x="278130" y="144780"/>
                    </a:cubicBezTo>
                    <a:cubicBezTo>
                      <a:pt x="280988" y="145733"/>
                      <a:pt x="283845" y="144780"/>
                      <a:pt x="287655" y="146685"/>
                    </a:cubicBezTo>
                    <a:cubicBezTo>
                      <a:pt x="287655" y="145733"/>
                      <a:pt x="286703" y="144780"/>
                      <a:pt x="287655" y="143828"/>
                    </a:cubicBezTo>
                    <a:cubicBezTo>
                      <a:pt x="289560" y="141923"/>
                      <a:pt x="292418" y="144780"/>
                      <a:pt x="294323" y="142875"/>
                    </a:cubicBezTo>
                    <a:cubicBezTo>
                      <a:pt x="298133" y="140017"/>
                      <a:pt x="290513" y="136208"/>
                      <a:pt x="288608" y="132398"/>
                    </a:cubicBezTo>
                    <a:cubicBezTo>
                      <a:pt x="288608" y="131445"/>
                      <a:pt x="289560" y="131445"/>
                      <a:pt x="289560" y="131445"/>
                    </a:cubicBezTo>
                    <a:cubicBezTo>
                      <a:pt x="293370" y="135255"/>
                      <a:pt x="296228" y="139065"/>
                      <a:pt x="301943" y="141923"/>
                    </a:cubicBezTo>
                    <a:cubicBezTo>
                      <a:pt x="304800" y="142875"/>
                      <a:pt x="310515" y="144780"/>
                      <a:pt x="309563" y="140970"/>
                    </a:cubicBezTo>
                    <a:cubicBezTo>
                      <a:pt x="306705" y="135255"/>
                      <a:pt x="301943" y="130492"/>
                      <a:pt x="298133" y="125730"/>
                    </a:cubicBezTo>
                    <a:lnTo>
                      <a:pt x="298133" y="123825"/>
                    </a:lnTo>
                    <a:cubicBezTo>
                      <a:pt x="297180" y="123825"/>
                      <a:pt x="297180" y="122873"/>
                      <a:pt x="296228" y="122873"/>
                    </a:cubicBezTo>
                    <a:lnTo>
                      <a:pt x="296228" y="120015"/>
                    </a:lnTo>
                    <a:cubicBezTo>
                      <a:pt x="294323" y="119063"/>
                      <a:pt x="294323" y="117158"/>
                      <a:pt x="293370" y="115253"/>
                    </a:cubicBezTo>
                    <a:cubicBezTo>
                      <a:pt x="291465" y="112395"/>
                      <a:pt x="292418" y="109538"/>
                      <a:pt x="291465" y="105728"/>
                    </a:cubicBezTo>
                    <a:cubicBezTo>
                      <a:pt x="291465" y="103823"/>
                      <a:pt x="291465" y="100965"/>
                      <a:pt x="290513" y="98108"/>
                    </a:cubicBezTo>
                    <a:cubicBezTo>
                      <a:pt x="288608" y="89535"/>
                      <a:pt x="286703" y="81915"/>
                      <a:pt x="285750" y="73342"/>
                    </a:cubicBezTo>
                    <a:cubicBezTo>
                      <a:pt x="284798" y="63817"/>
                      <a:pt x="291465" y="56197"/>
                      <a:pt x="296228" y="47625"/>
                    </a:cubicBezTo>
                    <a:cubicBezTo>
                      <a:pt x="300038" y="41910"/>
                      <a:pt x="303848" y="35242"/>
                      <a:pt x="310515" y="31433"/>
                    </a:cubicBezTo>
                    <a:cubicBezTo>
                      <a:pt x="312420" y="25718"/>
                      <a:pt x="316230" y="20003"/>
                      <a:pt x="320040" y="15240"/>
                    </a:cubicBezTo>
                    <a:cubicBezTo>
                      <a:pt x="323850" y="10478"/>
                      <a:pt x="330518" y="7620"/>
                      <a:pt x="336233" y="4763"/>
                    </a:cubicBezTo>
                    <a:cubicBezTo>
                      <a:pt x="342900" y="1905"/>
                      <a:pt x="349568" y="0"/>
                      <a:pt x="349568" y="0"/>
                    </a:cubicBezTo>
                    <a:lnTo>
                      <a:pt x="0" y="0"/>
                    </a:lnTo>
                    <a:lnTo>
                      <a:pt x="0" y="269558"/>
                    </a:lnTo>
                    <a:lnTo>
                      <a:pt x="247650" y="269558"/>
                    </a:lnTo>
                    <a:cubicBezTo>
                      <a:pt x="257175" y="262890"/>
                      <a:pt x="266700" y="259080"/>
                      <a:pt x="280988" y="252413"/>
                    </a:cubicBezTo>
                    <a:cubicBezTo>
                      <a:pt x="286703" y="249555"/>
                      <a:pt x="301943" y="242888"/>
                      <a:pt x="306705" y="237173"/>
                    </a:cubicBezTo>
                    <a:moveTo>
                      <a:pt x="227648" y="200978"/>
                    </a:moveTo>
                    <a:cubicBezTo>
                      <a:pt x="226695" y="200978"/>
                      <a:pt x="224790" y="201930"/>
                      <a:pt x="224790" y="200025"/>
                    </a:cubicBezTo>
                    <a:cubicBezTo>
                      <a:pt x="225742" y="197167"/>
                      <a:pt x="228600" y="197167"/>
                      <a:pt x="230505" y="196215"/>
                    </a:cubicBezTo>
                    <a:cubicBezTo>
                      <a:pt x="231458" y="195263"/>
                      <a:pt x="233363" y="194310"/>
                      <a:pt x="234315" y="195263"/>
                    </a:cubicBezTo>
                    <a:cubicBezTo>
                      <a:pt x="235267" y="197167"/>
                      <a:pt x="237173" y="196215"/>
                      <a:pt x="238125" y="197167"/>
                    </a:cubicBezTo>
                    <a:cubicBezTo>
                      <a:pt x="235267" y="200978"/>
                      <a:pt x="231458" y="200025"/>
                      <a:pt x="227648" y="200978"/>
                    </a:cubicBezTo>
                    <a:moveTo>
                      <a:pt x="149542" y="189548"/>
                    </a:moveTo>
                    <a:cubicBezTo>
                      <a:pt x="149542" y="189548"/>
                      <a:pt x="148590" y="188595"/>
                      <a:pt x="148590" y="188595"/>
                    </a:cubicBezTo>
                    <a:cubicBezTo>
                      <a:pt x="155258" y="180023"/>
                      <a:pt x="160020" y="171450"/>
                      <a:pt x="164783" y="162878"/>
                    </a:cubicBezTo>
                    <a:cubicBezTo>
                      <a:pt x="171450" y="159067"/>
                      <a:pt x="177165" y="154305"/>
                      <a:pt x="181928" y="148590"/>
                    </a:cubicBezTo>
                    <a:cubicBezTo>
                      <a:pt x="190500" y="139065"/>
                      <a:pt x="200025" y="131445"/>
                      <a:pt x="210503" y="125730"/>
                    </a:cubicBezTo>
                    <a:cubicBezTo>
                      <a:pt x="214313" y="123825"/>
                      <a:pt x="220028" y="124778"/>
                      <a:pt x="223838" y="126683"/>
                    </a:cubicBezTo>
                    <a:cubicBezTo>
                      <a:pt x="221933" y="128588"/>
                      <a:pt x="220028" y="128588"/>
                      <a:pt x="218123" y="129540"/>
                    </a:cubicBezTo>
                    <a:cubicBezTo>
                      <a:pt x="217170" y="129540"/>
                      <a:pt x="217170" y="129540"/>
                      <a:pt x="216217" y="128588"/>
                    </a:cubicBezTo>
                    <a:cubicBezTo>
                      <a:pt x="217170" y="127635"/>
                      <a:pt x="217170" y="127635"/>
                      <a:pt x="217170" y="126683"/>
                    </a:cubicBezTo>
                    <a:cubicBezTo>
                      <a:pt x="212408" y="132398"/>
                      <a:pt x="204788" y="135255"/>
                      <a:pt x="200978" y="141923"/>
                    </a:cubicBezTo>
                    <a:cubicBezTo>
                      <a:pt x="198120" y="146685"/>
                      <a:pt x="196215" y="153353"/>
                      <a:pt x="189548" y="155258"/>
                    </a:cubicBezTo>
                    <a:cubicBezTo>
                      <a:pt x="187642" y="156210"/>
                      <a:pt x="190500" y="153353"/>
                      <a:pt x="188595" y="154305"/>
                    </a:cubicBezTo>
                    <a:cubicBezTo>
                      <a:pt x="173355" y="164783"/>
                      <a:pt x="161925" y="176213"/>
                      <a:pt x="149542" y="189548"/>
                    </a:cubicBezTo>
                    <a:moveTo>
                      <a:pt x="192405" y="156210"/>
                    </a:moveTo>
                    <a:cubicBezTo>
                      <a:pt x="191453" y="157163"/>
                      <a:pt x="191453" y="157163"/>
                      <a:pt x="190500" y="158115"/>
                    </a:cubicBezTo>
                    <a:cubicBezTo>
                      <a:pt x="189548" y="159067"/>
                      <a:pt x="189548" y="160020"/>
                      <a:pt x="188595" y="160020"/>
                    </a:cubicBezTo>
                    <a:cubicBezTo>
                      <a:pt x="187642" y="160020"/>
                      <a:pt x="187642" y="160020"/>
                      <a:pt x="187642" y="159067"/>
                    </a:cubicBezTo>
                    <a:cubicBezTo>
                      <a:pt x="188595" y="157163"/>
                      <a:pt x="189548" y="155258"/>
                      <a:pt x="191453" y="154305"/>
                    </a:cubicBezTo>
                    <a:cubicBezTo>
                      <a:pt x="192405" y="155258"/>
                      <a:pt x="192405" y="155258"/>
                      <a:pt x="192405" y="156210"/>
                    </a:cubicBezTo>
                    <a:moveTo>
                      <a:pt x="216217" y="232410"/>
                    </a:moveTo>
                    <a:cubicBezTo>
                      <a:pt x="216217" y="233363"/>
                      <a:pt x="215265" y="233363"/>
                      <a:pt x="215265" y="234315"/>
                    </a:cubicBezTo>
                    <a:cubicBezTo>
                      <a:pt x="216217" y="234315"/>
                      <a:pt x="216217" y="234315"/>
                      <a:pt x="216217" y="235267"/>
                    </a:cubicBezTo>
                    <a:cubicBezTo>
                      <a:pt x="215265" y="236220"/>
                      <a:pt x="214313" y="237173"/>
                      <a:pt x="212408" y="238125"/>
                    </a:cubicBezTo>
                    <a:cubicBezTo>
                      <a:pt x="212408" y="238125"/>
                      <a:pt x="212408" y="238125"/>
                      <a:pt x="211455" y="238125"/>
                    </a:cubicBezTo>
                    <a:cubicBezTo>
                      <a:pt x="210503" y="239078"/>
                      <a:pt x="210503" y="239078"/>
                      <a:pt x="209550" y="240030"/>
                    </a:cubicBezTo>
                    <a:cubicBezTo>
                      <a:pt x="208598" y="240983"/>
                      <a:pt x="205740" y="240030"/>
                      <a:pt x="206692" y="239078"/>
                    </a:cubicBezTo>
                    <a:cubicBezTo>
                      <a:pt x="207645" y="238125"/>
                      <a:pt x="209550" y="236220"/>
                      <a:pt x="210503" y="235267"/>
                    </a:cubicBezTo>
                    <a:cubicBezTo>
                      <a:pt x="211455" y="234315"/>
                      <a:pt x="212408" y="234315"/>
                      <a:pt x="212408" y="233363"/>
                    </a:cubicBezTo>
                    <a:cubicBezTo>
                      <a:pt x="212408" y="233363"/>
                      <a:pt x="213360" y="232410"/>
                      <a:pt x="213360" y="232410"/>
                    </a:cubicBezTo>
                    <a:cubicBezTo>
                      <a:pt x="213360" y="231458"/>
                      <a:pt x="216217" y="231458"/>
                      <a:pt x="216217" y="232410"/>
                    </a:cubicBezTo>
                    <a:moveTo>
                      <a:pt x="206692" y="228600"/>
                    </a:moveTo>
                    <a:cubicBezTo>
                      <a:pt x="206692" y="228600"/>
                      <a:pt x="206692" y="228600"/>
                      <a:pt x="206692" y="228600"/>
                    </a:cubicBezTo>
                    <a:cubicBezTo>
                      <a:pt x="204788" y="230505"/>
                      <a:pt x="202883" y="231458"/>
                      <a:pt x="200978" y="232410"/>
                    </a:cubicBezTo>
                    <a:cubicBezTo>
                      <a:pt x="199073" y="233363"/>
                      <a:pt x="196215" y="234315"/>
                      <a:pt x="194310" y="235267"/>
                    </a:cubicBezTo>
                    <a:cubicBezTo>
                      <a:pt x="194310" y="235267"/>
                      <a:pt x="194310" y="235267"/>
                      <a:pt x="194310" y="235267"/>
                    </a:cubicBezTo>
                    <a:cubicBezTo>
                      <a:pt x="194310" y="235267"/>
                      <a:pt x="193358" y="235267"/>
                      <a:pt x="193358" y="235267"/>
                    </a:cubicBezTo>
                    <a:cubicBezTo>
                      <a:pt x="191453" y="236220"/>
                      <a:pt x="189548" y="238125"/>
                      <a:pt x="188595" y="239078"/>
                    </a:cubicBezTo>
                    <a:cubicBezTo>
                      <a:pt x="188595" y="239078"/>
                      <a:pt x="188595" y="239078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7642" y="240030"/>
                      <a:pt x="187642" y="240030"/>
                    </a:cubicBezTo>
                    <a:cubicBezTo>
                      <a:pt x="187642" y="240030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6690" y="240983"/>
                      <a:pt x="186690" y="240983"/>
                    </a:cubicBezTo>
                    <a:cubicBezTo>
                      <a:pt x="186690" y="240983"/>
                      <a:pt x="185738" y="241935"/>
                      <a:pt x="185738" y="241935"/>
                    </a:cubicBezTo>
                    <a:cubicBezTo>
                      <a:pt x="185738" y="241935"/>
                      <a:pt x="185738" y="242888"/>
                      <a:pt x="184785" y="242888"/>
                    </a:cubicBezTo>
                    <a:cubicBezTo>
                      <a:pt x="184785" y="242888"/>
                      <a:pt x="183833" y="242888"/>
                      <a:pt x="183833" y="242888"/>
                    </a:cubicBezTo>
                    <a:cubicBezTo>
                      <a:pt x="183833" y="242888"/>
                      <a:pt x="183833" y="242888"/>
                      <a:pt x="183833" y="242888"/>
                    </a:cubicBezTo>
                    <a:cubicBezTo>
                      <a:pt x="183833" y="242888"/>
                      <a:pt x="182880" y="242888"/>
                      <a:pt x="182880" y="242888"/>
                    </a:cubicBezTo>
                    <a:cubicBezTo>
                      <a:pt x="182880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1928" y="242888"/>
                      <a:pt x="181928" y="242888"/>
                      <a:pt x="181928" y="242888"/>
                    </a:cubicBezTo>
                    <a:cubicBezTo>
                      <a:pt x="180975" y="243840"/>
                      <a:pt x="180975" y="243840"/>
                      <a:pt x="180023" y="244792"/>
                    </a:cubicBezTo>
                    <a:cubicBezTo>
                      <a:pt x="179070" y="245745"/>
                      <a:pt x="178117" y="246698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7165" y="247650"/>
                      <a:pt x="177165" y="247650"/>
                      <a:pt x="177165" y="248603"/>
                    </a:cubicBezTo>
                    <a:lnTo>
                      <a:pt x="177165" y="248603"/>
                    </a:ln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8603"/>
                      <a:pt x="177165" y="248603"/>
                    </a:cubicBezTo>
                    <a:cubicBezTo>
                      <a:pt x="177165" y="248603"/>
                      <a:pt x="177165" y="247650"/>
                      <a:pt x="177165" y="247650"/>
                    </a:cubicBezTo>
                    <a:lnTo>
                      <a:pt x="177165" y="247650"/>
                    </a:lnTo>
                    <a:cubicBezTo>
                      <a:pt x="177165" y="247650"/>
                      <a:pt x="177165" y="247650"/>
                      <a:pt x="177165" y="247650"/>
                    </a:cubicBezTo>
                    <a:cubicBezTo>
                      <a:pt x="178117" y="246698"/>
                      <a:pt x="178117" y="246698"/>
                      <a:pt x="179070" y="245745"/>
                    </a:cubicBezTo>
                    <a:cubicBezTo>
                      <a:pt x="179070" y="245745"/>
                      <a:pt x="179070" y="245745"/>
                      <a:pt x="179070" y="245745"/>
                    </a:cubicBezTo>
                    <a:cubicBezTo>
                      <a:pt x="179070" y="245745"/>
                      <a:pt x="179070" y="245745"/>
                      <a:pt x="180023" y="244792"/>
                    </a:cubicBezTo>
                    <a:cubicBezTo>
                      <a:pt x="180023" y="244792"/>
                      <a:pt x="180975" y="243840"/>
                      <a:pt x="180975" y="243840"/>
                    </a:cubicBezTo>
                    <a:cubicBezTo>
                      <a:pt x="180975" y="243840"/>
                      <a:pt x="180975" y="243840"/>
                      <a:pt x="180975" y="243840"/>
                    </a:cubicBezTo>
                    <a:cubicBezTo>
                      <a:pt x="181928" y="242888"/>
                      <a:pt x="181928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2880" y="241935"/>
                      <a:pt x="182880" y="241935"/>
                    </a:cubicBezTo>
                    <a:cubicBezTo>
                      <a:pt x="182880" y="241935"/>
                      <a:pt x="183833" y="240983"/>
                      <a:pt x="183833" y="240983"/>
                    </a:cubicBezTo>
                    <a:cubicBezTo>
                      <a:pt x="183833" y="240983"/>
                      <a:pt x="183833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40030"/>
                      <a:pt x="184785" y="240030"/>
                    </a:cubicBezTo>
                    <a:cubicBezTo>
                      <a:pt x="184785" y="240030"/>
                      <a:pt x="184785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9078"/>
                    </a:cubicBezTo>
                    <a:cubicBezTo>
                      <a:pt x="185738" y="239078"/>
                      <a:pt x="185738" y="239078"/>
                      <a:pt x="185738" y="238125"/>
                    </a:cubicBezTo>
                    <a:cubicBezTo>
                      <a:pt x="185738" y="238125"/>
                      <a:pt x="185738" y="238125"/>
                      <a:pt x="185738" y="238125"/>
                    </a:cubicBezTo>
                    <a:cubicBezTo>
                      <a:pt x="185738" y="238125"/>
                      <a:pt x="185738" y="237173"/>
                      <a:pt x="185738" y="237173"/>
                    </a:cubicBezTo>
                    <a:cubicBezTo>
                      <a:pt x="185738" y="237173"/>
                      <a:pt x="185738" y="237173"/>
                      <a:pt x="185738" y="237173"/>
                    </a:cubicBezTo>
                    <a:cubicBezTo>
                      <a:pt x="186690" y="236220"/>
                      <a:pt x="186690" y="235267"/>
                      <a:pt x="187642" y="234315"/>
                    </a:cubicBezTo>
                    <a:cubicBezTo>
                      <a:pt x="187642" y="234315"/>
                      <a:pt x="187642" y="234315"/>
                      <a:pt x="187642" y="234315"/>
                    </a:cubicBezTo>
                    <a:cubicBezTo>
                      <a:pt x="186690" y="234315"/>
                      <a:pt x="186690" y="235267"/>
                      <a:pt x="185738" y="236220"/>
                    </a:cubicBezTo>
                    <a:cubicBezTo>
                      <a:pt x="184785" y="236220"/>
                      <a:pt x="183833" y="236220"/>
                      <a:pt x="184785" y="235267"/>
                    </a:cubicBezTo>
                    <a:cubicBezTo>
                      <a:pt x="184785" y="235267"/>
                      <a:pt x="185738" y="234315"/>
                      <a:pt x="185738" y="234315"/>
                    </a:cubicBezTo>
                    <a:cubicBezTo>
                      <a:pt x="185738" y="234315"/>
                      <a:pt x="185738" y="234315"/>
                      <a:pt x="185738" y="234315"/>
                    </a:cubicBezTo>
                    <a:cubicBezTo>
                      <a:pt x="186690" y="233363"/>
                      <a:pt x="187642" y="232410"/>
                      <a:pt x="188595" y="231458"/>
                    </a:cubicBezTo>
                    <a:cubicBezTo>
                      <a:pt x="189548" y="231458"/>
                      <a:pt x="189548" y="230505"/>
                      <a:pt x="190500" y="230505"/>
                    </a:cubicBezTo>
                    <a:cubicBezTo>
                      <a:pt x="190500" y="230505"/>
                      <a:pt x="190500" y="230505"/>
                      <a:pt x="190500" y="230505"/>
                    </a:cubicBezTo>
                    <a:cubicBezTo>
                      <a:pt x="190500" y="230505"/>
                      <a:pt x="191453" y="229553"/>
                      <a:pt x="191453" y="229553"/>
                    </a:cubicBezTo>
                    <a:cubicBezTo>
                      <a:pt x="191453" y="229553"/>
                      <a:pt x="191453" y="229553"/>
                      <a:pt x="191453" y="229553"/>
                    </a:cubicBezTo>
                    <a:cubicBezTo>
                      <a:pt x="196215" y="224790"/>
                      <a:pt x="204788" y="224790"/>
                      <a:pt x="211455" y="221933"/>
                    </a:cubicBezTo>
                    <a:cubicBezTo>
                      <a:pt x="214313" y="220980"/>
                      <a:pt x="217170" y="222885"/>
                      <a:pt x="220028" y="221933"/>
                    </a:cubicBezTo>
                    <a:cubicBezTo>
                      <a:pt x="221933" y="221933"/>
                      <a:pt x="222885" y="221933"/>
                      <a:pt x="224790" y="222885"/>
                    </a:cubicBezTo>
                    <a:cubicBezTo>
                      <a:pt x="215265" y="222885"/>
                      <a:pt x="211455" y="225742"/>
                      <a:pt x="206692" y="228600"/>
                    </a:cubicBezTo>
                    <a:moveTo>
                      <a:pt x="217170" y="193358"/>
                    </a:moveTo>
                    <a:cubicBezTo>
                      <a:pt x="216217" y="192405"/>
                      <a:pt x="219075" y="193358"/>
                      <a:pt x="219075" y="192405"/>
                    </a:cubicBezTo>
                    <a:lnTo>
                      <a:pt x="215265" y="192405"/>
                    </a:lnTo>
                    <a:cubicBezTo>
                      <a:pt x="214313" y="192405"/>
                      <a:pt x="214313" y="191453"/>
                      <a:pt x="214313" y="191453"/>
                    </a:cubicBezTo>
                    <a:cubicBezTo>
                      <a:pt x="211455" y="192405"/>
                      <a:pt x="208598" y="193358"/>
                      <a:pt x="205740" y="193358"/>
                    </a:cubicBezTo>
                    <a:cubicBezTo>
                      <a:pt x="201930" y="194310"/>
                      <a:pt x="199073" y="197167"/>
                      <a:pt x="195263" y="198120"/>
                    </a:cubicBezTo>
                    <a:cubicBezTo>
                      <a:pt x="189548" y="200025"/>
                      <a:pt x="184785" y="204788"/>
                      <a:pt x="179070" y="206692"/>
                    </a:cubicBezTo>
                    <a:cubicBezTo>
                      <a:pt x="178117" y="206692"/>
                      <a:pt x="178117" y="205740"/>
                      <a:pt x="178117" y="205740"/>
                    </a:cubicBezTo>
                    <a:cubicBezTo>
                      <a:pt x="179070" y="203835"/>
                      <a:pt x="180975" y="203835"/>
                      <a:pt x="181928" y="201930"/>
                    </a:cubicBezTo>
                    <a:cubicBezTo>
                      <a:pt x="181928" y="200978"/>
                      <a:pt x="181928" y="200978"/>
                      <a:pt x="180975" y="200978"/>
                    </a:cubicBezTo>
                    <a:cubicBezTo>
                      <a:pt x="184785" y="195263"/>
                      <a:pt x="190500" y="192405"/>
                      <a:pt x="196215" y="187642"/>
                    </a:cubicBezTo>
                    <a:lnTo>
                      <a:pt x="196215" y="185738"/>
                    </a:lnTo>
                    <a:cubicBezTo>
                      <a:pt x="198120" y="183833"/>
                      <a:pt x="200025" y="182880"/>
                      <a:pt x="200978" y="180023"/>
                    </a:cubicBezTo>
                    <a:cubicBezTo>
                      <a:pt x="201930" y="178117"/>
                      <a:pt x="203835" y="176213"/>
                      <a:pt x="205740" y="175260"/>
                    </a:cubicBezTo>
                    <a:cubicBezTo>
                      <a:pt x="204788" y="174308"/>
                      <a:pt x="203835" y="174308"/>
                      <a:pt x="203835" y="173355"/>
                    </a:cubicBezTo>
                    <a:cubicBezTo>
                      <a:pt x="201930" y="173355"/>
                      <a:pt x="200025" y="174308"/>
                      <a:pt x="198120" y="172403"/>
                    </a:cubicBezTo>
                    <a:cubicBezTo>
                      <a:pt x="199073" y="171450"/>
                      <a:pt x="200025" y="170498"/>
                      <a:pt x="200978" y="170498"/>
                    </a:cubicBezTo>
                    <a:cubicBezTo>
                      <a:pt x="200978" y="170498"/>
                      <a:pt x="200025" y="170498"/>
                      <a:pt x="200025" y="169545"/>
                    </a:cubicBezTo>
                    <a:cubicBezTo>
                      <a:pt x="199073" y="168592"/>
                      <a:pt x="200978" y="167640"/>
                      <a:pt x="202883" y="166688"/>
                    </a:cubicBezTo>
                    <a:cubicBezTo>
                      <a:pt x="204788" y="165735"/>
                      <a:pt x="207645" y="165735"/>
                      <a:pt x="208598" y="164783"/>
                    </a:cubicBezTo>
                    <a:cubicBezTo>
                      <a:pt x="204788" y="163830"/>
                      <a:pt x="200978" y="165735"/>
                      <a:pt x="197167" y="163830"/>
                    </a:cubicBezTo>
                    <a:cubicBezTo>
                      <a:pt x="200025" y="157163"/>
                      <a:pt x="203835" y="151448"/>
                      <a:pt x="209550" y="148590"/>
                    </a:cubicBezTo>
                    <a:cubicBezTo>
                      <a:pt x="210503" y="148590"/>
                      <a:pt x="211455" y="148590"/>
                      <a:pt x="211455" y="149542"/>
                    </a:cubicBezTo>
                    <a:cubicBezTo>
                      <a:pt x="211455" y="152400"/>
                      <a:pt x="209550" y="154305"/>
                      <a:pt x="207645" y="154305"/>
                    </a:cubicBezTo>
                    <a:cubicBezTo>
                      <a:pt x="211455" y="155258"/>
                      <a:pt x="216217" y="155258"/>
                      <a:pt x="220028" y="157163"/>
                    </a:cubicBezTo>
                    <a:cubicBezTo>
                      <a:pt x="219075" y="158115"/>
                      <a:pt x="218123" y="158115"/>
                      <a:pt x="218123" y="158115"/>
                    </a:cubicBezTo>
                    <a:cubicBezTo>
                      <a:pt x="220980" y="160020"/>
                      <a:pt x="223838" y="159067"/>
                      <a:pt x="226695" y="160973"/>
                    </a:cubicBezTo>
                    <a:cubicBezTo>
                      <a:pt x="224790" y="162878"/>
                      <a:pt x="223838" y="160973"/>
                      <a:pt x="221933" y="160973"/>
                    </a:cubicBezTo>
                    <a:cubicBezTo>
                      <a:pt x="238125" y="165735"/>
                      <a:pt x="254317" y="169545"/>
                      <a:pt x="267653" y="179070"/>
                    </a:cubicBezTo>
                    <a:cubicBezTo>
                      <a:pt x="256223" y="184785"/>
                      <a:pt x="244792" y="187642"/>
                      <a:pt x="232410" y="189548"/>
                    </a:cubicBezTo>
                    <a:cubicBezTo>
                      <a:pt x="230505" y="189548"/>
                      <a:pt x="229553" y="189548"/>
                      <a:pt x="228600" y="188595"/>
                    </a:cubicBezTo>
                    <a:cubicBezTo>
                      <a:pt x="228600" y="189548"/>
                      <a:pt x="228600" y="190500"/>
                      <a:pt x="227648" y="190500"/>
                    </a:cubicBezTo>
                    <a:cubicBezTo>
                      <a:pt x="225742" y="190500"/>
                      <a:pt x="223838" y="190500"/>
                      <a:pt x="222885" y="191453"/>
                    </a:cubicBezTo>
                    <a:cubicBezTo>
                      <a:pt x="221933" y="194310"/>
                      <a:pt x="219075" y="194310"/>
                      <a:pt x="217170" y="193358"/>
                    </a:cubicBezTo>
                  </a:path>
                </a:pathLst>
              </a:custGeom>
              <a:solidFill>
                <a:srgbClr val="00009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7" name="Forme libre : forme 16">
                <a:extLst>
                  <a:ext uri="{FF2B5EF4-FFF2-40B4-BE49-F238E27FC236}">
                    <a16:creationId xmlns:a16="http://schemas.microsoft.com/office/drawing/2014/main" id="{41FC6F51-0348-4282-861C-87E9A6355D24}"/>
                  </a:ext>
                </a:extLst>
              </p:cNvPr>
              <p:cNvSpPr/>
              <p:nvPr/>
            </p:nvSpPr>
            <p:spPr>
              <a:xfrm>
                <a:off x="687476" y="269557"/>
                <a:ext cx="327888" cy="269557"/>
              </a:xfrm>
              <a:custGeom>
                <a:avLst/>
                <a:gdLst>
                  <a:gd name="connsiteX0" fmla="*/ 325031 w 327888"/>
                  <a:gd name="connsiteY0" fmla="*/ 0 h 269557"/>
                  <a:gd name="connsiteX1" fmla="*/ 34519 w 327888"/>
                  <a:gd name="connsiteY1" fmla="*/ 0 h 269557"/>
                  <a:gd name="connsiteX2" fmla="*/ 37376 w 327888"/>
                  <a:gd name="connsiteY2" fmla="*/ 953 h 269557"/>
                  <a:gd name="connsiteX3" fmla="*/ 44996 w 327888"/>
                  <a:gd name="connsiteY3" fmla="*/ 4763 h 269557"/>
                  <a:gd name="connsiteX4" fmla="*/ 54521 w 327888"/>
                  <a:gd name="connsiteY4" fmla="*/ 13335 h 269557"/>
                  <a:gd name="connsiteX5" fmla="*/ 56426 w 327888"/>
                  <a:gd name="connsiteY5" fmla="*/ 20003 h 269557"/>
                  <a:gd name="connsiteX6" fmla="*/ 52616 w 327888"/>
                  <a:gd name="connsiteY6" fmla="*/ 27623 h 269557"/>
                  <a:gd name="connsiteX7" fmla="*/ 42139 w 327888"/>
                  <a:gd name="connsiteY7" fmla="*/ 28575 h 269557"/>
                  <a:gd name="connsiteX8" fmla="*/ 36424 w 327888"/>
                  <a:gd name="connsiteY8" fmla="*/ 27623 h 269557"/>
                  <a:gd name="connsiteX9" fmla="*/ 56426 w 327888"/>
                  <a:gd name="connsiteY9" fmla="*/ 40957 h 269557"/>
                  <a:gd name="connsiteX10" fmla="*/ 61189 w 327888"/>
                  <a:gd name="connsiteY10" fmla="*/ 42863 h 269557"/>
                  <a:gd name="connsiteX11" fmla="*/ 62141 w 327888"/>
                  <a:gd name="connsiteY11" fmla="*/ 44768 h 269557"/>
                  <a:gd name="connsiteX12" fmla="*/ 60236 w 327888"/>
                  <a:gd name="connsiteY12" fmla="*/ 47625 h 269557"/>
                  <a:gd name="connsiteX13" fmla="*/ 62141 w 327888"/>
                  <a:gd name="connsiteY13" fmla="*/ 47625 h 269557"/>
                  <a:gd name="connsiteX14" fmla="*/ 67856 w 327888"/>
                  <a:gd name="connsiteY14" fmla="*/ 42863 h 269557"/>
                  <a:gd name="connsiteX15" fmla="*/ 69761 w 327888"/>
                  <a:gd name="connsiteY15" fmla="*/ 50482 h 269557"/>
                  <a:gd name="connsiteX16" fmla="*/ 64046 w 327888"/>
                  <a:gd name="connsiteY16" fmla="*/ 55245 h 269557"/>
                  <a:gd name="connsiteX17" fmla="*/ 64046 w 327888"/>
                  <a:gd name="connsiteY17" fmla="*/ 59055 h 269557"/>
                  <a:gd name="connsiteX18" fmla="*/ 66904 w 327888"/>
                  <a:gd name="connsiteY18" fmla="*/ 64770 h 269557"/>
                  <a:gd name="connsiteX19" fmla="*/ 70714 w 327888"/>
                  <a:gd name="connsiteY19" fmla="*/ 76200 h 269557"/>
                  <a:gd name="connsiteX20" fmla="*/ 74524 w 327888"/>
                  <a:gd name="connsiteY20" fmla="*/ 99060 h 269557"/>
                  <a:gd name="connsiteX21" fmla="*/ 73571 w 327888"/>
                  <a:gd name="connsiteY21" fmla="*/ 110490 h 269557"/>
                  <a:gd name="connsiteX22" fmla="*/ 79286 w 327888"/>
                  <a:gd name="connsiteY22" fmla="*/ 120968 h 269557"/>
                  <a:gd name="connsiteX23" fmla="*/ 85001 w 327888"/>
                  <a:gd name="connsiteY23" fmla="*/ 129540 h 269557"/>
                  <a:gd name="connsiteX24" fmla="*/ 90716 w 327888"/>
                  <a:gd name="connsiteY24" fmla="*/ 145733 h 269557"/>
                  <a:gd name="connsiteX25" fmla="*/ 80239 w 327888"/>
                  <a:gd name="connsiteY25" fmla="*/ 150495 h 269557"/>
                  <a:gd name="connsiteX26" fmla="*/ 81191 w 327888"/>
                  <a:gd name="connsiteY26" fmla="*/ 160020 h 269557"/>
                  <a:gd name="connsiteX27" fmla="*/ 74524 w 327888"/>
                  <a:gd name="connsiteY27" fmla="*/ 169545 h 269557"/>
                  <a:gd name="connsiteX28" fmla="*/ 78334 w 327888"/>
                  <a:gd name="connsiteY28" fmla="*/ 171450 h 269557"/>
                  <a:gd name="connsiteX29" fmla="*/ 80239 w 327888"/>
                  <a:gd name="connsiteY29" fmla="*/ 178118 h 269557"/>
                  <a:gd name="connsiteX30" fmla="*/ 75476 w 327888"/>
                  <a:gd name="connsiteY30" fmla="*/ 187643 h 269557"/>
                  <a:gd name="connsiteX31" fmla="*/ 74524 w 327888"/>
                  <a:gd name="connsiteY31" fmla="*/ 199073 h 269557"/>
                  <a:gd name="connsiteX32" fmla="*/ 64999 w 327888"/>
                  <a:gd name="connsiteY32" fmla="*/ 206693 h 269557"/>
                  <a:gd name="connsiteX33" fmla="*/ 55474 w 327888"/>
                  <a:gd name="connsiteY33" fmla="*/ 207645 h 269557"/>
                  <a:gd name="connsiteX34" fmla="*/ 49759 w 327888"/>
                  <a:gd name="connsiteY34" fmla="*/ 206693 h 269557"/>
                  <a:gd name="connsiteX35" fmla="*/ 24041 w 327888"/>
                  <a:gd name="connsiteY35" fmla="*/ 202883 h 269557"/>
                  <a:gd name="connsiteX36" fmla="*/ 17374 w 327888"/>
                  <a:gd name="connsiteY36" fmla="*/ 204788 h 269557"/>
                  <a:gd name="connsiteX37" fmla="*/ 11659 w 327888"/>
                  <a:gd name="connsiteY37" fmla="*/ 210503 h 269557"/>
                  <a:gd name="connsiteX38" fmla="*/ 11659 w 327888"/>
                  <a:gd name="connsiteY38" fmla="*/ 210503 h 269557"/>
                  <a:gd name="connsiteX39" fmla="*/ 10706 w 327888"/>
                  <a:gd name="connsiteY39" fmla="*/ 211455 h 269557"/>
                  <a:gd name="connsiteX40" fmla="*/ 9754 w 327888"/>
                  <a:gd name="connsiteY40" fmla="*/ 212408 h 269557"/>
                  <a:gd name="connsiteX41" fmla="*/ 9754 w 327888"/>
                  <a:gd name="connsiteY41" fmla="*/ 213360 h 269557"/>
                  <a:gd name="connsiteX42" fmla="*/ 5944 w 327888"/>
                  <a:gd name="connsiteY42" fmla="*/ 219075 h 269557"/>
                  <a:gd name="connsiteX43" fmla="*/ 5944 w 327888"/>
                  <a:gd name="connsiteY43" fmla="*/ 219075 h 269557"/>
                  <a:gd name="connsiteX44" fmla="*/ 5944 w 327888"/>
                  <a:gd name="connsiteY44" fmla="*/ 220028 h 269557"/>
                  <a:gd name="connsiteX45" fmla="*/ 2134 w 327888"/>
                  <a:gd name="connsiteY45" fmla="*/ 229553 h 269557"/>
                  <a:gd name="connsiteX46" fmla="*/ 3086 w 327888"/>
                  <a:gd name="connsiteY46" fmla="*/ 253365 h 269557"/>
                  <a:gd name="connsiteX47" fmla="*/ 30709 w 327888"/>
                  <a:gd name="connsiteY47" fmla="*/ 263843 h 269557"/>
                  <a:gd name="connsiteX48" fmla="*/ 43091 w 327888"/>
                  <a:gd name="connsiteY48" fmla="*/ 269558 h 269557"/>
                  <a:gd name="connsiteX49" fmla="*/ 327889 w 327888"/>
                  <a:gd name="connsiteY49" fmla="*/ 269558 h 269557"/>
                  <a:gd name="connsiteX50" fmla="*/ 327889 w 327888"/>
                  <a:gd name="connsiteY50" fmla="*/ 0 h 2695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327888" h="269557">
                    <a:moveTo>
                      <a:pt x="325031" y="0"/>
                    </a:moveTo>
                    <a:lnTo>
                      <a:pt x="34519" y="0"/>
                    </a:lnTo>
                    <a:cubicBezTo>
                      <a:pt x="34519" y="0"/>
                      <a:pt x="35471" y="0"/>
                      <a:pt x="37376" y="953"/>
                    </a:cubicBezTo>
                    <a:cubicBezTo>
                      <a:pt x="39281" y="1905"/>
                      <a:pt x="43091" y="3810"/>
                      <a:pt x="44996" y="4763"/>
                    </a:cubicBezTo>
                    <a:cubicBezTo>
                      <a:pt x="48806" y="6668"/>
                      <a:pt x="52616" y="9525"/>
                      <a:pt x="54521" y="13335"/>
                    </a:cubicBezTo>
                    <a:cubicBezTo>
                      <a:pt x="55474" y="15240"/>
                      <a:pt x="57379" y="18098"/>
                      <a:pt x="56426" y="20003"/>
                    </a:cubicBezTo>
                    <a:cubicBezTo>
                      <a:pt x="55474" y="22860"/>
                      <a:pt x="54521" y="26670"/>
                      <a:pt x="52616" y="27623"/>
                    </a:cubicBezTo>
                    <a:cubicBezTo>
                      <a:pt x="49759" y="29528"/>
                      <a:pt x="45949" y="29528"/>
                      <a:pt x="42139" y="28575"/>
                    </a:cubicBezTo>
                    <a:cubicBezTo>
                      <a:pt x="40234" y="28575"/>
                      <a:pt x="38329" y="27623"/>
                      <a:pt x="36424" y="27623"/>
                    </a:cubicBezTo>
                    <a:cubicBezTo>
                      <a:pt x="44044" y="30480"/>
                      <a:pt x="51664" y="34290"/>
                      <a:pt x="56426" y="40957"/>
                    </a:cubicBezTo>
                    <a:cubicBezTo>
                      <a:pt x="57379" y="41910"/>
                      <a:pt x="59284" y="42863"/>
                      <a:pt x="61189" y="42863"/>
                    </a:cubicBezTo>
                    <a:cubicBezTo>
                      <a:pt x="62141" y="42863"/>
                      <a:pt x="62141" y="43815"/>
                      <a:pt x="62141" y="44768"/>
                    </a:cubicBezTo>
                    <a:cubicBezTo>
                      <a:pt x="61189" y="45720"/>
                      <a:pt x="60236" y="46673"/>
                      <a:pt x="60236" y="47625"/>
                    </a:cubicBezTo>
                    <a:lnTo>
                      <a:pt x="62141" y="47625"/>
                    </a:lnTo>
                    <a:cubicBezTo>
                      <a:pt x="64999" y="46673"/>
                      <a:pt x="64046" y="41910"/>
                      <a:pt x="67856" y="42863"/>
                    </a:cubicBezTo>
                    <a:cubicBezTo>
                      <a:pt x="70714" y="44768"/>
                      <a:pt x="71666" y="47625"/>
                      <a:pt x="69761" y="50482"/>
                    </a:cubicBezTo>
                    <a:cubicBezTo>
                      <a:pt x="67856" y="52388"/>
                      <a:pt x="65951" y="54293"/>
                      <a:pt x="64046" y="55245"/>
                    </a:cubicBezTo>
                    <a:cubicBezTo>
                      <a:pt x="63094" y="56198"/>
                      <a:pt x="63094" y="58103"/>
                      <a:pt x="64046" y="59055"/>
                    </a:cubicBezTo>
                    <a:cubicBezTo>
                      <a:pt x="65951" y="60960"/>
                      <a:pt x="65951" y="62865"/>
                      <a:pt x="66904" y="64770"/>
                    </a:cubicBezTo>
                    <a:cubicBezTo>
                      <a:pt x="68809" y="68580"/>
                      <a:pt x="68809" y="72390"/>
                      <a:pt x="70714" y="76200"/>
                    </a:cubicBezTo>
                    <a:cubicBezTo>
                      <a:pt x="72619" y="83820"/>
                      <a:pt x="74524" y="91440"/>
                      <a:pt x="74524" y="99060"/>
                    </a:cubicBezTo>
                    <a:cubicBezTo>
                      <a:pt x="74524" y="102870"/>
                      <a:pt x="72619" y="106680"/>
                      <a:pt x="73571" y="110490"/>
                    </a:cubicBezTo>
                    <a:cubicBezTo>
                      <a:pt x="74524" y="114300"/>
                      <a:pt x="77381" y="118110"/>
                      <a:pt x="79286" y="120968"/>
                    </a:cubicBezTo>
                    <a:cubicBezTo>
                      <a:pt x="81191" y="123825"/>
                      <a:pt x="83096" y="125730"/>
                      <a:pt x="85001" y="129540"/>
                    </a:cubicBezTo>
                    <a:cubicBezTo>
                      <a:pt x="87859" y="134303"/>
                      <a:pt x="93574" y="140018"/>
                      <a:pt x="90716" y="145733"/>
                    </a:cubicBezTo>
                    <a:cubicBezTo>
                      <a:pt x="88811" y="149543"/>
                      <a:pt x="83096" y="148590"/>
                      <a:pt x="80239" y="150495"/>
                    </a:cubicBezTo>
                    <a:cubicBezTo>
                      <a:pt x="77381" y="153353"/>
                      <a:pt x="79286" y="157163"/>
                      <a:pt x="81191" y="160020"/>
                    </a:cubicBezTo>
                    <a:cubicBezTo>
                      <a:pt x="84049" y="164783"/>
                      <a:pt x="78334" y="167640"/>
                      <a:pt x="74524" y="169545"/>
                    </a:cubicBezTo>
                    <a:cubicBezTo>
                      <a:pt x="75476" y="171450"/>
                      <a:pt x="77381" y="170498"/>
                      <a:pt x="78334" y="171450"/>
                    </a:cubicBezTo>
                    <a:cubicBezTo>
                      <a:pt x="79286" y="174308"/>
                      <a:pt x="81191" y="175260"/>
                      <a:pt x="80239" y="178118"/>
                    </a:cubicBezTo>
                    <a:cubicBezTo>
                      <a:pt x="78334" y="180975"/>
                      <a:pt x="71666" y="182880"/>
                      <a:pt x="75476" y="187643"/>
                    </a:cubicBezTo>
                    <a:cubicBezTo>
                      <a:pt x="77381" y="191453"/>
                      <a:pt x="76429" y="195263"/>
                      <a:pt x="74524" y="199073"/>
                    </a:cubicBezTo>
                    <a:cubicBezTo>
                      <a:pt x="72619" y="203835"/>
                      <a:pt x="68809" y="205740"/>
                      <a:pt x="64999" y="206693"/>
                    </a:cubicBezTo>
                    <a:cubicBezTo>
                      <a:pt x="62141" y="207645"/>
                      <a:pt x="58331" y="207645"/>
                      <a:pt x="55474" y="207645"/>
                    </a:cubicBezTo>
                    <a:cubicBezTo>
                      <a:pt x="51664" y="206693"/>
                      <a:pt x="50711" y="206693"/>
                      <a:pt x="49759" y="206693"/>
                    </a:cubicBezTo>
                    <a:cubicBezTo>
                      <a:pt x="41186" y="205740"/>
                      <a:pt x="32614" y="202883"/>
                      <a:pt x="24041" y="202883"/>
                    </a:cubicBezTo>
                    <a:cubicBezTo>
                      <a:pt x="21184" y="203835"/>
                      <a:pt x="19279" y="203835"/>
                      <a:pt x="17374" y="204788"/>
                    </a:cubicBezTo>
                    <a:cubicBezTo>
                      <a:pt x="15469" y="206693"/>
                      <a:pt x="12611" y="208598"/>
                      <a:pt x="11659" y="210503"/>
                    </a:cubicBezTo>
                    <a:cubicBezTo>
                      <a:pt x="11659" y="210503"/>
                      <a:pt x="11659" y="210503"/>
                      <a:pt x="11659" y="210503"/>
                    </a:cubicBezTo>
                    <a:cubicBezTo>
                      <a:pt x="11659" y="210503"/>
                      <a:pt x="10706" y="211455"/>
                      <a:pt x="10706" y="211455"/>
                    </a:cubicBezTo>
                    <a:cubicBezTo>
                      <a:pt x="10706" y="211455"/>
                      <a:pt x="10706" y="212408"/>
                      <a:pt x="9754" y="212408"/>
                    </a:cubicBezTo>
                    <a:cubicBezTo>
                      <a:pt x="9754" y="212408"/>
                      <a:pt x="9754" y="212408"/>
                      <a:pt x="9754" y="213360"/>
                    </a:cubicBezTo>
                    <a:cubicBezTo>
                      <a:pt x="7849" y="215265"/>
                      <a:pt x="6896" y="217170"/>
                      <a:pt x="5944" y="219075"/>
                    </a:cubicBezTo>
                    <a:cubicBezTo>
                      <a:pt x="5944" y="219075"/>
                      <a:pt x="5944" y="219075"/>
                      <a:pt x="5944" y="219075"/>
                    </a:cubicBezTo>
                    <a:cubicBezTo>
                      <a:pt x="5944" y="219075"/>
                      <a:pt x="5944" y="220028"/>
                      <a:pt x="5944" y="220028"/>
                    </a:cubicBezTo>
                    <a:cubicBezTo>
                      <a:pt x="4039" y="222885"/>
                      <a:pt x="3086" y="226695"/>
                      <a:pt x="2134" y="229553"/>
                    </a:cubicBezTo>
                    <a:cubicBezTo>
                      <a:pt x="-1676" y="240983"/>
                      <a:pt x="229" y="251460"/>
                      <a:pt x="3086" y="253365"/>
                    </a:cubicBezTo>
                    <a:cubicBezTo>
                      <a:pt x="4039" y="254318"/>
                      <a:pt x="20231" y="259080"/>
                      <a:pt x="30709" y="263843"/>
                    </a:cubicBezTo>
                    <a:cubicBezTo>
                      <a:pt x="36424" y="265748"/>
                      <a:pt x="39281" y="267653"/>
                      <a:pt x="43091" y="269558"/>
                    </a:cubicBezTo>
                    <a:lnTo>
                      <a:pt x="327889" y="269558"/>
                    </a:lnTo>
                    <a:lnTo>
                      <a:pt x="327889" y="0"/>
                    </a:lnTo>
                    <a:close/>
                  </a:path>
                </a:pathLst>
              </a:custGeom>
              <a:solidFill>
                <a:srgbClr val="E1000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8" name="Forme libre : forme 17">
                <a:extLst>
                  <a:ext uri="{FF2B5EF4-FFF2-40B4-BE49-F238E27FC236}">
                    <a16:creationId xmlns:a16="http://schemas.microsoft.com/office/drawing/2014/main" id="{C721A0DA-2CD2-4A93-9D0C-C1DEBB82B2D7}"/>
                  </a:ext>
                </a:extLst>
              </p:cNvPr>
              <p:cNvSpPr/>
              <p:nvPr/>
            </p:nvSpPr>
            <p:spPr>
              <a:xfrm>
                <a:off x="717232" y="362507"/>
                <a:ext cx="33524" cy="30636"/>
              </a:xfrm>
              <a:custGeom>
                <a:avLst/>
                <a:gdLst>
                  <a:gd name="connsiteX0" fmla="*/ 21907 w 33524"/>
                  <a:gd name="connsiteY0" fmla="*/ 6110 h 30636"/>
                  <a:gd name="connsiteX1" fmla="*/ 26670 w 33524"/>
                  <a:gd name="connsiteY1" fmla="*/ 8015 h 30636"/>
                  <a:gd name="connsiteX2" fmla="*/ 16192 w 33524"/>
                  <a:gd name="connsiteY2" fmla="*/ 17540 h 30636"/>
                  <a:gd name="connsiteX3" fmla="*/ 14288 w 33524"/>
                  <a:gd name="connsiteY3" fmla="*/ 17540 h 30636"/>
                  <a:gd name="connsiteX4" fmla="*/ 11430 w 33524"/>
                  <a:gd name="connsiteY4" fmla="*/ 21350 h 30636"/>
                  <a:gd name="connsiteX5" fmla="*/ 6667 w 33524"/>
                  <a:gd name="connsiteY5" fmla="*/ 22302 h 30636"/>
                  <a:gd name="connsiteX6" fmla="*/ 14288 w 33524"/>
                  <a:gd name="connsiteY6" fmla="*/ 25160 h 30636"/>
                  <a:gd name="connsiteX7" fmla="*/ 16192 w 33524"/>
                  <a:gd name="connsiteY7" fmla="*/ 27065 h 30636"/>
                  <a:gd name="connsiteX8" fmla="*/ 17145 w 33524"/>
                  <a:gd name="connsiteY8" fmla="*/ 26112 h 30636"/>
                  <a:gd name="connsiteX9" fmla="*/ 18097 w 33524"/>
                  <a:gd name="connsiteY9" fmla="*/ 27065 h 30636"/>
                  <a:gd name="connsiteX10" fmla="*/ 18097 w 33524"/>
                  <a:gd name="connsiteY10" fmla="*/ 28017 h 30636"/>
                  <a:gd name="connsiteX11" fmla="*/ 12382 w 33524"/>
                  <a:gd name="connsiteY11" fmla="*/ 29922 h 30636"/>
                  <a:gd name="connsiteX12" fmla="*/ 23813 w 33524"/>
                  <a:gd name="connsiteY12" fmla="*/ 29922 h 30636"/>
                  <a:gd name="connsiteX13" fmla="*/ 25717 w 33524"/>
                  <a:gd name="connsiteY13" fmla="*/ 21350 h 30636"/>
                  <a:gd name="connsiteX14" fmla="*/ 24765 w 33524"/>
                  <a:gd name="connsiteY14" fmla="*/ 19445 h 30636"/>
                  <a:gd name="connsiteX15" fmla="*/ 27622 w 33524"/>
                  <a:gd name="connsiteY15" fmla="*/ 16587 h 30636"/>
                  <a:gd name="connsiteX16" fmla="*/ 30480 w 33524"/>
                  <a:gd name="connsiteY16" fmla="*/ 14682 h 30636"/>
                  <a:gd name="connsiteX17" fmla="*/ 28575 w 33524"/>
                  <a:gd name="connsiteY17" fmla="*/ 11825 h 30636"/>
                  <a:gd name="connsiteX18" fmla="*/ 33338 w 33524"/>
                  <a:gd name="connsiteY18" fmla="*/ 3252 h 30636"/>
                  <a:gd name="connsiteX19" fmla="*/ 25717 w 33524"/>
                  <a:gd name="connsiteY19" fmla="*/ 395 h 30636"/>
                  <a:gd name="connsiteX20" fmla="*/ 17145 w 33524"/>
                  <a:gd name="connsiteY20" fmla="*/ 1347 h 30636"/>
                  <a:gd name="connsiteX21" fmla="*/ 9525 w 33524"/>
                  <a:gd name="connsiteY21" fmla="*/ 3252 h 30636"/>
                  <a:gd name="connsiteX22" fmla="*/ 0 w 33524"/>
                  <a:gd name="connsiteY22" fmla="*/ 8015 h 30636"/>
                  <a:gd name="connsiteX23" fmla="*/ 11430 w 33524"/>
                  <a:gd name="connsiteY23" fmla="*/ 5157 h 30636"/>
                  <a:gd name="connsiteX24" fmla="*/ 21907 w 33524"/>
                  <a:gd name="connsiteY24" fmla="*/ 6110 h 306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3524" h="30636">
                    <a:moveTo>
                      <a:pt x="21907" y="6110"/>
                    </a:moveTo>
                    <a:cubicBezTo>
                      <a:pt x="23813" y="7062"/>
                      <a:pt x="26670" y="7062"/>
                      <a:pt x="26670" y="8015"/>
                    </a:cubicBezTo>
                    <a:cubicBezTo>
                      <a:pt x="25717" y="11825"/>
                      <a:pt x="20002" y="12777"/>
                      <a:pt x="16192" y="17540"/>
                    </a:cubicBezTo>
                    <a:lnTo>
                      <a:pt x="14288" y="17540"/>
                    </a:lnTo>
                    <a:cubicBezTo>
                      <a:pt x="12382" y="18492"/>
                      <a:pt x="13335" y="21350"/>
                      <a:pt x="11430" y="21350"/>
                    </a:cubicBezTo>
                    <a:cubicBezTo>
                      <a:pt x="9525" y="20397"/>
                      <a:pt x="8572" y="21350"/>
                      <a:pt x="6667" y="22302"/>
                    </a:cubicBezTo>
                    <a:cubicBezTo>
                      <a:pt x="8572" y="24207"/>
                      <a:pt x="11430" y="26112"/>
                      <a:pt x="14288" y="25160"/>
                    </a:cubicBezTo>
                    <a:cubicBezTo>
                      <a:pt x="15240" y="25160"/>
                      <a:pt x="16192" y="26112"/>
                      <a:pt x="16192" y="27065"/>
                    </a:cubicBezTo>
                    <a:cubicBezTo>
                      <a:pt x="16192" y="27065"/>
                      <a:pt x="17145" y="27065"/>
                      <a:pt x="17145" y="26112"/>
                    </a:cubicBezTo>
                    <a:cubicBezTo>
                      <a:pt x="18097" y="26112"/>
                      <a:pt x="18097" y="26112"/>
                      <a:pt x="18097" y="27065"/>
                    </a:cubicBezTo>
                    <a:lnTo>
                      <a:pt x="18097" y="28017"/>
                    </a:lnTo>
                    <a:cubicBezTo>
                      <a:pt x="16192" y="29922"/>
                      <a:pt x="14288" y="28970"/>
                      <a:pt x="12382" y="29922"/>
                    </a:cubicBezTo>
                    <a:cubicBezTo>
                      <a:pt x="16192" y="30875"/>
                      <a:pt x="20955" y="30875"/>
                      <a:pt x="23813" y="29922"/>
                    </a:cubicBezTo>
                    <a:cubicBezTo>
                      <a:pt x="26670" y="28970"/>
                      <a:pt x="23813" y="24207"/>
                      <a:pt x="25717" y="21350"/>
                    </a:cubicBezTo>
                    <a:cubicBezTo>
                      <a:pt x="24765" y="21350"/>
                      <a:pt x="25717" y="19445"/>
                      <a:pt x="24765" y="19445"/>
                    </a:cubicBezTo>
                    <a:cubicBezTo>
                      <a:pt x="25717" y="18492"/>
                      <a:pt x="26670" y="16587"/>
                      <a:pt x="27622" y="16587"/>
                    </a:cubicBezTo>
                    <a:cubicBezTo>
                      <a:pt x="28575" y="16587"/>
                      <a:pt x="30480" y="15635"/>
                      <a:pt x="30480" y="14682"/>
                    </a:cubicBezTo>
                    <a:cubicBezTo>
                      <a:pt x="30480" y="13730"/>
                      <a:pt x="28575" y="12777"/>
                      <a:pt x="28575" y="11825"/>
                    </a:cubicBezTo>
                    <a:cubicBezTo>
                      <a:pt x="31432" y="9920"/>
                      <a:pt x="34290" y="7062"/>
                      <a:pt x="33338" y="3252"/>
                    </a:cubicBezTo>
                    <a:cubicBezTo>
                      <a:pt x="32385" y="1347"/>
                      <a:pt x="28575" y="1347"/>
                      <a:pt x="25717" y="395"/>
                    </a:cubicBezTo>
                    <a:cubicBezTo>
                      <a:pt x="22860" y="-558"/>
                      <a:pt x="20002" y="395"/>
                      <a:pt x="17145" y="1347"/>
                    </a:cubicBezTo>
                    <a:cubicBezTo>
                      <a:pt x="14288" y="1347"/>
                      <a:pt x="12382" y="3252"/>
                      <a:pt x="9525" y="3252"/>
                    </a:cubicBezTo>
                    <a:cubicBezTo>
                      <a:pt x="5715" y="4205"/>
                      <a:pt x="2857" y="6110"/>
                      <a:pt x="0" y="8015"/>
                    </a:cubicBezTo>
                    <a:cubicBezTo>
                      <a:pt x="3810" y="6110"/>
                      <a:pt x="7620" y="6110"/>
                      <a:pt x="11430" y="5157"/>
                    </a:cubicBezTo>
                    <a:cubicBezTo>
                      <a:pt x="16192" y="6110"/>
                      <a:pt x="19050" y="5157"/>
                      <a:pt x="21907" y="6110"/>
                    </a:cubicBezTo>
                  </a:path>
                </a:pathLst>
              </a:custGeom>
              <a:solidFill>
                <a:srgbClr val="9C9B9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  <p:sp>
        <p:nvSpPr>
          <p:cNvPr id="31" name="Titre 1">
            <a:extLst>
              <a:ext uri="{FF2B5EF4-FFF2-40B4-BE49-F238E27FC236}">
                <a16:creationId xmlns:a16="http://schemas.microsoft.com/office/drawing/2014/main" id="{B798DD63-88D7-4D98-8CBC-A6C469B47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38163" y="1043684"/>
            <a:ext cx="11115675" cy="5274315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tx1"/>
            </a:solidFill>
          </a:ln>
        </p:spPr>
        <p:txBody>
          <a:bodyPr lIns="0" bIns="360000" anchor="ctr" anchorCtr="0"/>
          <a:lstStyle>
            <a:lvl1pPr marL="0" indent="0">
              <a:buFont typeface="+mj-lt"/>
              <a:buNone/>
              <a:defRPr sz="440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N°. Titre</a:t>
            </a:r>
          </a:p>
        </p:txBody>
      </p:sp>
      <p:grpSp>
        <p:nvGrpSpPr>
          <p:cNvPr id="19" name="Groupe 18">
            <a:extLst>
              <a:ext uri="{FF2B5EF4-FFF2-40B4-BE49-F238E27FC236}">
                <a16:creationId xmlns:a16="http://schemas.microsoft.com/office/drawing/2014/main" id="{4E5DC8BB-A03E-454C-8700-FA262A8A9059}"/>
              </a:ext>
            </a:extLst>
          </p:cNvPr>
          <p:cNvGrpSpPr/>
          <p:nvPr userDrawn="1"/>
        </p:nvGrpSpPr>
        <p:grpSpPr>
          <a:xfrm>
            <a:off x="10061357" y="512156"/>
            <a:ext cx="1592481" cy="198907"/>
            <a:chOff x="10061357" y="512156"/>
            <a:chExt cx="1592481" cy="198907"/>
          </a:xfrm>
        </p:grpSpPr>
        <p:sp>
          <p:nvSpPr>
            <p:cNvPr id="20" name="Forme libre : forme 19">
              <a:extLst>
                <a:ext uri="{FF2B5EF4-FFF2-40B4-BE49-F238E27FC236}">
                  <a16:creationId xmlns:a16="http://schemas.microsoft.com/office/drawing/2014/main" id="{890A0559-75E3-4080-8330-FC675456C3C3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189201" y="540544"/>
              <a:ext cx="464637" cy="170519"/>
            </a:xfrm>
            <a:custGeom>
              <a:avLst/>
              <a:gdLst>
                <a:gd name="connsiteX0" fmla="*/ 0 w 464637"/>
                <a:gd name="connsiteY0" fmla="*/ 0 h 170519"/>
                <a:gd name="connsiteX1" fmla="*/ 0 w 464637"/>
                <a:gd name="connsiteY1" fmla="*/ 82673 h 170519"/>
                <a:gd name="connsiteX2" fmla="*/ 381965 w 464637"/>
                <a:gd name="connsiteY2" fmla="*/ 82673 h 170519"/>
                <a:gd name="connsiteX3" fmla="*/ 381965 w 464637"/>
                <a:gd name="connsiteY3" fmla="*/ 170520 h 170519"/>
                <a:gd name="connsiteX4" fmla="*/ 464638 w 464637"/>
                <a:gd name="connsiteY4" fmla="*/ 170520 h 170519"/>
                <a:gd name="connsiteX5" fmla="*/ 464638 w 464637"/>
                <a:gd name="connsiteY5" fmla="*/ 0 h 170519"/>
                <a:gd name="connsiteX6" fmla="*/ 0 w 464637"/>
                <a:gd name="connsiteY6" fmla="*/ 0 h 170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4637" h="170519">
                  <a:moveTo>
                    <a:pt x="0" y="0"/>
                  </a:moveTo>
                  <a:lnTo>
                    <a:pt x="0" y="82673"/>
                  </a:lnTo>
                  <a:lnTo>
                    <a:pt x="381965" y="82673"/>
                  </a:lnTo>
                  <a:lnTo>
                    <a:pt x="381965" y="170520"/>
                  </a:lnTo>
                  <a:lnTo>
                    <a:pt x="464638" y="170520"/>
                  </a:lnTo>
                  <a:lnTo>
                    <a:pt x="46463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21" name="ZoneTexte 20">
              <a:extLst>
                <a:ext uri="{FF2B5EF4-FFF2-40B4-BE49-F238E27FC236}">
                  <a16:creationId xmlns:a16="http://schemas.microsoft.com/office/drawing/2014/main" id="{31F459CB-ABA4-4666-AA94-812858220C6C}"/>
                </a:ext>
              </a:extLst>
            </p:cNvPr>
            <p:cNvSpPr txBox="1"/>
            <p:nvPr userDrawn="1"/>
          </p:nvSpPr>
          <p:spPr>
            <a:xfrm>
              <a:off x="10061357" y="512156"/>
              <a:ext cx="1102866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fr-FR" sz="900" b="1" cap="all" baseline="0" dirty="0">
                  <a:solidFill>
                    <a:schemeClr val="accent1"/>
                  </a:solidFill>
                </a:rPr>
                <a:t>Investir l’aveni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992778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 avec coca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CA5D348-1AC1-4F7D-8796-CB2E66F168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8961352" cy="735907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A7AC604-3EA4-4DC7-B1E4-1906B1FC2F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0517F9-BDB0-4370-ADE4-B87E6BE79637}" type="datetime1">
              <a:rPr lang="fr-FR" smtClean="0"/>
              <a:t>22/11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99C0182-12A1-40D5-936A-5497EC719F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MEX – 9 avril 2021 - POUR INFORM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4483E3E-D4DF-43E7-84C2-67715B942C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2D038-4989-45BB-AD16-38E0E231338A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Espace réservé du texte 17">
            <a:extLst>
              <a:ext uri="{FF2B5EF4-FFF2-40B4-BE49-F238E27FC236}">
                <a16:creationId xmlns:a16="http://schemas.microsoft.com/office/drawing/2014/main" id="{6B3643DB-0425-46F8-9A40-973BFF3FA9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9999" y="1343603"/>
            <a:ext cx="8961351" cy="276999"/>
          </a:xfrm>
        </p:spPr>
        <p:txBody>
          <a:bodyPr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cap="all" baseline="0">
                <a:solidFill>
                  <a:schemeClr val="accent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9pPr>
          </a:lstStyle>
          <a:p>
            <a:pPr lvl="0"/>
            <a:r>
              <a:rPr lang="fr-FR" dirty="0"/>
              <a:t>Sous-titre</a:t>
            </a:r>
          </a:p>
        </p:txBody>
      </p:sp>
      <p:grpSp>
        <p:nvGrpSpPr>
          <p:cNvPr id="9" name="Groupe 8">
            <a:extLst>
              <a:ext uri="{FF2B5EF4-FFF2-40B4-BE49-F238E27FC236}">
                <a16:creationId xmlns:a16="http://schemas.microsoft.com/office/drawing/2014/main" id="{49D7AD85-D929-4AE9-8FC3-51F6902EDE42}"/>
              </a:ext>
            </a:extLst>
          </p:cNvPr>
          <p:cNvGrpSpPr/>
          <p:nvPr userDrawn="1"/>
        </p:nvGrpSpPr>
        <p:grpSpPr>
          <a:xfrm>
            <a:off x="1" y="1590199"/>
            <a:ext cx="1629834" cy="3677602"/>
            <a:chOff x="1" y="1590199"/>
            <a:chExt cx="1629834" cy="3677602"/>
          </a:xfrm>
        </p:grpSpPr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EC8E4AD7-4400-4758-8305-E95A2E3EB330}"/>
                </a:ext>
              </a:extLst>
            </p:cNvPr>
            <p:cNvSpPr/>
            <p:nvPr/>
          </p:nvSpPr>
          <p:spPr>
            <a:xfrm>
              <a:off x="1" y="1702857"/>
              <a:ext cx="1502402" cy="3447405"/>
            </a:xfrm>
            <a:custGeom>
              <a:avLst/>
              <a:gdLst>
                <a:gd name="connsiteX0" fmla="*/ 774958 w 1798526"/>
                <a:gd name="connsiteY0" fmla="*/ 1706815 h 4126890"/>
                <a:gd name="connsiteX1" fmla="*/ 800195 w 1798526"/>
                <a:gd name="connsiteY1" fmla="*/ 1713346 h 4126890"/>
                <a:gd name="connsiteX2" fmla="*/ 889046 w 1798526"/>
                <a:gd name="connsiteY2" fmla="*/ 1744708 h 4126890"/>
                <a:gd name="connsiteX3" fmla="*/ 831551 w 1798526"/>
                <a:gd name="connsiteY3" fmla="*/ 1849246 h 4126890"/>
                <a:gd name="connsiteX4" fmla="*/ 852459 w 1798526"/>
                <a:gd name="connsiteY4" fmla="*/ 1880602 h 4126890"/>
                <a:gd name="connsiteX5" fmla="*/ 815873 w 1798526"/>
                <a:gd name="connsiteY5" fmla="*/ 1901510 h 4126890"/>
                <a:gd name="connsiteX6" fmla="*/ 779287 w 1798526"/>
                <a:gd name="connsiteY6" fmla="*/ 1938096 h 4126890"/>
                <a:gd name="connsiteX7" fmla="*/ 789736 w 1798526"/>
                <a:gd name="connsiteY7" fmla="*/ 1959003 h 4126890"/>
                <a:gd name="connsiteX8" fmla="*/ 763604 w 1798526"/>
                <a:gd name="connsiteY8" fmla="*/ 2068766 h 4126890"/>
                <a:gd name="connsiteX9" fmla="*/ 617255 w 1798526"/>
                <a:gd name="connsiteY9" fmla="*/ 2068766 h 4126890"/>
                <a:gd name="connsiteX10" fmla="*/ 695656 w 1798526"/>
                <a:gd name="connsiteY10" fmla="*/ 2047858 h 4126890"/>
                <a:gd name="connsiteX11" fmla="*/ 695656 w 1798526"/>
                <a:gd name="connsiteY11" fmla="*/ 2021726 h 4126890"/>
                <a:gd name="connsiteX12" fmla="*/ 685203 w 1798526"/>
                <a:gd name="connsiteY12" fmla="*/ 2016497 h 4126890"/>
                <a:gd name="connsiteX13" fmla="*/ 674749 w 1798526"/>
                <a:gd name="connsiteY13" fmla="*/ 2021726 h 4126890"/>
                <a:gd name="connsiteX14" fmla="*/ 653841 w 1798526"/>
                <a:gd name="connsiteY14" fmla="*/ 1995590 h 4126890"/>
                <a:gd name="connsiteX15" fmla="*/ 554532 w 1798526"/>
                <a:gd name="connsiteY15" fmla="*/ 1959003 h 4126890"/>
                <a:gd name="connsiteX16" fmla="*/ 612026 w 1798526"/>
                <a:gd name="connsiteY16" fmla="*/ 1953779 h 4126890"/>
                <a:gd name="connsiteX17" fmla="*/ 643391 w 1798526"/>
                <a:gd name="connsiteY17" fmla="*/ 1906739 h 4126890"/>
                <a:gd name="connsiteX18" fmla="*/ 664295 w 1798526"/>
                <a:gd name="connsiteY18" fmla="*/ 1906739 h 4126890"/>
                <a:gd name="connsiteX19" fmla="*/ 794965 w 1798526"/>
                <a:gd name="connsiteY19" fmla="*/ 1791751 h 4126890"/>
                <a:gd name="connsiteX20" fmla="*/ 721793 w 1798526"/>
                <a:gd name="connsiteY20" fmla="*/ 1770844 h 4126890"/>
                <a:gd name="connsiteX21" fmla="*/ 612026 w 1798526"/>
                <a:gd name="connsiteY21" fmla="*/ 1770844 h 4126890"/>
                <a:gd name="connsiteX22" fmla="*/ 470906 w 1798526"/>
                <a:gd name="connsiteY22" fmla="*/ 1807430 h 4126890"/>
                <a:gd name="connsiteX23" fmla="*/ 591123 w 1798526"/>
                <a:gd name="connsiteY23" fmla="*/ 1744708 h 4126890"/>
                <a:gd name="connsiteX24" fmla="*/ 690427 w 1798526"/>
                <a:gd name="connsiteY24" fmla="*/ 1718575 h 4126890"/>
                <a:gd name="connsiteX25" fmla="*/ 747271 w 1798526"/>
                <a:gd name="connsiteY25" fmla="*/ 1708122 h 4126890"/>
                <a:gd name="connsiteX26" fmla="*/ 774958 w 1798526"/>
                <a:gd name="connsiteY26" fmla="*/ 1706815 h 4126890"/>
                <a:gd name="connsiteX27" fmla="*/ 0 w 1798526"/>
                <a:gd name="connsiteY27" fmla="*/ 0 h 4126890"/>
                <a:gd name="connsiteX28" fmla="*/ 134494 w 1798526"/>
                <a:gd name="connsiteY28" fmla="*/ 20508 h 4126890"/>
                <a:gd name="connsiteX29" fmla="*/ 1798505 w 1798526"/>
                <a:gd name="connsiteY29" fmla="*/ 2063537 h 4126890"/>
                <a:gd name="connsiteX30" fmla="*/ 132779 w 1798526"/>
                <a:gd name="connsiteY30" fmla="*/ 4106567 h 4126890"/>
                <a:gd name="connsiteX31" fmla="*/ 0 w 1798526"/>
                <a:gd name="connsiteY31" fmla="*/ 4126890 h 4126890"/>
                <a:gd name="connsiteX32" fmla="*/ 0 w 1798526"/>
                <a:gd name="connsiteY32" fmla="*/ 3728548 h 4126890"/>
                <a:gd name="connsiteX33" fmla="*/ 16180 w 1798526"/>
                <a:gd name="connsiteY33" fmla="*/ 3725651 h 4126890"/>
                <a:gd name="connsiteX34" fmla="*/ 63216 w 1798526"/>
                <a:gd name="connsiteY34" fmla="*/ 3459081 h 4126890"/>
                <a:gd name="connsiteX35" fmla="*/ 282742 w 1798526"/>
                <a:gd name="connsiteY35" fmla="*/ 3145476 h 4126890"/>
                <a:gd name="connsiteX36" fmla="*/ 371597 w 1798526"/>
                <a:gd name="connsiteY36" fmla="*/ 3119344 h 4126890"/>
                <a:gd name="connsiteX37" fmla="*/ 700886 w 1798526"/>
                <a:gd name="connsiteY37" fmla="*/ 3166384 h 4126890"/>
                <a:gd name="connsiteX38" fmla="*/ 737472 w 1798526"/>
                <a:gd name="connsiteY38" fmla="*/ 3176842 h 4126890"/>
                <a:gd name="connsiteX39" fmla="*/ 857688 w 1798526"/>
                <a:gd name="connsiteY39" fmla="*/ 3171613 h 4126890"/>
                <a:gd name="connsiteX40" fmla="*/ 972676 w 1798526"/>
                <a:gd name="connsiteY40" fmla="*/ 3072304 h 4126890"/>
                <a:gd name="connsiteX41" fmla="*/ 977905 w 1798526"/>
                <a:gd name="connsiteY41" fmla="*/ 2931180 h 4126890"/>
                <a:gd name="connsiteX42" fmla="*/ 1040624 w 1798526"/>
                <a:gd name="connsiteY42" fmla="*/ 2816193 h 4126890"/>
                <a:gd name="connsiteX43" fmla="*/ 1019715 w 1798526"/>
                <a:gd name="connsiteY43" fmla="*/ 2732567 h 4126890"/>
                <a:gd name="connsiteX44" fmla="*/ 972676 w 1798526"/>
                <a:gd name="connsiteY44" fmla="*/ 2706430 h 4126890"/>
                <a:gd name="connsiteX45" fmla="*/ 1056306 w 1798526"/>
                <a:gd name="connsiteY45" fmla="*/ 2591443 h 4126890"/>
                <a:gd name="connsiteX46" fmla="*/ 1045852 w 1798526"/>
                <a:gd name="connsiteY46" fmla="*/ 2476455 h 4126890"/>
                <a:gd name="connsiteX47" fmla="*/ 1181748 w 1798526"/>
                <a:gd name="connsiteY47" fmla="*/ 2413732 h 4126890"/>
                <a:gd name="connsiteX48" fmla="*/ 1103347 w 1798526"/>
                <a:gd name="connsiteY48" fmla="*/ 2204661 h 4126890"/>
                <a:gd name="connsiteX49" fmla="*/ 1030174 w 1798526"/>
                <a:gd name="connsiteY49" fmla="*/ 2100128 h 4126890"/>
                <a:gd name="connsiteX50" fmla="*/ 956997 w 1798526"/>
                <a:gd name="connsiteY50" fmla="*/ 1964233 h 4126890"/>
                <a:gd name="connsiteX51" fmla="*/ 962222 w 1798526"/>
                <a:gd name="connsiteY51" fmla="*/ 1817884 h 4126890"/>
                <a:gd name="connsiteX52" fmla="*/ 915182 w 1798526"/>
                <a:gd name="connsiteY52" fmla="*/ 1525182 h 4126890"/>
                <a:gd name="connsiteX53" fmla="*/ 868137 w 1798526"/>
                <a:gd name="connsiteY53" fmla="*/ 1384063 h 4126890"/>
                <a:gd name="connsiteX54" fmla="*/ 836781 w 1798526"/>
                <a:gd name="connsiteY54" fmla="*/ 1305661 h 4126890"/>
                <a:gd name="connsiteX55" fmla="*/ 836781 w 1798526"/>
                <a:gd name="connsiteY55" fmla="*/ 1258617 h 4126890"/>
                <a:gd name="connsiteX56" fmla="*/ 915182 w 1798526"/>
                <a:gd name="connsiteY56" fmla="*/ 1195899 h 4126890"/>
                <a:gd name="connsiteX57" fmla="*/ 889046 w 1798526"/>
                <a:gd name="connsiteY57" fmla="*/ 1096590 h 4126890"/>
                <a:gd name="connsiteX58" fmla="*/ 815873 w 1798526"/>
                <a:gd name="connsiteY58" fmla="*/ 1154084 h 4126890"/>
                <a:gd name="connsiteX59" fmla="*/ 794965 w 1798526"/>
                <a:gd name="connsiteY59" fmla="*/ 1154084 h 4126890"/>
                <a:gd name="connsiteX60" fmla="*/ 815873 w 1798526"/>
                <a:gd name="connsiteY60" fmla="*/ 1117497 h 4126890"/>
                <a:gd name="connsiteX61" fmla="*/ 810644 w 1798526"/>
                <a:gd name="connsiteY61" fmla="*/ 1096590 h 4126890"/>
                <a:gd name="connsiteX62" fmla="*/ 753150 w 1798526"/>
                <a:gd name="connsiteY62" fmla="*/ 1075682 h 4126890"/>
                <a:gd name="connsiteX63" fmla="*/ 502267 w 1798526"/>
                <a:gd name="connsiteY63" fmla="*/ 903201 h 4126890"/>
                <a:gd name="connsiteX64" fmla="*/ 580669 w 1798526"/>
                <a:gd name="connsiteY64" fmla="*/ 913655 h 4126890"/>
                <a:gd name="connsiteX65" fmla="*/ 716564 w 1798526"/>
                <a:gd name="connsiteY65" fmla="*/ 903201 h 4126890"/>
                <a:gd name="connsiteX66" fmla="*/ 768833 w 1798526"/>
                <a:gd name="connsiteY66" fmla="*/ 803892 h 4126890"/>
                <a:gd name="connsiteX67" fmla="*/ 747926 w 1798526"/>
                <a:gd name="connsiteY67" fmla="*/ 720266 h 4126890"/>
                <a:gd name="connsiteX68" fmla="*/ 622484 w 1798526"/>
                <a:gd name="connsiteY68" fmla="*/ 615728 h 4126890"/>
                <a:gd name="connsiteX69" fmla="*/ 37962 w 1798526"/>
                <a:gd name="connsiteY69" fmla="*/ 478373 h 4126890"/>
                <a:gd name="connsiteX70" fmla="*/ 0 w 1798526"/>
                <a:gd name="connsiteY70" fmla="*/ 475873 h 4126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798526" h="4126890">
                  <a:moveTo>
                    <a:pt x="774958" y="1706815"/>
                  </a:moveTo>
                  <a:cubicBezTo>
                    <a:pt x="783859" y="1707468"/>
                    <a:pt x="792353" y="1709427"/>
                    <a:pt x="800195" y="1713346"/>
                  </a:cubicBezTo>
                  <a:cubicBezTo>
                    <a:pt x="831551" y="1723800"/>
                    <a:pt x="883820" y="1723800"/>
                    <a:pt x="889046" y="1744708"/>
                  </a:cubicBezTo>
                  <a:cubicBezTo>
                    <a:pt x="899504" y="1781294"/>
                    <a:pt x="868137" y="1823109"/>
                    <a:pt x="831551" y="1849246"/>
                  </a:cubicBezTo>
                  <a:cubicBezTo>
                    <a:pt x="826327" y="1859695"/>
                    <a:pt x="852459" y="1870153"/>
                    <a:pt x="852459" y="1880602"/>
                  </a:cubicBezTo>
                  <a:cubicBezTo>
                    <a:pt x="847234" y="1891056"/>
                    <a:pt x="826327" y="1901510"/>
                    <a:pt x="815873" y="1901510"/>
                  </a:cubicBezTo>
                  <a:cubicBezTo>
                    <a:pt x="805419" y="1906739"/>
                    <a:pt x="789736" y="1927647"/>
                    <a:pt x="779287" y="1938096"/>
                  </a:cubicBezTo>
                  <a:cubicBezTo>
                    <a:pt x="789736" y="1938096"/>
                    <a:pt x="779287" y="1959003"/>
                    <a:pt x="789736" y="1959003"/>
                  </a:cubicBezTo>
                  <a:cubicBezTo>
                    <a:pt x="763604" y="1990365"/>
                    <a:pt x="800195" y="2058312"/>
                    <a:pt x="763604" y="2068766"/>
                  </a:cubicBezTo>
                  <a:cubicBezTo>
                    <a:pt x="716564" y="2079220"/>
                    <a:pt x="664295" y="2079220"/>
                    <a:pt x="617255" y="2068766"/>
                  </a:cubicBezTo>
                  <a:cubicBezTo>
                    <a:pt x="643391" y="2063542"/>
                    <a:pt x="674749" y="2073991"/>
                    <a:pt x="695656" y="2047858"/>
                  </a:cubicBezTo>
                  <a:cubicBezTo>
                    <a:pt x="695656" y="2042634"/>
                    <a:pt x="695656" y="2026956"/>
                    <a:pt x="695656" y="2021726"/>
                  </a:cubicBezTo>
                  <a:cubicBezTo>
                    <a:pt x="695656" y="2016497"/>
                    <a:pt x="690427" y="2016497"/>
                    <a:pt x="685203" y="2016497"/>
                  </a:cubicBezTo>
                  <a:cubicBezTo>
                    <a:pt x="679977" y="2021726"/>
                    <a:pt x="674749" y="2021726"/>
                    <a:pt x="674749" y="2021726"/>
                  </a:cubicBezTo>
                  <a:cubicBezTo>
                    <a:pt x="674749" y="2011273"/>
                    <a:pt x="664295" y="1995590"/>
                    <a:pt x="653841" y="1995590"/>
                  </a:cubicBezTo>
                  <a:cubicBezTo>
                    <a:pt x="617255" y="2000819"/>
                    <a:pt x="580669" y="1985140"/>
                    <a:pt x="554532" y="1959003"/>
                  </a:cubicBezTo>
                  <a:cubicBezTo>
                    <a:pt x="575440" y="1953779"/>
                    <a:pt x="591123" y="1948555"/>
                    <a:pt x="612026" y="1953779"/>
                  </a:cubicBezTo>
                  <a:cubicBezTo>
                    <a:pt x="632933" y="1953779"/>
                    <a:pt x="622484" y="1922418"/>
                    <a:pt x="643391" y="1906739"/>
                  </a:cubicBezTo>
                  <a:cubicBezTo>
                    <a:pt x="648617" y="1906739"/>
                    <a:pt x="653841" y="1906739"/>
                    <a:pt x="664295" y="1906739"/>
                  </a:cubicBezTo>
                  <a:cubicBezTo>
                    <a:pt x="700886" y="1854470"/>
                    <a:pt x="779287" y="1844016"/>
                    <a:pt x="794965" y="1791751"/>
                  </a:cubicBezTo>
                  <a:cubicBezTo>
                    <a:pt x="784512" y="1776068"/>
                    <a:pt x="747926" y="1776068"/>
                    <a:pt x="721793" y="1770844"/>
                  </a:cubicBezTo>
                  <a:cubicBezTo>
                    <a:pt x="685203" y="1760386"/>
                    <a:pt x="648617" y="1770844"/>
                    <a:pt x="612026" y="1770844"/>
                  </a:cubicBezTo>
                  <a:cubicBezTo>
                    <a:pt x="559761" y="1781294"/>
                    <a:pt x="512721" y="1791751"/>
                    <a:pt x="470906" y="1807430"/>
                  </a:cubicBezTo>
                  <a:cubicBezTo>
                    <a:pt x="507492" y="1781294"/>
                    <a:pt x="549308" y="1755161"/>
                    <a:pt x="591123" y="1744708"/>
                  </a:cubicBezTo>
                  <a:cubicBezTo>
                    <a:pt x="622484" y="1739483"/>
                    <a:pt x="653841" y="1718575"/>
                    <a:pt x="690427" y="1718575"/>
                  </a:cubicBezTo>
                  <a:cubicBezTo>
                    <a:pt x="708723" y="1715963"/>
                    <a:pt x="728326" y="1710734"/>
                    <a:pt x="747271" y="1708122"/>
                  </a:cubicBezTo>
                  <a:cubicBezTo>
                    <a:pt x="756746" y="1706815"/>
                    <a:pt x="766056" y="1706162"/>
                    <a:pt x="774958" y="1706815"/>
                  </a:cubicBezTo>
                  <a:close/>
                  <a:moveTo>
                    <a:pt x="0" y="0"/>
                  </a:moveTo>
                  <a:lnTo>
                    <a:pt x="134494" y="20508"/>
                  </a:lnTo>
                  <a:cubicBezTo>
                    <a:pt x="1087340" y="215306"/>
                    <a:pt x="1803080" y="1057386"/>
                    <a:pt x="1798505" y="2063537"/>
                  </a:cubicBezTo>
                  <a:cubicBezTo>
                    <a:pt x="1798505" y="3069687"/>
                    <a:pt x="1082192" y="3911768"/>
                    <a:pt x="132779" y="4106567"/>
                  </a:cubicBezTo>
                  <a:lnTo>
                    <a:pt x="0" y="4126890"/>
                  </a:lnTo>
                  <a:lnTo>
                    <a:pt x="0" y="3728548"/>
                  </a:lnTo>
                  <a:lnTo>
                    <a:pt x="16180" y="3725651"/>
                  </a:lnTo>
                  <a:cubicBezTo>
                    <a:pt x="26629" y="3647250"/>
                    <a:pt x="42313" y="3558390"/>
                    <a:pt x="63216" y="3459081"/>
                  </a:cubicBezTo>
                  <a:cubicBezTo>
                    <a:pt x="105031" y="3338869"/>
                    <a:pt x="172984" y="3223877"/>
                    <a:pt x="282742" y="3145476"/>
                  </a:cubicBezTo>
                  <a:cubicBezTo>
                    <a:pt x="308878" y="3129797"/>
                    <a:pt x="340235" y="3124573"/>
                    <a:pt x="371597" y="3119344"/>
                  </a:cubicBezTo>
                  <a:cubicBezTo>
                    <a:pt x="481360" y="3119344"/>
                    <a:pt x="591123" y="3155934"/>
                    <a:pt x="700886" y="3166384"/>
                  </a:cubicBezTo>
                  <a:cubicBezTo>
                    <a:pt x="711335" y="3166384"/>
                    <a:pt x="727018" y="3171613"/>
                    <a:pt x="737472" y="3176842"/>
                  </a:cubicBezTo>
                  <a:cubicBezTo>
                    <a:pt x="774058" y="3182066"/>
                    <a:pt x="821102" y="3182066"/>
                    <a:pt x="857688" y="3171613"/>
                  </a:cubicBezTo>
                  <a:cubicBezTo>
                    <a:pt x="899504" y="3155934"/>
                    <a:pt x="951773" y="3129797"/>
                    <a:pt x="972676" y="3072304"/>
                  </a:cubicBezTo>
                  <a:cubicBezTo>
                    <a:pt x="988359" y="3025264"/>
                    <a:pt x="1004037" y="2978220"/>
                    <a:pt x="977905" y="2931180"/>
                  </a:cubicBezTo>
                  <a:cubicBezTo>
                    <a:pt x="936090" y="2873686"/>
                    <a:pt x="1014491" y="2852779"/>
                    <a:pt x="1040624" y="2816193"/>
                  </a:cubicBezTo>
                  <a:cubicBezTo>
                    <a:pt x="1056306" y="2784831"/>
                    <a:pt x="1024945" y="2763924"/>
                    <a:pt x="1019715" y="2732567"/>
                  </a:cubicBezTo>
                  <a:cubicBezTo>
                    <a:pt x="1009266" y="2716884"/>
                    <a:pt x="983129" y="2727338"/>
                    <a:pt x="972676" y="2706430"/>
                  </a:cubicBezTo>
                  <a:cubicBezTo>
                    <a:pt x="1019715" y="2690752"/>
                    <a:pt x="1087668" y="2648936"/>
                    <a:pt x="1056306" y="2591443"/>
                  </a:cubicBezTo>
                  <a:cubicBezTo>
                    <a:pt x="1040624" y="2560081"/>
                    <a:pt x="1009266" y="2507812"/>
                    <a:pt x="1045852" y="2476455"/>
                  </a:cubicBezTo>
                  <a:cubicBezTo>
                    <a:pt x="1092893" y="2450319"/>
                    <a:pt x="1160840" y="2460773"/>
                    <a:pt x="1181748" y="2413732"/>
                  </a:cubicBezTo>
                  <a:cubicBezTo>
                    <a:pt x="1213109" y="2335331"/>
                    <a:pt x="1139933" y="2267384"/>
                    <a:pt x="1103347" y="2204661"/>
                  </a:cubicBezTo>
                  <a:cubicBezTo>
                    <a:pt x="1082438" y="2162850"/>
                    <a:pt x="1056306" y="2136714"/>
                    <a:pt x="1030174" y="2100128"/>
                  </a:cubicBezTo>
                  <a:cubicBezTo>
                    <a:pt x="1004037" y="2053088"/>
                    <a:pt x="967451" y="2016497"/>
                    <a:pt x="956997" y="1964233"/>
                  </a:cubicBezTo>
                  <a:cubicBezTo>
                    <a:pt x="936090" y="1917188"/>
                    <a:pt x="962222" y="1870153"/>
                    <a:pt x="962222" y="1817884"/>
                  </a:cubicBezTo>
                  <a:cubicBezTo>
                    <a:pt x="967451" y="1718575"/>
                    <a:pt x="941314" y="1624491"/>
                    <a:pt x="915182" y="1525182"/>
                  </a:cubicBezTo>
                  <a:cubicBezTo>
                    <a:pt x="894274" y="1483371"/>
                    <a:pt x="889046" y="1431102"/>
                    <a:pt x="868137" y="1384063"/>
                  </a:cubicBezTo>
                  <a:cubicBezTo>
                    <a:pt x="862913" y="1357926"/>
                    <a:pt x="857688" y="1331793"/>
                    <a:pt x="836781" y="1305661"/>
                  </a:cubicBezTo>
                  <a:cubicBezTo>
                    <a:pt x="831551" y="1289978"/>
                    <a:pt x="831551" y="1269075"/>
                    <a:pt x="836781" y="1258617"/>
                  </a:cubicBezTo>
                  <a:cubicBezTo>
                    <a:pt x="862913" y="1242938"/>
                    <a:pt x="889046" y="1222031"/>
                    <a:pt x="915182" y="1195899"/>
                  </a:cubicBezTo>
                  <a:cubicBezTo>
                    <a:pt x="936090" y="1159308"/>
                    <a:pt x="920406" y="1117497"/>
                    <a:pt x="889046" y="1096590"/>
                  </a:cubicBezTo>
                  <a:cubicBezTo>
                    <a:pt x="842005" y="1075682"/>
                    <a:pt x="847234" y="1143630"/>
                    <a:pt x="815873" y="1154084"/>
                  </a:cubicBezTo>
                  <a:cubicBezTo>
                    <a:pt x="805419" y="1154084"/>
                    <a:pt x="800195" y="1154084"/>
                    <a:pt x="794965" y="1154084"/>
                  </a:cubicBezTo>
                  <a:cubicBezTo>
                    <a:pt x="789736" y="1138405"/>
                    <a:pt x="805419" y="1127951"/>
                    <a:pt x="815873" y="1117497"/>
                  </a:cubicBezTo>
                  <a:cubicBezTo>
                    <a:pt x="815873" y="1107044"/>
                    <a:pt x="815873" y="1096590"/>
                    <a:pt x="810644" y="1096590"/>
                  </a:cubicBezTo>
                  <a:cubicBezTo>
                    <a:pt x="784512" y="1096590"/>
                    <a:pt x="758379" y="1086136"/>
                    <a:pt x="753150" y="1075682"/>
                  </a:cubicBezTo>
                  <a:cubicBezTo>
                    <a:pt x="690427" y="986827"/>
                    <a:pt x="601576" y="939788"/>
                    <a:pt x="502267" y="903201"/>
                  </a:cubicBezTo>
                  <a:cubicBezTo>
                    <a:pt x="528400" y="908426"/>
                    <a:pt x="554532" y="913655"/>
                    <a:pt x="580669" y="913655"/>
                  </a:cubicBezTo>
                  <a:cubicBezTo>
                    <a:pt x="627709" y="924104"/>
                    <a:pt x="679977" y="924104"/>
                    <a:pt x="716564" y="903201"/>
                  </a:cubicBezTo>
                  <a:cubicBezTo>
                    <a:pt x="747926" y="887518"/>
                    <a:pt x="758379" y="835254"/>
                    <a:pt x="768833" y="803892"/>
                  </a:cubicBezTo>
                  <a:cubicBezTo>
                    <a:pt x="779287" y="777760"/>
                    <a:pt x="758379" y="741169"/>
                    <a:pt x="747926" y="720266"/>
                  </a:cubicBezTo>
                  <a:cubicBezTo>
                    <a:pt x="716564" y="673222"/>
                    <a:pt x="669524" y="641865"/>
                    <a:pt x="622484" y="615728"/>
                  </a:cubicBezTo>
                  <a:cubicBezTo>
                    <a:pt x="442159" y="549087"/>
                    <a:pt x="242725" y="500821"/>
                    <a:pt x="37962" y="478373"/>
                  </a:cubicBezTo>
                  <a:lnTo>
                    <a:pt x="0" y="475873"/>
                  </a:lnTo>
                  <a:close/>
                </a:path>
              </a:pathLst>
            </a:custGeom>
            <a:solidFill>
              <a:srgbClr val="5770BE">
                <a:alpha val="2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fr-FR" sz="1100" b="1" kern="0" cap="all">
                <a:solidFill>
                  <a:srgbClr val="4E65AB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0CC8E4A7-3FC8-45BB-9F0C-80C1D3C4A791}"/>
                </a:ext>
              </a:extLst>
            </p:cNvPr>
            <p:cNvSpPr/>
            <p:nvPr/>
          </p:nvSpPr>
          <p:spPr>
            <a:xfrm>
              <a:off x="1" y="1590199"/>
              <a:ext cx="1629834" cy="3677602"/>
            </a:xfrm>
            <a:custGeom>
              <a:avLst/>
              <a:gdLst>
                <a:gd name="connsiteX0" fmla="*/ 0 w 1951075"/>
                <a:gd name="connsiteY0" fmla="*/ 0 h 4402459"/>
                <a:gd name="connsiteX1" fmla="*/ 179327 w 1951075"/>
                <a:gd name="connsiteY1" fmla="*/ 27368 h 4402459"/>
                <a:gd name="connsiteX2" fmla="*/ 1951075 w 1951075"/>
                <a:gd name="connsiteY2" fmla="*/ 2201229 h 4402459"/>
                <a:gd name="connsiteX3" fmla="*/ 179327 w 1951075"/>
                <a:gd name="connsiteY3" fmla="*/ 4375090 h 4402459"/>
                <a:gd name="connsiteX4" fmla="*/ 0 w 1951075"/>
                <a:gd name="connsiteY4" fmla="*/ 4402459 h 4402459"/>
                <a:gd name="connsiteX0" fmla="*/ 28575 w 1979650"/>
                <a:gd name="connsiteY0" fmla="*/ 0 h 4402459"/>
                <a:gd name="connsiteX1" fmla="*/ 207902 w 1979650"/>
                <a:gd name="connsiteY1" fmla="*/ 27368 h 4402459"/>
                <a:gd name="connsiteX2" fmla="*/ 1979650 w 1979650"/>
                <a:gd name="connsiteY2" fmla="*/ 2201229 h 4402459"/>
                <a:gd name="connsiteX3" fmla="*/ 207902 w 1979650"/>
                <a:gd name="connsiteY3" fmla="*/ 4375090 h 4402459"/>
                <a:gd name="connsiteX4" fmla="*/ 28575 w 1979650"/>
                <a:gd name="connsiteY4" fmla="*/ 4402459 h 4402459"/>
                <a:gd name="connsiteX5" fmla="*/ 0 w 1979650"/>
                <a:gd name="connsiteY5" fmla="*/ 2007808 h 4402459"/>
                <a:gd name="connsiteX6" fmla="*/ 28575 w 1979650"/>
                <a:gd name="connsiteY6" fmla="*/ 0 h 4402459"/>
                <a:gd name="connsiteX0" fmla="*/ 0 w 1979650"/>
                <a:gd name="connsiteY0" fmla="*/ 2007808 h 4402459"/>
                <a:gd name="connsiteX1" fmla="*/ 28575 w 1979650"/>
                <a:gd name="connsiteY1" fmla="*/ 0 h 4402459"/>
                <a:gd name="connsiteX2" fmla="*/ 207902 w 1979650"/>
                <a:gd name="connsiteY2" fmla="*/ 27368 h 4402459"/>
                <a:gd name="connsiteX3" fmla="*/ 1979650 w 1979650"/>
                <a:gd name="connsiteY3" fmla="*/ 2201229 h 4402459"/>
                <a:gd name="connsiteX4" fmla="*/ 207902 w 1979650"/>
                <a:gd name="connsiteY4" fmla="*/ 4375090 h 4402459"/>
                <a:gd name="connsiteX5" fmla="*/ 28575 w 1979650"/>
                <a:gd name="connsiteY5" fmla="*/ 4402459 h 4402459"/>
                <a:gd name="connsiteX6" fmla="*/ 91440 w 1979650"/>
                <a:gd name="connsiteY6" fmla="*/ 2099248 h 4402459"/>
                <a:gd name="connsiteX0" fmla="*/ 0 w 1979650"/>
                <a:gd name="connsiteY0" fmla="*/ 2007808 h 4402459"/>
                <a:gd name="connsiteX1" fmla="*/ 28575 w 1979650"/>
                <a:gd name="connsiteY1" fmla="*/ 0 h 4402459"/>
                <a:gd name="connsiteX2" fmla="*/ 207902 w 1979650"/>
                <a:gd name="connsiteY2" fmla="*/ 27368 h 4402459"/>
                <a:gd name="connsiteX3" fmla="*/ 1979650 w 1979650"/>
                <a:gd name="connsiteY3" fmla="*/ 2201229 h 4402459"/>
                <a:gd name="connsiteX4" fmla="*/ 207902 w 1979650"/>
                <a:gd name="connsiteY4" fmla="*/ 4375090 h 4402459"/>
                <a:gd name="connsiteX5" fmla="*/ 28575 w 1979650"/>
                <a:gd name="connsiteY5" fmla="*/ 4402459 h 4402459"/>
                <a:gd name="connsiteX0" fmla="*/ 0 w 1951075"/>
                <a:gd name="connsiteY0" fmla="*/ 0 h 4402459"/>
                <a:gd name="connsiteX1" fmla="*/ 179327 w 1951075"/>
                <a:gd name="connsiteY1" fmla="*/ 27368 h 4402459"/>
                <a:gd name="connsiteX2" fmla="*/ 1951075 w 1951075"/>
                <a:gd name="connsiteY2" fmla="*/ 2201229 h 4402459"/>
                <a:gd name="connsiteX3" fmla="*/ 179327 w 1951075"/>
                <a:gd name="connsiteY3" fmla="*/ 4375090 h 4402459"/>
                <a:gd name="connsiteX4" fmla="*/ 0 w 1951075"/>
                <a:gd name="connsiteY4" fmla="*/ 4402459 h 4402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1075" h="4402459">
                  <a:moveTo>
                    <a:pt x="0" y="0"/>
                  </a:moveTo>
                  <a:lnTo>
                    <a:pt x="179327" y="27368"/>
                  </a:lnTo>
                  <a:cubicBezTo>
                    <a:pt x="1190462" y="234276"/>
                    <a:pt x="1951075" y="1128927"/>
                    <a:pt x="1951075" y="2201229"/>
                  </a:cubicBezTo>
                  <a:cubicBezTo>
                    <a:pt x="1951075" y="3273531"/>
                    <a:pt x="1190462" y="4168182"/>
                    <a:pt x="179327" y="4375090"/>
                  </a:cubicBezTo>
                  <a:lnTo>
                    <a:pt x="0" y="4402459"/>
                  </a:lnTo>
                </a:path>
              </a:pathLst>
            </a:custGeom>
            <a:noFill/>
            <a:ln w="15875" cap="flat" cmpd="sng" algn="ctr">
              <a:solidFill>
                <a:schemeClr val="accent3">
                  <a:alpha val="10000"/>
                </a:schemeClr>
              </a:solidFill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CA93DE30-B296-400D-A9A6-1A1E15A5DB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47203" y="2267998"/>
            <a:ext cx="2952000" cy="3849021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4" name="Espace réservé du texte 7">
            <a:extLst>
              <a:ext uri="{FF2B5EF4-FFF2-40B4-BE49-F238E27FC236}">
                <a16:creationId xmlns:a16="http://schemas.microsoft.com/office/drawing/2014/main" id="{E8141E5C-E022-4BED-AF31-C29127E9BE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373792" y="2267999"/>
            <a:ext cx="2952000" cy="3849021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5" name="Espace réservé du texte 7">
            <a:extLst>
              <a:ext uri="{FF2B5EF4-FFF2-40B4-BE49-F238E27FC236}">
                <a16:creationId xmlns:a16="http://schemas.microsoft.com/office/drawing/2014/main" id="{F2C5C8AA-3286-4EC7-AC82-00DE8727B1B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00380" y="2267999"/>
            <a:ext cx="2951620" cy="3849021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6572173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et contenu avec coca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pour une image  9">
            <a:extLst>
              <a:ext uri="{FF2B5EF4-FFF2-40B4-BE49-F238E27FC236}">
                <a16:creationId xmlns:a16="http://schemas.microsoft.com/office/drawing/2014/main" id="{A81EA1E2-18F3-449A-A11C-9F07CB2DC93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373792" y="2267997"/>
            <a:ext cx="6818208" cy="3849023"/>
          </a:xfrm>
        </p:spPr>
        <p:txBody>
          <a:bodyPr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Imag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CA5D348-1AC1-4F7D-8796-CB2E66F168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8961352" cy="735907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A7AC604-3EA4-4DC7-B1E4-1906B1FC2F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016160-DC7D-4CD0-A688-6AD4796B11B1}" type="datetime1">
              <a:rPr lang="fr-FR" smtClean="0"/>
              <a:t>22/11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99C0182-12A1-40D5-936A-5497EC719F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MEX – 9 avril 2021 - POUR INFORM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4483E3E-D4DF-43E7-84C2-67715B942C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2D038-4989-45BB-AD16-38E0E231338A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Espace réservé du texte 17">
            <a:extLst>
              <a:ext uri="{FF2B5EF4-FFF2-40B4-BE49-F238E27FC236}">
                <a16:creationId xmlns:a16="http://schemas.microsoft.com/office/drawing/2014/main" id="{6B3643DB-0425-46F8-9A40-973BFF3FA9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9999" y="1343603"/>
            <a:ext cx="8961351" cy="276999"/>
          </a:xfrm>
        </p:spPr>
        <p:txBody>
          <a:bodyPr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cap="all" baseline="0">
                <a:solidFill>
                  <a:schemeClr val="accent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9pPr>
          </a:lstStyle>
          <a:p>
            <a:pPr lvl="0"/>
            <a:r>
              <a:rPr lang="fr-FR" dirty="0"/>
              <a:t>Sous-titre</a:t>
            </a:r>
          </a:p>
        </p:txBody>
      </p:sp>
      <p:grpSp>
        <p:nvGrpSpPr>
          <p:cNvPr id="9" name="Groupe 8">
            <a:extLst>
              <a:ext uri="{FF2B5EF4-FFF2-40B4-BE49-F238E27FC236}">
                <a16:creationId xmlns:a16="http://schemas.microsoft.com/office/drawing/2014/main" id="{49D7AD85-D929-4AE9-8FC3-51F6902EDE42}"/>
              </a:ext>
            </a:extLst>
          </p:cNvPr>
          <p:cNvGrpSpPr/>
          <p:nvPr userDrawn="1"/>
        </p:nvGrpSpPr>
        <p:grpSpPr>
          <a:xfrm>
            <a:off x="1" y="1590199"/>
            <a:ext cx="1629834" cy="3677602"/>
            <a:chOff x="1" y="1590199"/>
            <a:chExt cx="1629834" cy="3677602"/>
          </a:xfrm>
        </p:grpSpPr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EC8E4AD7-4400-4758-8305-E95A2E3EB330}"/>
                </a:ext>
              </a:extLst>
            </p:cNvPr>
            <p:cNvSpPr/>
            <p:nvPr/>
          </p:nvSpPr>
          <p:spPr>
            <a:xfrm>
              <a:off x="1" y="1702857"/>
              <a:ext cx="1502402" cy="3447405"/>
            </a:xfrm>
            <a:custGeom>
              <a:avLst/>
              <a:gdLst>
                <a:gd name="connsiteX0" fmla="*/ 774958 w 1798526"/>
                <a:gd name="connsiteY0" fmla="*/ 1706815 h 4126890"/>
                <a:gd name="connsiteX1" fmla="*/ 800195 w 1798526"/>
                <a:gd name="connsiteY1" fmla="*/ 1713346 h 4126890"/>
                <a:gd name="connsiteX2" fmla="*/ 889046 w 1798526"/>
                <a:gd name="connsiteY2" fmla="*/ 1744708 h 4126890"/>
                <a:gd name="connsiteX3" fmla="*/ 831551 w 1798526"/>
                <a:gd name="connsiteY3" fmla="*/ 1849246 h 4126890"/>
                <a:gd name="connsiteX4" fmla="*/ 852459 w 1798526"/>
                <a:gd name="connsiteY4" fmla="*/ 1880602 h 4126890"/>
                <a:gd name="connsiteX5" fmla="*/ 815873 w 1798526"/>
                <a:gd name="connsiteY5" fmla="*/ 1901510 h 4126890"/>
                <a:gd name="connsiteX6" fmla="*/ 779287 w 1798526"/>
                <a:gd name="connsiteY6" fmla="*/ 1938096 h 4126890"/>
                <a:gd name="connsiteX7" fmla="*/ 789736 w 1798526"/>
                <a:gd name="connsiteY7" fmla="*/ 1959003 h 4126890"/>
                <a:gd name="connsiteX8" fmla="*/ 763604 w 1798526"/>
                <a:gd name="connsiteY8" fmla="*/ 2068766 h 4126890"/>
                <a:gd name="connsiteX9" fmla="*/ 617255 w 1798526"/>
                <a:gd name="connsiteY9" fmla="*/ 2068766 h 4126890"/>
                <a:gd name="connsiteX10" fmla="*/ 695656 w 1798526"/>
                <a:gd name="connsiteY10" fmla="*/ 2047858 h 4126890"/>
                <a:gd name="connsiteX11" fmla="*/ 695656 w 1798526"/>
                <a:gd name="connsiteY11" fmla="*/ 2021726 h 4126890"/>
                <a:gd name="connsiteX12" fmla="*/ 685203 w 1798526"/>
                <a:gd name="connsiteY12" fmla="*/ 2016497 h 4126890"/>
                <a:gd name="connsiteX13" fmla="*/ 674749 w 1798526"/>
                <a:gd name="connsiteY13" fmla="*/ 2021726 h 4126890"/>
                <a:gd name="connsiteX14" fmla="*/ 653841 w 1798526"/>
                <a:gd name="connsiteY14" fmla="*/ 1995590 h 4126890"/>
                <a:gd name="connsiteX15" fmla="*/ 554532 w 1798526"/>
                <a:gd name="connsiteY15" fmla="*/ 1959003 h 4126890"/>
                <a:gd name="connsiteX16" fmla="*/ 612026 w 1798526"/>
                <a:gd name="connsiteY16" fmla="*/ 1953779 h 4126890"/>
                <a:gd name="connsiteX17" fmla="*/ 643391 w 1798526"/>
                <a:gd name="connsiteY17" fmla="*/ 1906739 h 4126890"/>
                <a:gd name="connsiteX18" fmla="*/ 664295 w 1798526"/>
                <a:gd name="connsiteY18" fmla="*/ 1906739 h 4126890"/>
                <a:gd name="connsiteX19" fmla="*/ 794965 w 1798526"/>
                <a:gd name="connsiteY19" fmla="*/ 1791751 h 4126890"/>
                <a:gd name="connsiteX20" fmla="*/ 721793 w 1798526"/>
                <a:gd name="connsiteY20" fmla="*/ 1770844 h 4126890"/>
                <a:gd name="connsiteX21" fmla="*/ 612026 w 1798526"/>
                <a:gd name="connsiteY21" fmla="*/ 1770844 h 4126890"/>
                <a:gd name="connsiteX22" fmla="*/ 470906 w 1798526"/>
                <a:gd name="connsiteY22" fmla="*/ 1807430 h 4126890"/>
                <a:gd name="connsiteX23" fmla="*/ 591123 w 1798526"/>
                <a:gd name="connsiteY23" fmla="*/ 1744708 h 4126890"/>
                <a:gd name="connsiteX24" fmla="*/ 690427 w 1798526"/>
                <a:gd name="connsiteY24" fmla="*/ 1718575 h 4126890"/>
                <a:gd name="connsiteX25" fmla="*/ 747271 w 1798526"/>
                <a:gd name="connsiteY25" fmla="*/ 1708122 h 4126890"/>
                <a:gd name="connsiteX26" fmla="*/ 774958 w 1798526"/>
                <a:gd name="connsiteY26" fmla="*/ 1706815 h 4126890"/>
                <a:gd name="connsiteX27" fmla="*/ 0 w 1798526"/>
                <a:gd name="connsiteY27" fmla="*/ 0 h 4126890"/>
                <a:gd name="connsiteX28" fmla="*/ 134494 w 1798526"/>
                <a:gd name="connsiteY28" fmla="*/ 20508 h 4126890"/>
                <a:gd name="connsiteX29" fmla="*/ 1798505 w 1798526"/>
                <a:gd name="connsiteY29" fmla="*/ 2063537 h 4126890"/>
                <a:gd name="connsiteX30" fmla="*/ 132779 w 1798526"/>
                <a:gd name="connsiteY30" fmla="*/ 4106567 h 4126890"/>
                <a:gd name="connsiteX31" fmla="*/ 0 w 1798526"/>
                <a:gd name="connsiteY31" fmla="*/ 4126890 h 4126890"/>
                <a:gd name="connsiteX32" fmla="*/ 0 w 1798526"/>
                <a:gd name="connsiteY32" fmla="*/ 3728548 h 4126890"/>
                <a:gd name="connsiteX33" fmla="*/ 16180 w 1798526"/>
                <a:gd name="connsiteY33" fmla="*/ 3725651 h 4126890"/>
                <a:gd name="connsiteX34" fmla="*/ 63216 w 1798526"/>
                <a:gd name="connsiteY34" fmla="*/ 3459081 h 4126890"/>
                <a:gd name="connsiteX35" fmla="*/ 282742 w 1798526"/>
                <a:gd name="connsiteY35" fmla="*/ 3145476 h 4126890"/>
                <a:gd name="connsiteX36" fmla="*/ 371597 w 1798526"/>
                <a:gd name="connsiteY36" fmla="*/ 3119344 h 4126890"/>
                <a:gd name="connsiteX37" fmla="*/ 700886 w 1798526"/>
                <a:gd name="connsiteY37" fmla="*/ 3166384 h 4126890"/>
                <a:gd name="connsiteX38" fmla="*/ 737472 w 1798526"/>
                <a:gd name="connsiteY38" fmla="*/ 3176842 h 4126890"/>
                <a:gd name="connsiteX39" fmla="*/ 857688 w 1798526"/>
                <a:gd name="connsiteY39" fmla="*/ 3171613 h 4126890"/>
                <a:gd name="connsiteX40" fmla="*/ 972676 w 1798526"/>
                <a:gd name="connsiteY40" fmla="*/ 3072304 h 4126890"/>
                <a:gd name="connsiteX41" fmla="*/ 977905 w 1798526"/>
                <a:gd name="connsiteY41" fmla="*/ 2931180 h 4126890"/>
                <a:gd name="connsiteX42" fmla="*/ 1040624 w 1798526"/>
                <a:gd name="connsiteY42" fmla="*/ 2816193 h 4126890"/>
                <a:gd name="connsiteX43" fmla="*/ 1019715 w 1798526"/>
                <a:gd name="connsiteY43" fmla="*/ 2732567 h 4126890"/>
                <a:gd name="connsiteX44" fmla="*/ 972676 w 1798526"/>
                <a:gd name="connsiteY44" fmla="*/ 2706430 h 4126890"/>
                <a:gd name="connsiteX45" fmla="*/ 1056306 w 1798526"/>
                <a:gd name="connsiteY45" fmla="*/ 2591443 h 4126890"/>
                <a:gd name="connsiteX46" fmla="*/ 1045852 w 1798526"/>
                <a:gd name="connsiteY46" fmla="*/ 2476455 h 4126890"/>
                <a:gd name="connsiteX47" fmla="*/ 1181748 w 1798526"/>
                <a:gd name="connsiteY47" fmla="*/ 2413732 h 4126890"/>
                <a:gd name="connsiteX48" fmla="*/ 1103347 w 1798526"/>
                <a:gd name="connsiteY48" fmla="*/ 2204661 h 4126890"/>
                <a:gd name="connsiteX49" fmla="*/ 1030174 w 1798526"/>
                <a:gd name="connsiteY49" fmla="*/ 2100128 h 4126890"/>
                <a:gd name="connsiteX50" fmla="*/ 956997 w 1798526"/>
                <a:gd name="connsiteY50" fmla="*/ 1964233 h 4126890"/>
                <a:gd name="connsiteX51" fmla="*/ 962222 w 1798526"/>
                <a:gd name="connsiteY51" fmla="*/ 1817884 h 4126890"/>
                <a:gd name="connsiteX52" fmla="*/ 915182 w 1798526"/>
                <a:gd name="connsiteY52" fmla="*/ 1525182 h 4126890"/>
                <a:gd name="connsiteX53" fmla="*/ 868137 w 1798526"/>
                <a:gd name="connsiteY53" fmla="*/ 1384063 h 4126890"/>
                <a:gd name="connsiteX54" fmla="*/ 836781 w 1798526"/>
                <a:gd name="connsiteY54" fmla="*/ 1305661 h 4126890"/>
                <a:gd name="connsiteX55" fmla="*/ 836781 w 1798526"/>
                <a:gd name="connsiteY55" fmla="*/ 1258617 h 4126890"/>
                <a:gd name="connsiteX56" fmla="*/ 915182 w 1798526"/>
                <a:gd name="connsiteY56" fmla="*/ 1195899 h 4126890"/>
                <a:gd name="connsiteX57" fmla="*/ 889046 w 1798526"/>
                <a:gd name="connsiteY57" fmla="*/ 1096590 h 4126890"/>
                <a:gd name="connsiteX58" fmla="*/ 815873 w 1798526"/>
                <a:gd name="connsiteY58" fmla="*/ 1154084 h 4126890"/>
                <a:gd name="connsiteX59" fmla="*/ 794965 w 1798526"/>
                <a:gd name="connsiteY59" fmla="*/ 1154084 h 4126890"/>
                <a:gd name="connsiteX60" fmla="*/ 815873 w 1798526"/>
                <a:gd name="connsiteY60" fmla="*/ 1117497 h 4126890"/>
                <a:gd name="connsiteX61" fmla="*/ 810644 w 1798526"/>
                <a:gd name="connsiteY61" fmla="*/ 1096590 h 4126890"/>
                <a:gd name="connsiteX62" fmla="*/ 753150 w 1798526"/>
                <a:gd name="connsiteY62" fmla="*/ 1075682 h 4126890"/>
                <a:gd name="connsiteX63" fmla="*/ 502267 w 1798526"/>
                <a:gd name="connsiteY63" fmla="*/ 903201 h 4126890"/>
                <a:gd name="connsiteX64" fmla="*/ 580669 w 1798526"/>
                <a:gd name="connsiteY64" fmla="*/ 913655 h 4126890"/>
                <a:gd name="connsiteX65" fmla="*/ 716564 w 1798526"/>
                <a:gd name="connsiteY65" fmla="*/ 903201 h 4126890"/>
                <a:gd name="connsiteX66" fmla="*/ 768833 w 1798526"/>
                <a:gd name="connsiteY66" fmla="*/ 803892 h 4126890"/>
                <a:gd name="connsiteX67" fmla="*/ 747926 w 1798526"/>
                <a:gd name="connsiteY67" fmla="*/ 720266 h 4126890"/>
                <a:gd name="connsiteX68" fmla="*/ 622484 w 1798526"/>
                <a:gd name="connsiteY68" fmla="*/ 615728 h 4126890"/>
                <a:gd name="connsiteX69" fmla="*/ 37962 w 1798526"/>
                <a:gd name="connsiteY69" fmla="*/ 478373 h 4126890"/>
                <a:gd name="connsiteX70" fmla="*/ 0 w 1798526"/>
                <a:gd name="connsiteY70" fmla="*/ 475873 h 4126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798526" h="4126890">
                  <a:moveTo>
                    <a:pt x="774958" y="1706815"/>
                  </a:moveTo>
                  <a:cubicBezTo>
                    <a:pt x="783859" y="1707468"/>
                    <a:pt x="792353" y="1709427"/>
                    <a:pt x="800195" y="1713346"/>
                  </a:cubicBezTo>
                  <a:cubicBezTo>
                    <a:pt x="831551" y="1723800"/>
                    <a:pt x="883820" y="1723800"/>
                    <a:pt x="889046" y="1744708"/>
                  </a:cubicBezTo>
                  <a:cubicBezTo>
                    <a:pt x="899504" y="1781294"/>
                    <a:pt x="868137" y="1823109"/>
                    <a:pt x="831551" y="1849246"/>
                  </a:cubicBezTo>
                  <a:cubicBezTo>
                    <a:pt x="826327" y="1859695"/>
                    <a:pt x="852459" y="1870153"/>
                    <a:pt x="852459" y="1880602"/>
                  </a:cubicBezTo>
                  <a:cubicBezTo>
                    <a:pt x="847234" y="1891056"/>
                    <a:pt x="826327" y="1901510"/>
                    <a:pt x="815873" y="1901510"/>
                  </a:cubicBezTo>
                  <a:cubicBezTo>
                    <a:pt x="805419" y="1906739"/>
                    <a:pt x="789736" y="1927647"/>
                    <a:pt x="779287" y="1938096"/>
                  </a:cubicBezTo>
                  <a:cubicBezTo>
                    <a:pt x="789736" y="1938096"/>
                    <a:pt x="779287" y="1959003"/>
                    <a:pt x="789736" y="1959003"/>
                  </a:cubicBezTo>
                  <a:cubicBezTo>
                    <a:pt x="763604" y="1990365"/>
                    <a:pt x="800195" y="2058312"/>
                    <a:pt x="763604" y="2068766"/>
                  </a:cubicBezTo>
                  <a:cubicBezTo>
                    <a:pt x="716564" y="2079220"/>
                    <a:pt x="664295" y="2079220"/>
                    <a:pt x="617255" y="2068766"/>
                  </a:cubicBezTo>
                  <a:cubicBezTo>
                    <a:pt x="643391" y="2063542"/>
                    <a:pt x="674749" y="2073991"/>
                    <a:pt x="695656" y="2047858"/>
                  </a:cubicBezTo>
                  <a:cubicBezTo>
                    <a:pt x="695656" y="2042634"/>
                    <a:pt x="695656" y="2026956"/>
                    <a:pt x="695656" y="2021726"/>
                  </a:cubicBezTo>
                  <a:cubicBezTo>
                    <a:pt x="695656" y="2016497"/>
                    <a:pt x="690427" y="2016497"/>
                    <a:pt x="685203" y="2016497"/>
                  </a:cubicBezTo>
                  <a:cubicBezTo>
                    <a:pt x="679977" y="2021726"/>
                    <a:pt x="674749" y="2021726"/>
                    <a:pt x="674749" y="2021726"/>
                  </a:cubicBezTo>
                  <a:cubicBezTo>
                    <a:pt x="674749" y="2011273"/>
                    <a:pt x="664295" y="1995590"/>
                    <a:pt x="653841" y="1995590"/>
                  </a:cubicBezTo>
                  <a:cubicBezTo>
                    <a:pt x="617255" y="2000819"/>
                    <a:pt x="580669" y="1985140"/>
                    <a:pt x="554532" y="1959003"/>
                  </a:cubicBezTo>
                  <a:cubicBezTo>
                    <a:pt x="575440" y="1953779"/>
                    <a:pt x="591123" y="1948555"/>
                    <a:pt x="612026" y="1953779"/>
                  </a:cubicBezTo>
                  <a:cubicBezTo>
                    <a:pt x="632933" y="1953779"/>
                    <a:pt x="622484" y="1922418"/>
                    <a:pt x="643391" y="1906739"/>
                  </a:cubicBezTo>
                  <a:cubicBezTo>
                    <a:pt x="648617" y="1906739"/>
                    <a:pt x="653841" y="1906739"/>
                    <a:pt x="664295" y="1906739"/>
                  </a:cubicBezTo>
                  <a:cubicBezTo>
                    <a:pt x="700886" y="1854470"/>
                    <a:pt x="779287" y="1844016"/>
                    <a:pt x="794965" y="1791751"/>
                  </a:cubicBezTo>
                  <a:cubicBezTo>
                    <a:pt x="784512" y="1776068"/>
                    <a:pt x="747926" y="1776068"/>
                    <a:pt x="721793" y="1770844"/>
                  </a:cubicBezTo>
                  <a:cubicBezTo>
                    <a:pt x="685203" y="1760386"/>
                    <a:pt x="648617" y="1770844"/>
                    <a:pt x="612026" y="1770844"/>
                  </a:cubicBezTo>
                  <a:cubicBezTo>
                    <a:pt x="559761" y="1781294"/>
                    <a:pt x="512721" y="1791751"/>
                    <a:pt x="470906" y="1807430"/>
                  </a:cubicBezTo>
                  <a:cubicBezTo>
                    <a:pt x="507492" y="1781294"/>
                    <a:pt x="549308" y="1755161"/>
                    <a:pt x="591123" y="1744708"/>
                  </a:cubicBezTo>
                  <a:cubicBezTo>
                    <a:pt x="622484" y="1739483"/>
                    <a:pt x="653841" y="1718575"/>
                    <a:pt x="690427" y="1718575"/>
                  </a:cubicBezTo>
                  <a:cubicBezTo>
                    <a:pt x="708723" y="1715963"/>
                    <a:pt x="728326" y="1710734"/>
                    <a:pt x="747271" y="1708122"/>
                  </a:cubicBezTo>
                  <a:cubicBezTo>
                    <a:pt x="756746" y="1706815"/>
                    <a:pt x="766056" y="1706162"/>
                    <a:pt x="774958" y="1706815"/>
                  </a:cubicBezTo>
                  <a:close/>
                  <a:moveTo>
                    <a:pt x="0" y="0"/>
                  </a:moveTo>
                  <a:lnTo>
                    <a:pt x="134494" y="20508"/>
                  </a:lnTo>
                  <a:cubicBezTo>
                    <a:pt x="1087340" y="215306"/>
                    <a:pt x="1803080" y="1057386"/>
                    <a:pt x="1798505" y="2063537"/>
                  </a:cubicBezTo>
                  <a:cubicBezTo>
                    <a:pt x="1798505" y="3069687"/>
                    <a:pt x="1082192" y="3911768"/>
                    <a:pt x="132779" y="4106567"/>
                  </a:cubicBezTo>
                  <a:lnTo>
                    <a:pt x="0" y="4126890"/>
                  </a:lnTo>
                  <a:lnTo>
                    <a:pt x="0" y="3728548"/>
                  </a:lnTo>
                  <a:lnTo>
                    <a:pt x="16180" y="3725651"/>
                  </a:lnTo>
                  <a:cubicBezTo>
                    <a:pt x="26629" y="3647250"/>
                    <a:pt x="42313" y="3558390"/>
                    <a:pt x="63216" y="3459081"/>
                  </a:cubicBezTo>
                  <a:cubicBezTo>
                    <a:pt x="105031" y="3338869"/>
                    <a:pt x="172984" y="3223877"/>
                    <a:pt x="282742" y="3145476"/>
                  </a:cubicBezTo>
                  <a:cubicBezTo>
                    <a:pt x="308878" y="3129797"/>
                    <a:pt x="340235" y="3124573"/>
                    <a:pt x="371597" y="3119344"/>
                  </a:cubicBezTo>
                  <a:cubicBezTo>
                    <a:pt x="481360" y="3119344"/>
                    <a:pt x="591123" y="3155934"/>
                    <a:pt x="700886" y="3166384"/>
                  </a:cubicBezTo>
                  <a:cubicBezTo>
                    <a:pt x="711335" y="3166384"/>
                    <a:pt x="727018" y="3171613"/>
                    <a:pt x="737472" y="3176842"/>
                  </a:cubicBezTo>
                  <a:cubicBezTo>
                    <a:pt x="774058" y="3182066"/>
                    <a:pt x="821102" y="3182066"/>
                    <a:pt x="857688" y="3171613"/>
                  </a:cubicBezTo>
                  <a:cubicBezTo>
                    <a:pt x="899504" y="3155934"/>
                    <a:pt x="951773" y="3129797"/>
                    <a:pt x="972676" y="3072304"/>
                  </a:cubicBezTo>
                  <a:cubicBezTo>
                    <a:pt x="988359" y="3025264"/>
                    <a:pt x="1004037" y="2978220"/>
                    <a:pt x="977905" y="2931180"/>
                  </a:cubicBezTo>
                  <a:cubicBezTo>
                    <a:pt x="936090" y="2873686"/>
                    <a:pt x="1014491" y="2852779"/>
                    <a:pt x="1040624" y="2816193"/>
                  </a:cubicBezTo>
                  <a:cubicBezTo>
                    <a:pt x="1056306" y="2784831"/>
                    <a:pt x="1024945" y="2763924"/>
                    <a:pt x="1019715" y="2732567"/>
                  </a:cubicBezTo>
                  <a:cubicBezTo>
                    <a:pt x="1009266" y="2716884"/>
                    <a:pt x="983129" y="2727338"/>
                    <a:pt x="972676" y="2706430"/>
                  </a:cubicBezTo>
                  <a:cubicBezTo>
                    <a:pt x="1019715" y="2690752"/>
                    <a:pt x="1087668" y="2648936"/>
                    <a:pt x="1056306" y="2591443"/>
                  </a:cubicBezTo>
                  <a:cubicBezTo>
                    <a:pt x="1040624" y="2560081"/>
                    <a:pt x="1009266" y="2507812"/>
                    <a:pt x="1045852" y="2476455"/>
                  </a:cubicBezTo>
                  <a:cubicBezTo>
                    <a:pt x="1092893" y="2450319"/>
                    <a:pt x="1160840" y="2460773"/>
                    <a:pt x="1181748" y="2413732"/>
                  </a:cubicBezTo>
                  <a:cubicBezTo>
                    <a:pt x="1213109" y="2335331"/>
                    <a:pt x="1139933" y="2267384"/>
                    <a:pt x="1103347" y="2204661"/>
                  </a:cubicBezTo>
                  <a:cubicBezTo>
                    <a:pt x="1082438" y="2162850"/>
                    <a:pt x="1056306" y="2136714"/>
                    <a:pt x="1030174" y="2100128"/>
                  </a:cubicBezTo>
                  <a:cubicBezTo>
                    <a:pt x="1004037" y="2053088"/>
                    <a:pt x="967451" y="2016497"/>
                    <a:pt x="956997" y="1964233"/>
                  </a:cubicBezTo>
                  <a:cubicBezTo>
                    <a:pt x="936090" y="1917188"/>
                    <a:pt x="962222" y="1870153"/>
                    <a:pt x="962222" y="1817884"/>
                  </a:cubicBezTo>
                  <a:cubicBezTo>
                    <a:pt x="967451" y="1718575"/>
                    <a:pt x="941314" y="1624491"/>
                    <a:pt x="915182" y="1525182"/>
                  </a:cubicBezTo>
                  <a:cubicBezTo>
                    <a:pt x="894274" y="1483371"/>
                    <a:pt x="889046" y="1431102"/>
                    <a:pt x="868137" y="1384063"/>
                  </a:cubicBezTo>
                  <a:cubicBezTo>
                    <a:pt x="862913" y="1357926"/>
                    <a:pt x="857688" y="1331793"/>
                    <a:pt x="836781" y="1305661"/>
                  </a:cubicBezTo>
                  <a:cubicBezTo>
                    <a:pt x="831551" y="1289978"/>
                    <a:pt x="831551" y="1269075"/>
                    <a:pt x="836781" y="1258617"/>
                  </a:cubicBezTo>
                  <a:cubicBezTo>
                    <a:pt x="862913" y="1242938"/>
                    <a:pt x="889046" y="1222031"/>
                    <a:pt x="915182" y="1195899"/>
                  </a:cubicBezTo>
                  <a:cubicBezTo>
                    <a:pt x="936090" y="1159308"/>
                    <a:pt x="920406" y="1117497"/>
                    <a:pt x="889046" y="1096590"/>
                  </a:cubicBezTo>
                  <a:cubicBezTo>
                    <a:pt x="842005" y="1075682"/>
                    <a:pt x="847234" y="1143630"/>
                    <a:pt x="815873" y="1154084"/>
                  </a:cubicBezTo>
                  <a:cubicBezTo>
                    <a:pt x="805419" y="1154084"/>
                    <a:pt x="800195" y="1154084"/>
                    <a:pt x="794965" y="1154084"/>
                  </a:cubicBezTo>
                  <a:cubicBezTo>
                    <a:pt x="789736" y="1138405"/>
                    <a:pt x="805419" y="1127951"/>
                    <a:pt x="815873" y="1117497"/>
                  </a:cubicBezTo>
                  <a:cubicBezTo>
                    <a:pt x="815873" y="1107044"/>
                    <a:pt x="815873" y="1096590"/>
                    <a:pt x="810644" y="1096590"/>
                  </a:cubicBezTo>
                  <a:cubicBezTo>
                    <a:pt x="784512" y="1096590"/>
                    <a:pt x="758379" y="1086136"/>
                    <a:pt x="753150" y="1075682"/>
                  </a:cubicBezTo>
                  <a:cubicBezTo>
                    <a:pt x="690427" y="986827"/>
                    <a:pt x="601576" y="939788"/>
                    <a:pt x="502267" y="903201"/>
                  </a:cubicBezTo>
                  <a:cubicBezTo>
                    <a:pt x="528400" y="908426"/>
                    <a:pt x="554532" y="913655"/>
                    <a:pt x="580669" y="913655"/>
                  </a:cubicBezTo>
                  <a:cubicBezTo>
                    <a:pt x="627709" y="924104"/>
                    <a:pt x="679977" y="924104"/>
                    <a:pt x="716564" y="903201"/>
                  </a:cubicBezTo>
                  <a:cubicBezTo>
                    <a:pt x="747926" y="887518"/>
                    <a:pt x="758379" y="835254"/>
                    <a:pt x="768833" y="803892"/>
                  </a:cubicBezTo>
                  <a:cubicBezTo>
                    <a:pt x="779287" y="777760"/>
                    <a:pt x="758379" y="741169"/>
                    <a:pt x="747926" y="720266"/>
                  </a:cubicBezTo>
                  <a:cubicBezTo>
                    <a:pt x="716564" y="673222"/>
                    <a:pt x="669524" y="641865"/>
                    <a:pt x="622484" y="615728"/>
                  </a:cubicBezTo>
                  <a:cubicBezTo>
                    <a:pt x="442159" y="549087"/>
                    <a:pt x="242725" y="500821"/>
                    <a:pt x="37962" y="478373"/>
                  </a:cubicBezTo>
                  <a:lnTo>
                    <a:pt x="0" y="475873"/>
                  </a:lnTo>
                  <a:close/>
                </a:path>
              </a:pathLst>
            </a:custGeom>
            <a:solidFill>
              <a:srgbClr val="5770BE">
                <a:alpha val="2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fr-FR" sz="1100" b="1" kern="0" cap="all">
                <a:solidFill>
                  <a:srgbClr val="4E65AB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0CC8E4A7-3FC8-45BB-9F0C-80C1D3C4A791}"/>
                </a:ext>
              </a:extLst>
            </p:cNvPr>
            <p:cNvSpPr/>
            <p:nvPr/>
          </p:nvSpPr>
          <p:spPr>
            <a:xfrm>
              <a:off x="1" y="1590199"/>
              <a:ext cx="1629834" cy="3677602"/>
            </a:xfrm>
            <a:custGeom>
              <a:avLst/>
              <a:gdLst>
                <a:gd name="connsiteX0" fmla="*/ 0 w 1951075"/>
                <a:gd name="connsiteY0" fmla="*/ 0 h 4402459"/>
                <a:gd name="connsiteX1" fmla="*/ 179327 w 1951075"/>
                <a:gd name="connsiteY1" fmla="*/ 27368 h 4402459"/>
                <a:gd name="connsiteX2" fmla="*/ 1951075 w 1951075"/>
                <a:gd name="connsiteY2" fmla="*/ 2201229 h 4402459"/>
                <a:gd name="connsiteX3" fmla="*/ 179327 w 1951075"/>
                <a:gd name="connsiteY3" fmla="*/ 4375090 h 4402459"/>
                <a:gd name="connsiteX4" fmla="*/ 0 w 1951075"/>
                <a:gd name="connsiteY4" fmla="*/ 4402459 h 4402459"/>
                <a:gd name="connsiteX0" fmla="*/ 28575 w 1979650"/>
                <a:gd name="connsiteY0" fmla="*/ 0 h 4402459"/>
                <a:gd name="connsiteX1" fmla="*/ 207902 w 1979650"/>
                <a:gd name="connsiteY1" fmla="*/ 27368 h 4402459"/>
                <a:gd name="connsiteX2" fmla="*/ 1979650 w 1979650"/>
                <a:gd name="connsiteY2" fmla="*/ 2201229 h 4402459"/>
                <a:gd name="connsiteX3" fmla="*/ 207902 w 1979650"/>
                <a:gd name="connsiteY3" fmla="*/ 4375090 h 4402459"/>
                <a:gd name="connsiteX4" fmla="*/ 28575 w 1979650"/>
                <a:gd name="connsiteY4" fmla="*/ 4402459 h 4402459"/>
                <a:gd name="connsiteX5" fmla="*/ 0 w 1979650"/>
                <a:gd name="connsiteY5" fmla="*/ 2007808 h 4402459"/>
                <a:gd name="connsiteX6" fmla="*/ 28575 w 1979650"/>
                <a:gd name="connsiteY6" fmla="*/ 0 h 4402459"/>
                <a:gd name="connsiteX0" fmla="*/ 0 w 1979650"/>
                <a:gd name="connsiteY0" fmla="*/ 2007808 h 4402459"/>
                <a:gd name="connsiteX1" fmla="*/ 28575 w 1979650"/>
                <a:gd name="connsiteY1" fmla="*/ 0 h 4402459"/>
                <a:gd name="connsiteX2" fmla="*/ 207902 w 1979650"/>
                <a:gd name="connsiteY2" fmla="*/ 27368 h 4402459"/>
                <a:gd name="connsiteX3" fmla="*/ 1979650 w 1979650"/>
                <a:gd name="connsiteY3" fmla="*/ 2201229 h 4402459"/>
                <a:gd name="connsiteX4" fmla="*/ 207902 w 1979650"/>
                <a:gd name="connsiteY4" fmla="*/ 4375090 h 4402459"/>
                <a:gd name="connsiteX5" fmla="*/ 28575 w 1979650"/>
                <a:gd name="connsiteY5" fmla="*/ 4402459 h 4402459"/>
                <a:gd name="connsiteX6" fmla="*/ 91440 w 1979650"/>
                <a:gd name="connsiteY6" fmla="*/ 2099248 h 4402459"/>
                <a:gd name="connsiteX0" fmla="*/ 0 w 1979650"/>
                <a:gd name="connsiteY0" fmla="*/ 2007808 h 4402459"/>
                <a:gd name="connsiteX1" fmla="*/ 28575 w 1979650"/>
                <a:gd name="connsiteY1" fmla="*/ 0 h 4402459"/>
                <a:gd name="connsiteX2" fmla="*/ 207902 w 1979650"/>
                <a:gd name="connsiteY2" fmla="*/ 27368 h 4402459"/>
                <a:gd name="connsiteX3" fmla="*/ 1979650 w 1979650"/>
                <a:gd name="connsiteY3" fmla="*/ 2201229 h 4402459"/>
                <a:gd name="connsiteX4" fmla="*/ 207902 w 1979650"/>
                <a:gd name="connsiteY4" fmla="*/ 4375090 h 4402459"/>
                <a:gd name="connsiteX5" fmla="*/ 28575 w 1979650"/>
                <a:gd name="connsiteY5" fmla="*/ 4402459 h 4402459"/>
                <a:gd name="connsiteX0" fmla="*/ 0 w 1951075"/>
                <a:gd name="connsiteY0" fmla="*/ 0 h 4402459"/>
                <a:gd name="connsiteX1" fmla="*/ 179327 w 1951075"/>
                <a:gd name="connsiteY1" fmla="*/ 27368 h 4402459"/>
                <a:gd name="connsiteX2" fmla="*/ 1951075 w 1951075"/>
                <a:gd name="connsiteY2" fmla="*/ 2201229 h 4402459"/>
                <a:gd name="connsiteX3" fmla="*/ 179327 w 1951075"/>
                <a:gd name="connsiteY3" fmla="*/ 4375090 h 4402459"/>
                <a:gd name="connsiteX4" fmla="*/ 0 w 1951075"/>
                <a:gd name="connsiteY4" fmla="*/ 4402459 h 4402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1075" h="4402459">
                  <a:moveTo>
                    <a:pt x="0" y="0"/>
                  </a:moveTo>
                  <a:lnTo>
                    <a:pt x="179327" y="27368"/>
                  </a:lnTo>
                  <a:cubicBezTo>
                    <a:pt x="1190462" y="234276"/>
                    <a:pt x="1951075" y="1128927"/>
                    <a:pt x="1951075" y="2201229"/>
                  </a:cubicBezTo>
                  <a:cubicBezTo>
                    <a:pt x="1951075" y="3273531"/>
                    <a:pt x="1190462" y="4168182"/>
                    <a:pt x="179327" y="4375090"/>
                  </a:cubicBezTo>
                  <a:lnTo>
                    <a:pt x="0" y="4402459"/>
                  </a:lnTo>
                </a:path>
              </a:pathLst>
            </a:custGeom>
            <a:noFill/>
            <a:ln w="15875" cap="flat" cmpd="sng" algn="ctr">
              <a:solidFill>
                <a:schemeClr val="accent3">
                  <a:alpha val="10000"/>
                </a:schemeClr>
              </a:solidFill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CA93DE30-B296-400D-A9A6-1A1E15A5DB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47203" y="2267998"/>
            <a:ext cx="2952000" cy="3849021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9061750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avec coca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CA5D348-1AC1-4F7D-8796-CB2E66F168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8961352" cy="735907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A7AC604-3EA4-4DC7-B1E4-1906B1FC2F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990570-3EC5-4E56-8984-6BB07BA7D7A2}" type="datetime1">
              <a:rPr lang="fr-FR" smtClean="0"/>
              <a:t>22/11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99C0182-12A1-40D5-936A-5497EC719F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MEX – 9 avril 2021 - POUR INFORM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4483E3E-D4DF-43E7-84C2-67715B942C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2D038-4989-45BB-AD16-38E0E231338A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Espace réservé du texte 17">
            <a:extLst>
              <a:ext uri="{FF2B5EF4-FFF2-40B4-BE49-F238E27FC236}">
                <a16:creationId xmlns:a16="http://schemas.microsoft.com/office/drawing/2014/main" id="{6B3643DB-0425-46F8-9A40-973BFF3FA9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9999" y="1343603"/>
            <a:ext cx="8961351" cy="276999"/>
          </a:xfrm>
        </p:spPr>
        <p:txBody>
          <a:bodyPr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cap="all" baseline="0">
                <a:solidFill>
                  <a:schemeClr val="accent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2pPr>
            <a:lvl3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3pPr>
            <a:lvl4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4pPr>
            <a:lvl5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/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400" b="1"/>
            </a:lvl9pPr>
          </a:lstStyle>
          <a:p>
            <a:pPr lvl="0"/>
            <a:r>
              <a:rPr lang="fr-FR" dirty="0"/>
              <a:t>Sous-titre</a:t>
            </a:r>
          </a:p>
        </p:txBody>
      </p:sp>
      <p:grpSp>
        <p:nvGrpSpPr>
          <p:cNvPr id="9" name="Groupe 8">
            <a:extLst>
              <a:ext uri="{FF2B5EF4-FFF2-40B4-BE49-F238E27FC236}">
                <a16:creationId xmlns:a16="http://schemas.microsoft.com/office/drawing/2014/main" id="{49D7AD85-D929-4AE9-8FC3-51F6902EDE42}"/>
              </a:ext>
            </a:extLst>
          </p:cNvPr>
          <p:cNvGrpSpPr/>
          <p:nvPr userDrawn="1"/>
        </p:nvGrpSpPr>
        <p:grpSpPr>
          <a:xfrm>
            <a:off x="1" y="1590199"/>
            <a:ext cx="1629834" cy="3677602"/>
            <a:chOff x="1" y="1590199"/>
            <a:chExt cx="1629834" cy="3677602"/>
          </a:xfrm>
        </p:grpSpPr>
        <p:sp>
          <p:nvSpPr>
            <p:cNvPr id="12" name="Forme libre : forme 11">
              <a:extLst>
                <a:ext uri="{FF2B5EF4-FFF2-40B4-BE49-F238E27FC236}">
                  <a16:creationId xmlns:a16="http://schemas.microsoft.com/office/drawing/2014/main" id="{EC8E4AD7-4400-4758-8305-E95A2E3EB330}"/>
                </a:ext>
              </a:extLst>
            </p:cNvPr>
            <p:cNvSpPr/>
            <p:nvPr/>
          </p:nvSpPr>
          <p:spPr>
            <a:xfrm>
              <a:off x="1" y="1702857"/>
              <a:ext cx="1502402" cy="3447405"/>
            </a:xfrm>
            <a:custGeom>
              <a:avLst/>
              <a:gdLst>
                <a:gd name="connsiteX0" fmla="*/ 774958 w 1798526"/>
                <a:gd name="connsiteY0" fmla="*/ 1706815 h 4126890"/>
                <a:gd name="connsiteX1" fmla="*/ 800195 w 1798526"/>
                <a:gd name="connsiteY1" fmla="*/ 1713346 h 4126890"/>
                <a:gd name="connsiteX2" fmla="*/ 889046 w 1798526"/>
                <a:gd name="connsiteY2" fmla="*/ 1744708 h 4126890"/>
                <a:gd name="connsiteX3" fmla="*/ 831551 w 1798526"/>
                <a:gd name="connsiteY3" fmla="*/ 1849246 h 4126890"/>
                <a:gd name="connsiteX4" fmla="*/ 852459 w 1798526"/>
                <a:gd name="connsiteY4" fmla="*/ 1880602 h 4126890"/>
                <a:gd name="connsiteX5" fmla="*/ 815873 w 1798526"/>
                <a:gd name="connsiteY5" fmla="*/ 1901510 h 4126890"/>
                <a:gd name="connsiteX6" fmla="*/ 779287 w 1798526"/>
                <a:gd name="connsiteY6" fmla="*/ 1938096 h 4126890"/>
                <a:gd name="connsiteX7" fmla="*/ 789736 w 1798526"/>
                <a:gd name="connsiteY7" fmla="*/ 1959003 h 4126890"/>
                <a:gd name="connsiteX8" fmla="*/ 763604 w 1798526"/>
                <a:gd name="connsiteY8" fmla="*/ 2068766 h 4126890"/>
                <a:gd name="connsiteX9" fmla="*/ 617255 w 1798526"/>
                <a:gd name="connsiteY9" fmla="*/ 2068766 h 4126890"/>
                <a:gd name="connsiteX10" fmla="*/ 695656 w 1798526"/>
                <a:gd name="connsiteY10" fmla="*/ 2047858 h 4126890"/>
                <a:gd name="connsiteX11" fmla="*/ 695656 w 1798526"/>
                <a:gd name="connsiteY11" fmla="*/ 2021726 h 4126890"/>
                <a:gd name="connsiteX12" fmla="*/ 685203 w 1798526"/>
                <a:gd name="connsiteY12" fmla="*/ 2016497 h 4126890"/>
                <a:gd name="connsiteX13" fmla="*/ 674749 w 1798526"/>
                <a:gd name="connsiteY13" fmla="*/ 2021726 h 4126890"/>
                <a:gd name="connsiteX14" fmla="*/ 653841 w 1798526"/>
                <a:gd name="connsiteY14" fmla="*/ 1995590 h 4126890"/>
                <a:gd name="connsiteX15" fmla="*/ 554532 w 1798526"/>
                <a:gd name="connsiteY15" fmla="*/ 1959003 h 4126890"/>
                <a:gd name="connsiteX16" fmla="*/ 612026 w 1798526"/>
                <a:gd name="connsiteY16" fmla="*/ 1953779 h 4126890"/>
                <a:gd name="connsiteX17" fmla="*/ 643391 w 1798526"/>
                <a:gd name="connsiteY17" fmla="*/ 1906739 h 4126890"/>
                <a:gd name="connsiteX18" fmla="*/ 664295 w 1798526"/>
                <a:gd name="connsiteY18" fmla="*/ 1906739 h 4126890"/>
                <a:gd name="connsiteX19" fmla="*/ 794965 w 1798526"/>
                <a:gd name="connsiteY19" fmla="*/ 1791751 h 4126890"/>
                <a:gd name="connsiteX20" fmla="*/ 721793 w 1798526"/>
                <a:gd name="connsiteY20" fmla="*/ 1770844 h 4126890"/>
                <a:gd name="connsiteX21" fmla="*/ 612026 w 1798526"/>
                <a:gd name="connsiteY21" fmla="*/ 1770844 h 4126890"/>
                <a:gd name="connsiteX22" fmla="*/ 470906 w 1798526"/>
                <a:gd name="connsiteY22" fmla="*/ 1807430 h 4126890"/>
                <a:gd name="connsiteX23" fmla="*/ 591123 w 1798526"/>
                <a:gd name="connsiteY23" fmla="*/ 1744708 h 4126890"/>
                <a:gd name="connsiteX24" fmla="*/ 690427 w 1798526"/>
                <a:gd name="connsiteY24" fmla="*/ 1718575 h 4126890"/>
                <a:gd name="connsiteX25" fmla="*/ 747271 w 1798526"/>
                <a:gd name="connsiteY25" fmla="*/ 1708122 h 4126890"/>
                <a:gd name="connsiteX26" fmla="*/ 774958 w 1798526"/>
                <a:gd name="connsiteY26" fmla="*/ 1706815 h 4126890"/>
                <a:gd name="connsiteX27" fmla="*/ 0 w 1798526"/>
                <a:gd name="connsiteY27" fmla="*/ 0 h 4126890"/>
                <a:gd name="connsiteX28" fmla="*/ 134494 w 1798526"/>
                <a:gd name="connsiteY28" fmla="*/ 20508 h 4126890"/>
                <a:gd name="connsiteX29" fmla="*/ 1798505 w 1798526"/>
                <a:gd name="connsiteY29" fmla="*/ 2063537 h 4126890"/>
                <a:gd name="connsiteX30" fmla="*/ 132779 w 1798526"/>
                <a:gd name="connsiteY30" fmla="*/ 4106567 h 4126890"/>
                <a:gd name="connsiteX31" fmla="*/ 0 w 1798526"/>
                <a:gd name="connsiteY31" fmla="*/ 4126890 h 4126890"/>
                <a:gd name="connsiteX32" fmla="*/ 0 w 1798526"/>
                <a:gd name="connsiteY32" fmla="*/ 3728548 h 4126890"/>
                <a:gd name="connsiteX33" fmla="*/ 16180 w 1798526"/>
                <a:gd name="connsiteY33" fmla="*/ 3725651 h 4126890"/>
                <a:gd name="connsiteX34" fmla="*/ 63216 w 1798526"/>
                <a:gd name="connsiteY34" fmla="*/ 3459081 h 4126890"/>
                <a:gd name="connsiteX35" fmla="*/ 282742 w 1798526"/>
                <a:gd name="connsiteY35" fmla="*/ 3145476 h 4126890"/>
                <a:gd name="connsiteX36" fmla="*/ 371597 w 1798526"/>
                <a:gd name="connsiteY36" fmla="*/ 3119344 h 4126890"/>
                <a:gd name="connsiteX37" fmla="*/ 700886 w 1798526"/>
                <a:gd name="connsiteY37" fmla="*/ 3166384 h 4126890"/>
                <a:gd name="connsiteX38" fmla="*/ 737472 w 1798526"/>
                <a:gd name="connsiteY38" fmla="*/ 3176842 h 4126890"/>
                <a:gd name="connsiteX39" fmla="*/ 857688 w 1798526"/>
                <a:gd name="connsiteY39" fmla="*/ 3171613 h 4126890"/>
                <a:gd name="connsiteX40" fmla="*/ 972676 w 1798526"/>
                <a:gd name="connsiteY40" fmla="*/ 3072304 h 4126890"/>
                <a:gd name="connsiteX41" fmla="*/ 977905 w 1798526"/>
                <a:gd name="connsiteY41" fmla="*/ 2931180 h 4126890"/>
                <a:gd name="connsiteX42" fmla="*/ 1040624 w 1798526"/>
                <a:gd name="connsiteY42" fmla="*/ 2816193 h 4126890"/>
                <a:gd name="connsiteX43" fmla="*/ 1019715 w 1798526"/>
                <a:gd name="connsiteY43" fmla="*/ 2732567 h 4126890"/>
                <a:gd name="connsiteX44" fmla="*/ 972676 w 1798526"/>
                <a:gd name="connsiteY44" fmla="*/ 2706430 h 4126890"/>
                <a:gd name="connsiteX45" fmla="*/ 1056306 w 1798526"/>
                <a:gd name="connsiteY45" fmla="*/ 2591443 h 4126890"/>
                <a:gd name="connsiteX46" fmla="*/ 1045852 w 1798526"/>
                <a:gd name="connsiteY46" fmla="*/ 2476455 h 4126890"/>
                <a:gd name="connsiteX47" fmla="*/ 1181748 w 1798526"/>
                <a:gd name="connsiteY47" fmla="*/ 2413732 h 4126890"/>
                <a:gd name="connsiteX48" fmla="*/ 1103347 w 1798526"/>
                <a:gd name="connsiteY48" fmla="*/ 2204661 h 4126890"/>
                <a:gd name="connsiteX49" fmla="*/ 1030174 w 1798526"/>
                <a:gd name="connsiteY49" fmla="*/ 2100128 h 4126890"/>
                <a:gd name="connsiteX50" fmla="*/ 956997 w 1798526"/>
                <a:gd name="connsiteY50" fmla="*/ 1964233 h 4126890"/>
                <a:gd name="connsiteX51" fmla="*/ 962222 w 1798526"/>
                <a:gd name="connsiteY51" fmla="*/ 1817884 h 4126890"/>
                <a:gd name="connsiteX52" fmla="*/ 915182 w 1798526"/>
                <a:gd name="connsiteY52" fmla="*/ 1525182 h 4126890"/>
                <a:gd name="connsiteX53" fmla="*/ 868137 w 1798526"/>
                <a:gd name="connsiteY53" fmla="*/ 1384063 h 4126890"/>
                <a:gd name="connsiteX54" fmla="*/ 836781 w 1798526"/>
                <a:gd name="connsiteY54" fmla="*/ 1305661 h 4126890"/>
                <a:gd name="connsiteX55" fmla="*/ 836781 w 1798526"/>
                <a:gd name="connsiteY55" fmla="*/ 1258617 h 4126890"/>
                <a:gd name="connsiteX56" fmla="*/ 915182 w 1798526"/>
                <a:gd name="connsiteY56" fmla="*/ 1195899 h 4126890"/>
                <a:gd name="connsiteX57" fmla="*/ 889046 w 1798526"/>
                <a:gd name="connsiteY57" fmla="*/ 1096590 h 4126890"/>
                <a:gd name="connsiteX58" fmla="*/ 815873 w 1798526"/>
                <a:gd name="connsiteY58" fmla="*/ 1154084 h 4126890"/>
                <a:gd name="connsiteX59" fmla="*/ 794965 w 1798526"/>
                <a:gd name="connsiteY59" fmla="*/ 1154084 h 4126890"/>
                <a:gd name="connsiteX60" fmla="*/ 815873 w 1798526"/>
                <a:gd name="connsiteY60" fmla="*/ 1117497 h 4126890"/>
                <a:gd name="connsiteX61" fmla="*/ 810644 w 1798526"/>
                <a:gd name="connsiteY61" fmla="*/ 1096590 h 4126890"/>
                <a:gd name="connsiteX62" fmla="*/ 753150 w 1798526"/>
                <a:gd name="connsiteY62" fmla="*/ 1075682 h 4126890"/>
                <a:gd name="connsiteX63" fmla="*/ 502267 w 1798526"/>
                <a:gd name="connsiteY63" fmla="*/ 903201 h 4126890"/>
                <a:gd name="connsiteX64" fmla="*/ 580669 w 1798526"/>
                <a:gd name="connsiteY64" fmla="*/ 913655 h 4126890"/>
                <a:gd name="connsiteX65" fmla="*/ 716564 w 1798526"/>
                <a:gd name="connsiteY65" fmla="*/ 903201 h 4126890"/>
                <a:gd name="connsiteX66" fmla="*/ 768833 w 1798526"/>
                <a:gd name="connsiteY66" fmla="*/ 803892 h 4126890"/>
                <a:gd name="connsiteX67" fmla="*/ 747926 w 1798526"/>
                <a:gd name="connsiteY67" fmla="*/ 720266 h 4126890"/>
                <a:gd name="connsiteX68" fmla="*/ 622484 w 1798526"/>
                <a:gd name="connsiteY68" fmla="*/ 615728 h 4126890"/>
                <a:gd name="connsiteX69" fmla="*/ 37962 w 1798526"/>
                <a:gd name="connsiteY69" fmla="*/ 478373 h 4126890"/>
                <a:gd name="connsiteX70" fmla="*/ 0 w 1798526"/>
                <a:gd name="connsiteY70" fmla="*/ 475873 h 4126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798526" h="4126890">
                  <a:moveTo>
                    <a:pt x="774958" y="1706815"/>
                  </a:moveTo>
                  <a:cubicBezTo>
                    <a:pt x="783859" y="1707468"/>
                    <a:pt x="792353" y="1709427"/>
                    <a:pt x="800195" y="1713346"/>
                  </a:cubicBezTo>
                  <a:cubicBezTo>
                    <a:pt x="831551" y="1723800"/>
                    <a:pt x="883820" y="1723800"/>
                    <a:pt x="889046" y="1744708"/>
                  </a:cubicBezTo>
                  <a:cubicBezTo>
                    <a:pt x="899504" y="1781294"/>
                    <a:pt x="868137" y="1823109"/>
                    <a:pt x="831551" y="1849246"/>
                  </a:cubicBezTo>
                  <a:cubicBezTo>
                    <a:pt x="826327" y="1859695"/>
                    <a:pt x="852459" y="1870153"/>
                    <a:pt x="852459" y="1880602"/>
                  </a:cubicBezTo>
                  <a:cubicBezTo>
                    <a:pt x="847234" y="1891056"/>
                    <a:pt x="826327" y="1901510"/>
                    <a:pt x="815873" y="1901510"/>
                  </a:cubicBezTo>
                  <a:cubicBezTo>
                    <a:pt x="805419" y="1906739"/>
                    <a:pt x="789736" y="1927647"/>
                    <a:pt x="779287" y="1938096"/>
                  </a:cubicBezTo>
                  <a:cubicBezTo>
                    <a:pt x="789736" y="1938096"/>
                    <a:pt x="779287" y="1959003"/>
                    <a:pt x="789736" y="1959003"/>
                  </a:cubicBezTo>
                  <a:cubicBezTo>
                    <a:pt x="763604" y="1990365"/>
                    <a:pt x="800195" y="2058312"/>
                    <a:pt x="763604" y="2068766"/>
                  </a:cubicBezTo>
                  <a:cubicBezTo>
                    <a:pt x="716564" y="2079220"/>
                    <a:pt x="664295" y="2079220"/>
                    <a:pt x="617255" y="2068766"/>
                  </a:cubicBezTo>
                  <a:cubicBezTo>
                    <a:pt x="643391" y="2063542"/>
                    <a:pt x="674749" y="2073991"/>
                    <a:pt x="695656" y="2047858"/>
                  </a:cubicBezTo>
                  <a:cubicBezTo>
                    <a:pt x="695656" y="2042634"/>
                    <a:pt x="695656" y="2026956"/>
                    <a:pt x="695656" y="2021726"/>
                  </a:cubicBezTo>
                  <a:cubicBezTo>
                    <a:pt x="695656" y="2016497"/>
                    <a:pt x="690427" y="2016497"/>
                    <a:pt x="685203" y="2016497"/>
                  </a:cubicBezTo>
                  <a:cubicBezTo>
                    <a:pt x="679977" y="2021726"/>
                    <a:pt x="674749" y="2021726"/>
                    <a:pt x="674749" y="2021726"/>
                  </a:cubicBezTo>
                  <a:cubicBezTo>
                    <a:pt x="674749" y="2011273"/>
                    <a:pt x="664295" y="1995590"/>
                    <a:pt x="653841" y="1995590"/>
                  </a:cubicBezTo>
                  <a:cubicBezTo>
                    <a:pt x="617255" y="2000819"/>
                    <a:pt x="580669" y="1985140"/>
                    <a:pt x="554532" y="1959003"/>
                  </a:cubicBezTo>
                  <a:cubicBezTo>
                    <a:pt x="575440" y="1953779"/>
                    <a:pt x="591123" y="1948555"/>
                    <a:pt x="612026" y="1953779"/>
                  </a:cubicBezTo>
                  <a:cubicBezTo>
                    <a:pt x="632933" y="1953779"/>
                    <a:pt x="622484" y="1922418"/>
                    <a:pt x="643391" y="1906739"/>
                  </a:cubicBezTo>
                  <a:cubicBezTo>
                    <a:pt x="648617" y="1906739"/>
                    <a:pt x="653841" y="1906739"/>
                    <a:pt x="664295" y="1906739"/>
                  </a:cubicBezTo>
                  <a:cubicBezTo>
                    <a:pt x="700886" y="1854470"/>
                    <a:pt x="779287" y="1844016"/>
                    <a:pt x="794965" y="1791751"/>
                  </a:cubicBezTo>
                  <a:cubicBezTo>
                    <a:pt x="784512" y="1776068"/>
                    <a:pt x="747926" y="1776068"/>
                    <a:pt x="721793" y="1770844"/>
                  </a:cubicBezTo>
                  <a:cubicBezTo>
                    <a:pt x="685203" y="1760386"/>
                    <a:pt x="648617" y="1770844"/>
                    <a:pt x="612026" y="1770844"/>
                  </a:cubicBezTo>
                  <a:cubicBezTo>
                    <a:pt x="559761" y="1781294"/>
                    <a:pt x="512721" y="1791751"/>
                    <a:pt x="470906" y="1807430"/>
                  </a:cubicBezTo>
                  <a:cubicBezTo>
                    <a:pt x="507492" y="1781294"/>
                    <a:pt x="549308" y="1755161"/>
                    <a:pt x="591123" y="1744708"/>
                  </a:cubicBezTo>
                  <a:cubicBezTo>
                    <a:pt x="622484" y="1739483"/>
                    <a:pt x="653841" y="1718575"/>
                    <a:pt x="690427" y="1718575"/>
                  </a:cubicBezTo>
                  <a:cubicBezTo>
                    <a:pt x="708723" y="1715963"/>
                    <a:pt x="728326" y="1710734"/>
                    <a:pt x="747271" y="1708122"/>
                  </a:cubicBezTo>
                  <a:cubicBezTo>
                    <a:pt x="756746" y="1706815"/>
                    <a:pt x="766056" y="1706162"/>
                    <a:pt x="774958" y="1706815"/>
                  </a:cubicBezTo>
                  <a:close/>
                  <a:moveTo>
                    <a:pt x="0" y="0"/>
                  </a:moveTo>
                  <a:lnTo>
                    <a:pt x="134494" y="20508"/>
                  </a:lnTo>
                  <a:cubicBezTo>
                    <a:pt x="1087340" y="215306"/>
                    <a:pt x="1803080" y="1057386"/>
                    <a:pt x="1798505" y="2063537"/>
                  </a:cubicBezTo>
                  <a:cubicBezTo>
                    <a:pt x="1798505" y="3069687"/>
                    <a:pt x="1082192" y="3911768"/>
                    <a:pt x="132779" y="4106567"/>
                  </a:cubicBezTo>
                  <a:lnTo>
                    <a:pt x="0" y="4126890"/>
                  </a:lnTo>
                  <a:lnTo>
                    <a:pt x="0" y="3728548"/>
                  </a:lnTo>
                  <a:lnTo>
                    <a:pt x="16180" y="3725651"/>
                  </a:lnTo>
                  <a:cubicBezTo>
                    <a:pt x="26629" y="3647250"/>
                    <a:pt x="42313" y="3558390"/>
                    <a:pt x="63216" y="3459081"/>
                  </a:cubicBezTo>
                  <a:cubicBezTo>
                    <a:pt x="105031" y="3338869"/>
                    <a:pt x="172984" y="3223877"/>
                    <a:pt x="282742" y="3145476"/>
                  </a:cubicBezTo>
                  <a:cubicBezTo>
                    <a:pt x="308878" y="3129797"/>
                    <a:pt x="340235" y="3124573"/>
                    <a:pt x="371597" y="3119344"/>
                  </a:cubicBezTo>
                  <a:cubicBezTo>
                    <a:pt x="481360" y="3119344"/>
                    <a:pt x="591123" y="3155934"/>
                    <a:pt x="700886" y="3166384"/>
                  </a:cubicBezTo>
                  <a:cubicBezTo>
                    <a:pt x="711335" y="3166384"/>
                    <a:pt x="727018" y="3171613"/>
                    <a:pt x="737472" y="3176842"/>
                  </a:cubicBezTo>
                  <a:cubicBezTo>
                    <a:pt x="774058" y="3182066"/>
                    <a:pt x="821102" y="3182066"/>
                    <a:pt x="857688" y="3171613"/>
                  </a:cubicBezTo>
                  <a:cubicBezTo>
                    <a:pt x="899504" y="3155934"/>
                    <a:pt x="951773" y="3129797"/>
                    <a:pt x="972676" y="3072304"/>
                  </a:cubicBezTo>
                  <a:cubicBezTo>
                    <a:pt x="988359" y="3025264"/>
                    <a:pt x="1004037" y="2978220"/>
                    <a:pt x="977905" y="2931180"/>
                  </a:cubicBezTo>
                  <a:cubicBezTo>
                    <a:pt x="936090" y="2873686"/>
                    <a:pt x="1014491" y="2852779"/>
                    <a:pt x="1040624" y="2816193"/>
                  </a:cubicBezTo>
                  <a:cubicBezTo>
                    <a:pt x="1056306" y="2784831"/>
                    <a:pt x="1024945" y="2763924"/>
                    <a:pt x="1019715" y="2732567"/>
                  </a:cubicBezTo>
                  <a:cubicBezTo>
                    <a:pt x="1009266" y="2716884"/>
                    <a:pt x="983129" y="2727338"/>
                    <a:pt x="972676" y="2706430"/>
                  </a:cubicBezTo>
                  <a:cubicBezTo>
                    <a:pt x="1019715" y="2690752"/>
                    <a:pt x="1087668" y="2648936"/>
                    <a:pt x="1056306" y="2591443"/>
                  </a:cubicBezTo>
                  <a:cubicBezTo>
                    <a:pt x="1040624" y="2560081"/>
                    <a:pt x="1009266" y="2507812"/>
                    <a:pt x="1045852" y="2476455"/>
                  </a:cubicBezTo>
                  <a:cubicBezTo>
                    <a:pt x="1092893" y="2450319"/>
                    <a:pt x="1160840" y="2460773"/>
                    <a:pt x="1181748" y="2413732"/>
                  </a:cubicBezTo>
                  <a:cubicBezTo>
                    <a:pt x="1213109" y="2335331"/>
                    <a:pt x="1139933" y="2267384"/>
                    <a:pt x="1103347" y="2204661"/>
                  </a:cubicBezTo>
                  <a:cubicBezTo>
                    <a:pt x="1082438" y="2162850"/>
                    <a:pt x="1056306" y="2136714"/>
                    <a:pt x="1030174" y="2100128"/>
                  </a:cubicBezTo>
                  <a:cubicBezTo>
                    <a:pt x="1004037" y="2053088"/>
                    <a:pt x="967451" y="2016497"/>
                    <a:pt x="956997" y="1964233"/>
                  </a:cubicBezTo>
                  <a:cubicBezTo>
                    <a:pt x="936090" y="1917188"/>
                    <a:pt x="962222" y="1870153"/>
                    <a:pt x="962222" y="1817884"/>
                  </a:cubicBezTo>
                  <a:cubicBezTo>
                    <a:pt x="967451" y="1718575"/>
                    <a:pt x="941314" y="1624491"/>
                    <a:pt x="915182" y="1525182"/>
                  </a:cubicBezTo>
                  <a:cubicBezTo>
                    <a:pt x="894274" y="1483371"/>
                    <a:pt x="889046" y="1431102"/>
                    <a:pt x="868137" y="1384063"/>
                  </a:cubicBezTo>
                  <a:cubicBezTo>
                    <a:pt x="862913" y="1357926"/>
                    <a:pt x="857688" y="1331793"/>
                    <a:pt x="836781" y="1305661"/>
                  </a:cubicBezTo>
                  <a:cubicBezTo>
                    <a:pt x="831551" y="1289978"/>
                    <a:pt x="831551" y="1269075"/>
                    <a:pt x="836781" y="1258617"/>
                  </a:cubicBezTo>
                  <a:cubicBezTo>
                    <a:pt x="862913" y="1242938"/>
                    <a:pt x="889046" y="1222031"/>
                    <a:pt x="915182" y="1195899"/>
                  </a:cubicBezTo>
                  <a:cubicBezTo>
                    <a:pt x="936090" y="1159308"/>
                    <a:pt x="920406" y="1117497"/>
                    <a:pt x="889046" y="1096590"/>
                  </a:cubicBezTo>
                  <a:cubicBezTo>
                    <a:pt x="842005" y="1075682"/>
                    <a:pt x="847234" y="1143630"/>
                    <a:pt x="815873" y="1154084"/>
                  </a:cubicBezTo>
                  <a:cubicBezTo>
                    <a:pt x="805419" y="1154084"/>
                    <a:pt x="800195" y="1154084"/>
                    <a:pt x="794965" y="1154084"/>
                  </a:cubicBezTo>
                  <a:cubicBezTo>
                    <a:pt x="789736" y="1138405"/>
                    <a:pt x="805419" y="1127951"/>
                    <a:pt x="815873" y="1117497"/>
                  </a:cubicBezTo>
                  <a:cubicBezTo>
                    <a:pt x="815873" y="1107044"/>
                    <a:pt x="815873" y="1096590"/>
                    <a:pt x="810644" y="1096590"/>
                  </a:cubicBezTo>
                  <a:cubicBezTo>
                    <a:pt x="784512" y="1096590"/>
                    <a:pt x="758379" y="1086136"/>
                    <a:pt x="753150" y="1075682"/>
                  </a:cubicBezTo>
                  <a:cubicBezTo>
                    <a:pt x="690427" y="986827"/>
                    <a:pt x="601576" y="939788"/>
                    <a:pt x="502267" y="903201"/>
                  </a:cubicBezTo>
                  <a:cubicBezTo>
                    <a:pt x="528400" y="908426"/>
                    <a:pt x="554532" y="913655"/>
                    <a:pt x="580669" y="913655"/>
                  </a:cubicBezTo>
                  <a:cubicBezTo>
                    <a:pt x="627709" y="924104"/>
                    <a:pt x="679977" y="924104"/>
                    <a:pt x="716564" y="903201"/>
                  </a:cubicBezTo>
                  <a:cubicBezTo>
                    <a:pt x="747926" y="887518"/>
                    <a:pt x="758379" y="835254"/>
                    <a:pt x="768833" y="803892"/>
                  </a:cubicBezTo>
                  <a:cubicBezTo>
                    <a:pt x="779287" y="777760"/>
                    <a:pt x="758379" y="741169"/>
                    <a:pt x="747926" y="720266"/>
                  </a:cubicBezTo>
                  <a:cubicBezTo>
                    <a:pt x="716564" y="673222"/>
                    <a:pt x="669524" y="641865"/>
                    <a:pt x="622484" y="615728"/>
                  </a:cubicBezTo>
                  <a:cubicBezTo>
                    <a:pt x="442159" y="549087"/>
                    <a:pt x="242725" y="500821"/>
                    <a:pt x="37962" y="478373"/>
                  </a:cubicBezTo>
                  <a:lnTo>
                    <a:pt x="0" y="475873"/>
                  </a:lnTo>
                  <a:close/>
                </a:path>
              </a:pathLst>
            </a:custGeom>
            <a:solidFill>
              <a:srgbClr val="5770BE">
                <a:alpha val="2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fr-FR" sz="1100" b="1" kern="0" cap="all">
                <a:solidFill>
                  <a:srgbClr val="4E65AB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13" name="Forme libre : forme 12">
              <a:extLst>
                <a:ext uri="{FF2B5EF4-FFF2-40B4-BE49-F238E27FC236}">
                  <a16:creationId xmlns:a16="http://schemas.microsoft.com/office/drawing/2014/main" id="{0CC8E4A7-3FC8-45BB-9F0C-80C1D3C4A791}"/>
                </a:ext>
              </a:extLst>
            </p:cNvPr>
            <p:cNvSpPr/>
            <p:nvPr/>
          </p:nvSpPr>
          <p:spPr>
            <a:xfrm>
              <a:off x="1" y="1590199"/>
              <a:ext cx="1629834" cy="3677602"/>
            </a:xfrm>
            <a:custGeom>
              <a:avLst/>
              <a:gdLst>
                <a:gd name="connsiteX0" fmla="*/ 0 w 1951075"/>
                <a:gd name="connsiteY0" fmla="*/ 0 h 4402459"/>
                <a:gd name="connsiteX1" fmla="*/ 179327 w 1951075"/>
                <a:gd name="connsiteY1" fmla="*/ 27368 h 4402459"/>
                <a:gd name="connsiteX2" fmla="*/ 1951075 w 1951075"/>
                <a:gd name="connsiteY2" fmla="*/ 2201229 h 4402459"/>
                <a:gd name="connsiteX3" fmla="*/ 179327 w 1951075"/>
                <a:gd name="connsiteY3" fmla="*/ 4375090 h 4402459"/>
                <a:gd name="connsiteX4" fmla="*/ 0 w 1951075"/>
                <a:gd name="connsiteY4" fmla="*/ 4402459 h 4402459"/>
                <a:gd name="connsiteX0" fmla="*/ 28575 w 1979650"/>
                <a:gd name="connsiteY0" fmla="*/ 0 h 4402459"/>
                <a:gd name="connsiteX1" fmla="*/ 207902 w 1979650"/>
                <a:gd name="connsiteY1" fmla="*/ 27368 h 4402459"/>
                <a:gd name="connsiteX2" fmla="*/ 1979650 w 1979650"/>
                <a:gd name="connsiteY2" fmla="*/ 2201229 h 4402459"/>
                <a:gd name="connsiteX3" fmla="*/ 207902 w 1979650"/>
                <a:gd name="connsiteY3" fmla="*/ 4375090 h 4402459"/>
                <a:gd name="connsiteX4" fmla="*/ 28575 w 1979650"/>
                <a:gd name="connsiteY4" fmla="*/ 4402459 h 4402459"/>
                <a:gd name="connsiteX5" fmla="*/ 0 w 1979650"/>
                <a:gd name="connsiteY5" fmla="*/ 2007808 h 4402459"/>
                <a:gd name="connsiteX6" fmla="*/ 28575 w 1979650"/>
                <a:gd name="connsiteY6" fmla="*/ 0 h 4402459"/>
                <a:gd name="connsiteX0" fmla="*/ 0 w 1979650"/>
                <a:gd name="connsiteY0" fmla="*/ 2007808 h 4402459"/>
                <a:gd name="connsiteX1" fmla="*/ 28575 w 1979650"/>
                <a:gd name="connsiteY1" fmla="*/ 0 h 4402459"/>
                <a:gd name="connsiteX2" fmla="*/ 207902 w 1979650"/>
                <a:gd name="connsiteY2" fmla="*/ 27368 h 4402459"/>
                <a:gd name="connsiteX3" fmla="*/ 1979650 w 1979650"/>
                <a:gd name="connsiteY3" fmla="*/ 2201229 h 4402459"/>
                <a:gd name="connsiteX4" fmla="*/ 207902 w 1979650"/>
                <a:gd name="connsiteY4" fmla="*/ 4375090 h 4402459"/>
                <a:gd name="connsiteX5" fmla="*/ 28575 w 1979650"/>
                <a:gd name="connsiteY5" fmla="*/ 4402459 h 4402459"/>
                <a:gd name="connsiteX6" fmla="*/ 91440 w 1979650"/>
                <a:gd name="connsiteY6" fmla="*/ 2099248 h 4402459"/>
                <a:gd name="connsiteX0" fmla="*/ 0 w 1979650"/>
                <a:gd name="connsiteY0" fmla="*/ 2007808 h 4402459"/>
                <a:gd name="connsiteX1" fmla="*/ 28575 w 1979650"/>
                <a:gd name="connsiteY1" fmla="*/ 0 h 4402459"/>
                <a:gd name="connsiteX2" fmla="*/ 207902 w 1979650"/>
                <a:gd name="connsiteY2" fmla="*/ 27368 h 4402459"/>
                <a:gd name="connsiteX3" fmla="*/ 1979650 w 1979650"/>
                <a:gd name="connsiteY3" fmla="*/ 2201229 h 4402459"/>
                <a:gd name="connsiteX4" fmla="*/ 207902 w 1979650"/>
                <a:gd name="connsiteY4" fmla="*/ 4375090 h 4402459"/>
                <a:gd name="connsiteX5" fmla="*/ 28575 w 1979650"/>
                <a:gd name="connsiteY5" fmla="*/ 4402459 h 4402459"/>
                <a:gd name="connsiteX0" fmla="*/ 0 w 1951075"/>
                <a:gd name="connsiteY0" fmla="*/ 0 h 4402459"/>
                <a:gd name="connsiteX1" fmla="*/ 179327 w 1951075"/>
                <a:gd name="connsiteY1" fmla="*/ 27368 h 4402459"/>
                <a:gd name="connsiteX2" fmla="*/ 1951075 w 1951075"/>
                <a:gd name="connsiteY2" fmla="*/ 2201229 h 4402459"/>
                <a:gd name="connsiteX3" fmla="*/ 179327 w 1951075"/>
                <a:gd name="connsiteY3" fmla="*/ 4375090 h 4402459"/>
                <a:gd name="connsiteX4" fmla="*/ 0 w 1951075"/>
                <a:gd name="connsiteY4" fmla="*/ 4402459 h 4402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1075" h="4402459">
                  <a:moveTo>
                    <a:pt x="0" y="0"/>
                  </a:moveTo>
                  <a:lnTo>
                    <a:pt x="179327" y="27368"/>
                  </a:lnTo>
                  <a:cubicBezTo>
                    <a:pt x="1190462" y="234276"/>
                    <a:pt x="1951075" y="1128927"/>
                    <a:pt x="1951075" y="2201229"/>
                  </a:cubicBezTo>
                  <a:cubicBezTo>
                    <a:pt x="1951075" y="3273531"/>
                    <a:pt x="1190462" y="4168182"/>
                    <a:pt x="179327" y="4375090"/>
                  </a:cubicBezTo>
                  <a:lnTo>
                    <a:pt x="0" y="4402459"/>
                  </a:lnTo>
                </a:path>
              </a:pathLst>
            </a:custGeom>
            <a:noFill/>
            <a:ln w="15875" cap="flat" cmpd="sng" algn="ctr">
              <a:solidFill>
                <a:schemeClr val="accent3">
                  <a:alpha val="10000"/>
                </a:schemeClr>
              </a:solidFill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395441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avec cocar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CA5D348-1AC1-4F7D-8796-CB2E66F168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8961352" cy="1068083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A7AC604-3EA4-4DC7-B1E4-1906B1FC2F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1C56C6-7EA6-48BC-8893-3E8C4DFBD60D}" type="datetime1">
              <a:rPr lang="fr-FR" smtClean="0"/>
              <a:t>22/11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99C0182-12A1-40D5-936A-5497EC719F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MEX – 9 avril 2021 - POUR INFORM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4483E3E-D4DF-43E7-84C2-67715B942C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2D038-4989-45BB-AD16-38E0E231338A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AA91631E-6EF0-4B58-9AC5-3BCD2A95FEE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047203" y="2267998"/>
            <a:ext cx="9605996" cy="38484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DC5F5DA4-F074-4917-9D2D-E0334BF5EC08}"/>
              </a:ext>
            </a:extLst>
          </p:cNvPr>
          <p:cNvGrpSpPr/>
          <p:nvPr userDrawn="1"/>
        </p:nvGrpSpPr>
        <p:grpSpPr>
          <a:xfrm>
            <a:off x="1" y="1590199"/>
            <a:ext cx="1629834" cy="3677602"/>
            <a:chOff x="1" y="1590199"/>
            <a:chExt cx="1629834" cy="3677602"/>
          </a:xfrm>
        </p:grpSpPr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A503B301-F34B-45C8-BC3D-BD78061D0C73}"/>
                </a:ext>
              </a:extLst>
            </p:cNvPr>
            <p:cNvSpPr/>
            <p:nvPr/>
          </p:nvSpPr>
          <p:spPr>
            <a:xfrm>
              <a:off x="1" y="1702857"/>
              <a:ext cx="1502402" cy="3447405"/>
            </a:xfrm>
            <a:custGeom>
              <a:avLst/>
              <a:gdLst>
                <a:gd name="connsiteX0" fmla="*/ 774958 w 1798526"/>
                <a:gd name="connsiteY0" fmla="*/ 1706815 h 4126890"/>
                <a:gd name="connsiteX1" fmla="*/ 800195 w 1798526"/>
                <a:gd name="connsiteY1" fmla="*/ 1713346 h 4126890"/>
                <a:gd name="connsiteX2" fmla="*/ 889046 w 1798526"/>
                <a:gd name="connsiteY2" fmla="*/ 1744708 h 4126890"/>
                <a:gd name="connsiteX3" fmla="*/ 831551 w 1798526"/>
                <a:gd name="connsiteY3" fmla="*/ 1849246 h 4126890"/>
                <a:gd name="connsiteX4" fmla="*/ 852459 w 1798526"/>
                <a:gd name="connsiteY4" fmla="*/ 1880602 h 4126890"/>
                <a:gd name="connsiteX5" fmla="*/ 815873 w 1798526"/>
                <a:gd name="connsiteY5" fmla="*/ 1901510 h 4126890"/>
                <a:gd name="connsiteX6" fmla="*/ 779287 w 1798526"/>
                <a:gd name="connsiteY6" fmla="*/ 1938096 h 4126890"/>
                <a:gd name="connsiteX7" fmla="*/ 789736 w 1798526"/>
                <a:gd name="connsiteY7" fmla="*/ 1959003 h 4126890"/>
                <a:gd name="connsiteX8" fmla="*/ 763604 w 1798526"/>
                <a:gd name="connsiteY8" fmla="*/ 2068766 h 4126890"/>
                <a:gd name="connsiteX9" fmla="*/ 617255 w 1798526"/>
                <a:gd name="connsiteY9" fmla="*/ 2068766 h 4126890"/>
                <a:gd name="connsiteX10" fmla="*/ 695656 w 1798526"/>
                <a:gd name="connsiteY10" fmla="*/ 2047858 h 4126890"/>
                <a:gd name="connsiteX11" fmla="*/ 695656 w 1798526"/>
                <a:gd name="connsiteY11" fmla="*/ 2021726 h 4126890"/>
                <a:gd name="connsiteX12" fmla="*/ 685203 w 1798526"/>
                <a:gd name="connsiteY12" fmla="*/ 2016497 h 4126890"/>
                <a:gd name="connsiteX13" fmla="*/ 674749 w 1798526"/>
                <a:gd name="connsiteY13" fmla="*/ 2021726 h 4126890"/>
                <a:gd name="connsiteX14" fmla="*/ 653841 w 1798526"/>
                <a:gd name="connsiteY14" fmla="*/ 1995590 h 4126890"/>
                <a:gd name="connsiteX15" fmla="*/ 554532 w 1798526"/>
                <a:gd name="connsiteY15" fmla="*/ 1959003 h 4126890"/>
                <a:gd name="connsiteX16" fmla="*/ 612026 w 1798526"/>
                <a:gd name="connsiteY16" fmla="*/ 1953779 h 4126890"/>
                <a:gd name="connsiteX17" fmla="*/ 643391 w 1798526"/>
                <a:gd name="connsiteY17" fmla="*/ 1906739 h 4126890"/>
                <a:gd name="connsiteX18" fmla="*/ 664295 w 1798526"/>
                <a:gd name="connsiteY18" fmla="*/ 1906739 h 4126890"/>
                <a:gd name="connsiteX19" fmla="*/ 794965 w 1798526"/>
                <a:gd name="connsiteY19" fmla="*/ 1791751 h 4126890"/>
                <a:gd name="connsiteX20" fmla="*/ 721793 w 1798526"/>
                <a:gd name="connsiteY20" fmla="*/ 1770844 h 4126890"/>
                <a:gd name="connsiteX21" fmla="*/ 612026 w 1798526"/>
                <a:gd name="connsiteY21" fmla="*/ 1770844 h 4126890"/>
                <a:gd name="connsiteX22" fmla="*/ 470906 w 1798526"/>
                <a:gd name="connsiteY22" fmla="*/ 1807430 h 4126890"/>
                <a:gd name="connsiteX23" fmla="*/ 591123 w 1798526"/>
                <a:gd name="connsiteY23" fmla="*/ 1744708 h 4126890"/>
                <a:gd name="connsiteX24" fmla="*/ 690427 w 1798526"/>
                <a:gd name="connsiteY24" fmla="*/ 1718575 h 4126890"/>
                <a:gd name="connsiteX25" fmla="*/ 747271 w 1798526"/>
                <a:gd name="connsiteY25" fmla="*/ 1708122 h 4126890"/>
                <a:gd name="connsiteX26" fmla="*/ 774958 w 1798526"/>
                <a:gd name="connsiteY26" fmla="*/ 1706815 h 4126890"/>
                <a:gd name="connsiteX27" fmla="*/ 0 w 1798526"/>
                <a:gd name="connsiteY27" fmla="*/ 0 h 4126890"/>
                <a:gd name="connsiteX28" fmla="*/ 134494 w 1798526"/>
                <a:gd name="connsiteY28" fmla="*/ 20508 h 4126890"/>
                <a:gd name="connsiteX29" fmla="*/ 1798505 w 1798526"/>
                <a:gd name="connsiteY29" fmla="*/ 2063537 h 4126890"/>
                <a:gd name="connsiteX30" fmla="*/ 132779 w 1798526"/>
                <a:gd name="connsiteY30" fmla="*/ 4106567 h 4126890"/>
                <a:gd name="connsiteX31" fmla="*/ 0 w 1798526"/>
                <a:gd name="connsiteY31" fmla="*/ 4126890 h 4126890"/>
                <a:gd name="connsiteX32" fmla="*/ 0 w 1798526"/>
                <a:gd name="connsiteY32" fmla="*/ 3728548 h 4126890"/>
                <a:gd name="connsiteX33" fmla="*/ 16180 w 1798526"/>
                <a:gd name="connsiteY33" fmla="*/ 3725651 h 4126890"/>
                <a:gd name="connsiteX34" fmla="*/ 63216 w 1798526"/>
                <a:gd name="connsiteY34" fmla="*/ 3459081 h 4126890"/>
                <a:gd name="connsiteX35" fmla="*/ 282742 w 1798526"/>
                <a:gd name="connsiteY35" fmla="*/ 3145476 h 4126890"/>
                <a:gd name="connsiteX36" fmla="*/ 371597 w 1798526"/>
                <a:gd name="connsiteY36" fmla="*/ 3119344 h 4126890"/>
                <a:gd name="connsiteX37" fmla="*/ 700886 w 1798526"/>
                <a:gd name="connsiteY37" fmla="*/ 3166384 h 4126890"/>
                <a:gd name="connsiteX38" fmla="*/ 737472 w 1798526"/>
                <a:gd name="connsiteY38" fmla="*/ 3176842 h 4126890"/>
                <a:gd name="connsiteX39" fmla="*/ 857688 w 1798526"/>
                <a:gd name="connsiteY39" fmla="*/ 3171613 h 4126890"/>
                <a:gd name="connsiteX40" fmla="*/ 972676 w 1798526"/>
                <a:gd name="connsiteY40" fmla="*/ 3072304 h 4126890"/>
                <a:gd name="connsiteX41" fmla="*/ 977905 w 1798526"/>
                <a:gd name="connsiteY41" fmla="*/ 2931180 h 4126890"/>
                <a:gd name="connsiteX42" fmla="*/ 1040624 w 1798526"/>
                <a:gd name="connsiteY42" fmla="*/ 2816193 h 4126890"/>
                <a:gd name="connsiteX43" fmla="*/ 1019715 w 1798526"/>
                <a:gd name="connsiteY43" fmla="*/ 2732567 h 4126890"/>
                <a:gd name="connsiteX44" fmla="*/ 972676 w 1798526"/>
                <a:gd name="connsiteY44" fmla="*/ 2706430 h 4126890"/>
                <a:gd name="connsiteX45" fmla="*/ 1056306 w 1798526"/>
                <a:gd name="connsiteY45" fmla="*/ 2591443 h 4126890"/>
                <a:gd name="connsiteX46" fmla="*/ 1045852 w 1798526"/>
                <a:gd name="connsiteY46" fmla="*/ 2476455 h 4126890"/>
                <a:gd name="connsiteX47" fmla="*/ 1181748 w 1798526"/>
                <a:gd name="connsiteY47" fmla="*/ 2413732 h 4126890"/>
                <a:gd name="connsiteX48" fmla="*/ 1103347 w 1798526"/>
                <a:gd name="connsiteY48" fmla="*/ 2204661 h 4126890"/>
                <a:gd name="connsiteX49" fmla="*/ 1030174 w 1798526"/>
                <a:gd name="connsiteY49" fmla="*/ 2100128 h 4126890"/>
                <a:gd name="connsiteX50" fmla="*/ 956997 w 1798526"/>
                <a:gd name="connsiteY50" fmla="*/ 1964233 h 4126890"/>
                <a:gd name="connsiteX51" fmla="*/ 962222 w 1798526"/>
                <a:gd name="connsiteY51" fmla="*/ 1817884 h 4126890"/>
                <a:gd name="connsiteX52" fmla="*/ 915182 w 1798526"/>
                <a:gd name="connsiteY52" fmla="*/ 1525182 h 4126890"/>
                <a:gd name="connsiteX53" fmla="*/ 868137 w 1798526"/>
                <a:gd name="connsiteY53" fmla="*/ 1384063 h 4126890"/>
                <a:gd name="connsiteX54" fmla="*/ 836781 w 1798526"/>
                <a:gd name="connsiteY54" fmla="*/ 1305661 h 4126890"/>
                <a:gd name="connsiteX55" fmla="*/ 836781 w 1798526"/>
                <a:gd name="connsiteY55" fmla="*/ 1258617 h 4126890"/>
                <a:gd name="connsiteX56" fmla="*/ 915182 w 1798526"/>
                <a:gd name="connsiteY56" fmla="*/ 1195899 h 4126890"/>
                <a:gd name="connsiteX57" fmla="*/ 889046 w 1798526"/>
                <a:gd name="connsiteY57" fmla="*/ 1096590 h 4126890"/>
                <a:gd name="connsiteX58" fmla="*/ 815873 w 1798526"/>
                <a:gd name="connsiteY58" fmla="*/ 1154084 h 4126890"/>
                <a:gd name="connsiteX59" fmla="*/ 794965 w 1798526"/>
                <a:gd name="connsiteY59" fmla="*/ 1154084 h 4126890"/>
                <a:gd name="connsiteX60" fmla="*/ 815873 w 1798526"/>
                <a:gd name="connsiteY60" fmla="*/ 1117497 h 4126890"/>
                <a:gd name="connsiteX61" fmla="*/ 810644 w 1798526"/>
                <a:gd name="connsiteY61" fmla="*/ 1096590 h 4126890"/>
                <a:gd name="connsiteX62" fmla="*/ 753150 w 1798526"/>
                <a:gd name="connsiteY62" fmla="*/ 1075682 h 4126890"/>
                <a:gd name="connsiteX63" fmla="*/ 502267 w 1798526"/>
                <a:gd name="connsiteY63" fmla="*/ 903201 h 4126890"/>
                <a:gd name="connsiteX64" fmla="*/ 580669 w 1798526"/>
                <a:gd name="connsiteY64" fmla="*/ 913655 h 4126890"/>
                <a:gd name="connsiteX65" fmla="*/ 716564 w 1798526"/>
                <a:gd name="connsiteY65" fmla="*/ 903201 h 4126890"/>
                <a:gd name="connsiteX66" fmla="*/ 768833 w 1798526"/>
                <a:gd name="connsiteY66" fmla="*/ 803892 h 4126890"/>
                <a:gd name="connsiteX67" fmla="*/ 747926 w 1798526"/>
                <a:gd name="connsiteY67" fmla="*/ 720266 h 4126890"/>
                <a:gd name="connsiteX68" fmla="*/ 622484 w 1798526"/>
                <a:gd name="connsiteY68" fmla="*/ 615728 h 4126890"/>
                <a:gd name="connsiteX69" fmla="*/ 37962 w 1798526"/>
                <a:gd name="connsiteY69" fmla="*/ 478373 h 4126890"/>
                <a:gd name="connsiteX70" fmla="*/ 0 w 1798526"/>
                <a:gd name="connsiteY70" fmla="*/ 475873 h 4126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1798526" h="4126890">
                  <a:moveTo>
                    <a:pt x="774958" y="1706815"/>
                  </a:moveTo>
                  <a:cubicBezTo>
                    <a:pt x="783859" y="1707468"/>
                    <a:pt x="792353" y="1709427"/>
                    <a:pt x="800195" y="1713346"/>
                  </a:cubicBezTo>
                  <a:cubicBezTo>
                    <a:pt x="831551" y="1723800"/>
                    <a:pt x="883820" y="1723800"/>
                    <a:pt x="889046" y="1744708"/>
                  </a:cubicBezTo>
                  <a:cubicBezTo>
                    <a:pt x="899504" y="1781294"/>
                    <a:pt x="868137" y="1823109"/>
                    <a:pt x="831551" y="1849246"/>
                  </a:cubicBezTo>
                  <a:cubicBezTo>
                    <a:pt x="826327" y="1859695"/>
                    <a:pt x="852459" y="1870153"/>
                    <a:pt x="852459" y="1880602"/>
                  </a:cubicBezTo>
                  <a:cubicBezTo>
                    <a:pt x="847234" y="1891056"/>
                    <a:pt x="826327" y="1901510"/>
                    <a:pt x="815873" y="1901510"/>
                  </a:cubicBezTo>
                  <a:cubicBezTo>
                    <a:pt x="805419" y="1906739"/>
                    <a:pt x="789736" y="1927647"/>
                    <a:pt x="779287" y="1938096"/>
                  </a:cubicBezTo>
                  <a:cubicBezTo>
                    <a:pt x="789736" y="1938096"/>
                    <a:pt x="779287" y="1959003"/>
                    <a:pt x="789736" y="1959003"/>
                  </a:cubicBezTo>
                  <a:cubicBezTo>
                    <a:pt x="763604" y="1990365"/>
                    <a:pt x="800195" y="2058312"/>
                    <a:pt x="763604" y="2068766"/>
                  </a:cubicBezTo>
                  <a:cubicBezTo>
                    <a:pt x="716564" y="2079220"/>
                    <a:pt x="664295" y="2079220"/>
                    <a:pt x="617255" y="2068766"/>
                  </a:cubicBezTo>
                  <a:cubicBezTo>
                    <a:pt x="643391" y="2063542"/>
                    <a:pt x="674749" y="2073991"/>
                    <a:pt x="695656" y="2047858"/>
                  </a:cubicBezTo>
                  <a:cubicBezTo>
                    <a:pt x="695656" y="2042634"/>
                    <a:pt x="695656" y="2026956"/>
                    <a:pt x="695656" y="2021726"/>
                  </a:cubicBezTo>
                  <a:cubicBezTo>
                    <a:pt x="695656" y="2016497"/>
                    <a:pt x="690427" y="2016497"/>
                    <a:pt x="685203" y="2016497"/>
                  </a:cubicBezTo>
                  <a:cubicBezTo>
                    <a:pt x="679977" y="2021726"/>
                    <a:pt x="674749" y="2021726"/>
                    <a:pt x="674749" y="2021726"/>
                  </a:cubicBezTo>
                  <a:cubicBezTo>
                    <a:pt x="674749" y="2011273"/>
                    <a:pt x="664295" y="1995590"/>
                    <a:pt x="653841" y="1995590"/>
                  </a:cubicBezTo>
                  <a:cubicBezTo>
                    <a:pt x="617255" y="2000819"/>
                    <a:pt x="580669" y="1985140"/>
                    <a:pt x="554532" y="1959003"/>
                  </a:cubicBezTo>
                  <a:cubicBezTo>
                    <a:pt x="575440" y="1953779"/>
                    <a:pt x="591123" y="1948555"/>
                    <a:pt x="612026" y="1953779"/>
                  </a:cubicBezTo>
                  <a:cubicBezTo>
                    <a:pt x="632933" y="1953779"/>
                    <a:pt x="622484" y="1922418"/>
                    <a:pt x="643391" y="1906739"/>
                  </a:cubicBezTo>
                  <a:cubicBezTo>
                    <a:pt x="648617" y="1906739"/>
                    <a:pt x="653841" y="1906739"/>
                    <a:pt x="664295" y="1906739"/>
                  </a:cubicBezTo>
                  <a:cubicBezTo>
                    <a:pt x="700886" y="1854470"/>
                    <a:pt x="779287" y="1844016"/>
                    <a:pt x="794965" y="1791751"/>
                  </a:cubicBezTo>
                  <a:cubicBezTo>
                    <a:pt x="784512" y="1776068"/>
                    <a:pt x="747926" y="1776068"/>
                    <a:pt x="721793" y="1770844"/>
                  </a:cubicBezTo>
                  <a:cubicBezTo>
                    <a:pt x="685203" y="1760386"/>
                    <a:pt x="648617" y="1770844"/>
                    <a:pt x="612026" y="1770844"/>
                  </a:cubicBezTo>
                  <a:cubicBezTo>
                    <a:pt x="559761" y="1781294"/>
                    <a:pt x="512721" y="1791751"/>
                    <a:pt x="470906" y="1807430"/>
                  </a:cubicBezTo>
                  <a:cubicBezTo>
                    <a:pt x="507492" y="1781294"/>
                    <a:pt x="549308" y="1755161"/>
                    <a:pt x="591123" y="1744708"/>
                  </a:cubicBezTo>
                  <a:cubicBezTo>
                    <a:pt x="622484" y="1739483"/>
                    <a:pt x="653841" y="1718575"/>
                    <a:pt x="690427" y="1718575"/>
                  </a:cubicBezTo>
                  <a:cubicBezTo>
                    <a:pt x="708723" y="1715963"/>
                    <a:pt x="728326" y="1710734"/>
                    <a:pt x="747271" y="1708122"/>
                  </a:cubicBezTo>
                  <a:cubicBezTo>
                    <a:pt x="756746" y="1706815"/>
                    <a:pt x="766056" y="1706162"/>
                    <a:pt x="774958" y="1706815"/>
                  </a:cubicBezTo>
                  <a:close/>
                  <a:moveTo>
                    <a:pt x="0" y="0"/>
                  </a:moveTo>
                  <a:lnTo>
                    <a:pt x="134494" y="20508"/>
                  </a:lnTo>
                  <a:cubicBezTo>
                    <a:pt x="1087340" y="215306"/>
                    <a:pt x="1803080" y="1057386"/>
                    <a:pt x="1798505" y="2063537"/>
                  </a:cubicBezTo>
                  <a:cubicBezTo>
                    <a:pt x="1798505" y="3069687"/>
                    <a:pt x="1082192" y="3911768"/>
                    <a:pt x="132779" y="4106567"/>
                  </a:cubicBezTo>
                  <a:lnTo>
                    <a:pt x="0" y="4126890"/>
                  </a:lnTo>
                  <a:lnTo>
                    <a:pt x="0" y="3728548"/>
                  </a:lnTo>
                  <a:lnTo>
                    <a:pt x="16180" y="3725651"/>
                  </a:lnTo>
                  <a:cubicBezTo>
                    <a:pt x="26629" y="3647250"/>
                    <a:pt x="42313" y="3558390"/>
                    <a:pt x="63216" y="3459081"/>
                  </a:cubicBezTo>
                  <a:cubicBezTo>
                    <a:pt x="105031" y="3338869"/>
                    <a:pt x="172984" y="3223877"/>
                    <a:pt x="282742" y="3145476"/>
                  </a:cubicBezTo>
                  <a:cubicBezTo>
                    <a:pt x="308878" y="3129797"/>
                    <a:pt x="340235" y="3124573"/>
                    <a:pt x="371597" y="3119344"/>
                  </a:cubicBezTo>
                  <a:cubicBezTo>
                    <a:pt x="481360" y="3119344"/>
                    <a:pt x="591123" y="3155934"/>
                    <a:pt x="700886" y="3166384"/>
                  </a:cubicBezTo>
                  <a:cubicBezTo>
                    <a:pt x="711335" y="3166384"/>
                    <a:pt x="727018" y="3171613"/>
                    <a:pt x="737472" y="3176842"/>
                  </a:cubicBezTo>
                  <a:cubicBezTo>
                    <a:pt x="774058" y="3182066"/>
                    <a:pt x="821102" y="3182066"/>
                    <a:pt x="857688" y="3171613"/>
                  </a:cubicBezTo>
                  <a:cubicBezTo>
                    <a:pt x="899504" y="3155934"/>
                    <a:pt x="951773" y="3129797"/>
                    <a:pt x="972676" y="3072304"/>
                  </a:cubicBezTo>
                  <a:cubicBezTo>
                    <a:pt x="988359" y="3025264"/>
                    <a:pt x="1004037" y="2978220"/>
                    <a:pt x="977905" y="2931180"/>
                  </a:cubicBezTo>
                  <a:cubicBezTo>
                    <a:pt x="936090" y="2873686"/>
                    <a:pt x="1014491" y="2852779"/>
                    <a:pt x="1040624" y="2816193"/>
                  </a:cubicBezTo>
                  <a:cubicBezTo>
                    <a:pt x="1056306" y="2784831"/>
                    <a:pt x="1024945" y="2763924"/>
                    <a:pt x="1019715" y="2732567"/>
                  </a:cubicBezTo>
                  <a:cubicBezTo>
                    <a:pt x="1009266" y="2716884"/>
                    <a:pt x="983129" y="2727338"/>
                    <a:pt x="972676" y="2706430"/>
                  </a:cubicBezTo>
                  <a:cubicBezTo>
                    <a:pt x="1019715" y="2690752"/>
                    <a:pt x="1087668" y="2648936"/>
                    <a:pt x="1056306" y="2591443"/>
                  </a:cubicBezTo>
                  <a:cubicBezTo>
                    <a:pt x="1040624" y="2560081"/>
                    <a:pt x="1009266" y="2507812"/>
                    <a:pt x="1045852" y="2476455"/>
                  </a:cubicBezTo>
                  <a:cubicBezTo>
                    <a:pt x="1092893" y="2450319"/>
                    <a:pt x="1160840" y="2460773"/>
                    <a:pt x="1181748" y="2413732"/>
                  </a:cubicBezTo>
                  <a:cubicBezTo>
                    <a:pt x="1213109" y="2335331"/>
                    <a:pt x="1139933" y="2267384"/>
                    <a:pt x="1103347" y="2204661"/>
                  </a:cubicBezTo>
                  <a:cubicBezTo>
                    <a:pt x="1082438" y="2162850"/>
                    <a:pt x="1056306" y="2136714"/>
                    <a:pt x="1030174" y="2100128"/>
                  </a:cubicBezTo>
                  <a:cubicBezTo>
                    <a:pt x="1004037" y="2053088"/>
                    <a:pt x="967451" y="2016497"/>
                    <a:pt x="956997" y="1964233"/>
                  </a:cubicBezTo>
                  <a:cubicBezTo>
                    <a:pt x="936090" y="1917188"/>
                    <a:pt x="962222" y="1870153"/>
                    <a:pt x="962222" y="1817884"/>
                  </a:cubicBezTo>
                  <a:cubicBezTo>
                    <a:pt x="967451" y="1718575"/>
                    <a:pt x="941314" y="1624491"/>
                    <a:pt x="915182" y="1525182"/>
                  </a:cubicBezTo>
                  <a:cubicBezTo>
                    <a:pt x="894274" y="1483371"/>
                    <a:pt x="889046" y="1431102"/>
                    <a:pt x="868137" y="1384063"/>
                  </a:cubicBezTo>
                  <a:cubicBezTo>
                    <a:pt x="862913" y="1357926"/>
                    <a:pt x="857688" y="1331793"/>
                    <a:pt x="836781" y="1305661"/>
                  </a:cubicBezTo>
                  <a:cubicBezTo>
                    <a:pt x="831551" y="1289978"/>
                    <a:pt x="831551" y="1269075"/>
                    <a:pt x="836781" y="1258617"/>
                  </a:cubicBezTo>
                  <a:cubicBezTo>
                    <a:pt x="862913" y="1242938"/>
                    <a:pt x="889046" y="1222031"/>
                    <a:pt x="915182" y="1195899"/>
                  </a:cubicBezTo>
                  <a:cubicBezTo>
                    <a:pt x="936090" y="1159308"/>
                    <a:pt x="920406" y="1117497"/>
                    <a:pt x="889046" y="1096590"/>
                  </a:cubicBezTo>
                  <a:cubicBezTo>
                    <a:pt x="842005" y="1075682"/>
                    <a:pt x="847234" y="1143630"/>
                    <a:pt x="815873" y="1154084"/>
                  </a:cubicBezTo>
                  <a:cubicBezTo>
                    <a:pt x="805419" y="1154084"/>
                    <a:pt x="800195" y="1154084"/>
                    <a:pt x="794965" y="1154084"/>
                  </a:cubicBezTo>
                  <a:cubicBezTo>
                    <a:pt x="789736" y="1138405"/>
                    <a:pt x="805419" y="1127951"/>
                    <a:pt x="815873" y="1117497"/>
                  </a:cubicBezTo>
                  <a:cubicBezTo>
                    <a:pt x="815873" y="1107044"/>
                    <a:pt x="815873" y="1096590"/>
                    <a:pt x="810644" y="1096590"/>
                  </a:cubicBezTo>
                  <a:cubicBezTo>
                    <a:pt x="784512" y="1096590"/>
                    <a:pt x="758379" y="1086136"/>
                    <a:pt x="753150" y="1075682"/>
                  </a:cubicBezTo>
                  <a:cubicBezTo>
                    <a:pt x="690427" y="986827"/>
                    <a:pt x="601576" y="939788"/>
                    <a:pt x="502267" y="903201"/>
                  </a:cubicBezTo>
                  <a:cubicBezTo>
                    <a:pt x="528400" y="908426"/>
                    <a:pt x="554532" y="913655"/>
                    <a:pt x="580669" y="913655"/>
                  </a:cubicBezTo>
                  <a:cubicBezTo>
                    <a:pt x="627709" y="924104"/>
                    <a:pt x="679977" y="924104"/>
                    <a:pt x="716564" y="903201"/>
                  </a:cubicBezTo>
                  <a:cubicBezTo>
                    <a:pt x="747926" y="887518"/>
                    <a:pt x="758379" y="835254"/>
                    <a:pt x="768833" y="803892"/>
                  </a:cubicBezTo>
                  <a:cubicBezTo>
                    <a:pt x="779287" y="777760"/>
                    <a:pt x="758379" y="741169"/>
                    <a:pt x="747926" y="720266"/>
                  </a:cubicBezTo>
                  <a:cubicBezTo>
                    <a:pt x="716564" y="673222"/>
                    <a:pt x="669524" y="641865"/>
                    <a:pt x="622484" y="615728"/>
                  </a:cubicBezTo>
                  <a:cubicBezTo>
                    <a:pt x="442159" y="549087"/>
                    <a:pt x="242725" y="500821"/>
                    <a:pt x="37962" y="478373"/>
                  </a:cubicBezTo>
                  <a:lnTo>
                    <a:pt x="0" y="475873"/>
                  </a:lnTo>
                  <a:close/>
                </a:path>
              </a:pathLst>
            </a:custGeom>
            <a:solidFill>
              <a:srgbClr val="5770BE">
                <a:alpha val="25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/>
              <a:endParaRPr lang="fr-FR" sz="1100" b="1" kern="0" cap="all">
                <a:solidFill>
                  <a:srgbClr val="4E65AB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10" name="Forme libre : forme 9">
              <a:extLst>
                <a:ext uri="{FF2B5EF4-FFF2-40B4-BE49-F238E27FC236}">
                  <a16:creationId xmlns:a16="http://schemas.microsoft.com/office/drawing/2014/main" id="{6D8EA498-FCF7-4A40-85F3-A03DB3538B27}"/>
                </a:ext>
              </a:extLst>
            </p:cNvPr>
            <p:cNvSpPr/>
            <p:nvPr/>
          </p:nvSpPr>
          <p:spPr>
            <a:xfrm>
              <a:off x="1" y="1590199"/>
              <a:ext cx="1629834" cy="3677602"/>
            </a:xfrm>
            <a:custGeom>
              <a:avLst/>
              <a:gdLst>
                <a:gd name="connsiteX0" fmla="*/ 0 w 1951075"/>
                <a:gd name="connsiteY0" fmla="*/ 0 h 4402459"/>
                <a:gd name="connsiteX1" fmla="*/ 179327 w 1951075"/>
                <a:gd name="connsiteY1" fmla="*/ 27368 h 4402459"/>
                <a:gd name="connsiteX2" fmla="*/ 1951075 w 1951075"/>
                <a:gd name="connsiteY2" fmla="*/ 2201229 h 4402459"/>
                <a:gd name="connsiteX3" fmla="*/ 179327 w 1951075"/>
                <a:gd name="connsiteY3" fmla="*/ 4375090 h 4402459"/>
                <a:gd name="connsiteX4" fmla="*/ 0 w 1951075"/>
                <a:gd name="connsiteY4" fmla="*/ 4402459 h 4402459"/>
                <a:gd name="connsiteX0" fmla="*/ 28575 w 1979650"/>
                <a:gd name="connsiteY0" fmla="*/ 0 h 4402459"/>
                <a:gd name="connsiteX1" fmla="*/ 207902 w 1979650"/>
                <a:gd name="connsiteY1" fmla="*/ 27368 h 4402459"/>
                <a:gd name="connsiteX2" fmla="*/ 1979650 w 1979650"/>
                <a:gd name="connsiteY2" fmla="*/ 2201229 h 4402459"/>
                <a:gd name="connsiteX3" fmla="*/ 207902 w 1979650"/>
                <a:gd name="connsiteY3" fmla="*/ 4375090 h 4402459"/>
                <a:gd name="connsiteX4" fmla="*/ 28575 w 1979650"/>
                <a:gd name="connsiteY4" fmla="*/ 4402459 h 4402459"/>
                <a:gd name="connsiteX5" fmla="*/ 0 w 1979650"/>
                <a:gd name="connsiteY5" fmla="*/ 2007808 h 4402459"/>
                <a:gd name="connsiteX6" fmla="*/ 28575 w 1979650"/>
                <a:gd name="connsiteY6" fmla="*/ 0 h 4402459"/>
                <a:gd name="connsiteX0" fmla="*/ 0 w 1979650"/>
                <a:gd name="connsiteY0" fmla="*/ 2007808 h 4402459"/>
                <a:gd name="connsiteX1" fmla="*/ 28575 w 1979650"/>
                <a:gd name="connsiteY1" fmla="*/ 0 h 4402459"/>
                <a:gd name="connsiteX2" fmla="*/ 207902 w 1979650"/>
                <a:gd name="connsiteY2" fmla="*/ 27368 h 4402459"/>
                <a:gd name="connsiteX3" fmla="*/ 1979650 w 1979650"/>
                <a:gd name="connsiteY3" fmla="*/ 2201229 h 4402459"/>
                <a:gd name="connsiteX4" fmla="*/ 207902 w 1979650"/>
                <a:gd name="connsiteY4" fmla="*/ 4375090 h 4402459"/>
                <a:gd name="connsiteX5" fmla="*/ 28575 w 1979650"/>
                <a:gd name="connsiteY5" fmla="*/ 4402459 h 4402459"/>
                <a:gd name="connsiteX6" fmla="*/ 91440 w 1979650"/>
                <a:gd name="connsiteY6" fmla="*/ 2099248 h 4402459"/>
                <a:gd name="connsiteX0" fmla="*/ 0 w 1979650"/>
                <a:gd name="connsiteY0" fmla="*/ 2007808 h 4402459"/>
                <a:gd name="connsiteX1" fmla="*/ 28575 w 1979650"/>
                <a:gd name="connsiteY1" fmla="*/ 0 h 4402459"/>
                <a:gd name="connsiteX2" fmla="*/ 207902 w 1979650"/>
                <a:gd name="connsiteY2" fmla="*/ 27368 h 4402459"/>
                <a:gd name="connsiteX3" fmla="*/ 1979650 w 1979650"/>
                <a:gd name="connsiteY3" fmla="*/ 2201229 h 4402459"/>
                <a:gd name="connsiteX4" fmla="*/ 207902 w 1979650"/>
                <a:gd name="connsiteY4" fmla="*/ 4375090 h 4402459"/>
                <a:gd name="connsiteX5" fmla="*/ 28575 w 1979650"/>
                <a:gd name="connsiteY5" fmla="*/ 4402459 h 4402459"/>
                <a:gd name="connsiteX0" fmla="*/ 0 w 1951075"/>
                <a:gd name="connsiteY0" fmla="*/ 0 h 4402459"/>
                <a:gd name="connsiteX1" fmla="*/ 179327 w 1951075"/>
                <a:gd name="connsiteY1" fmla="*/ 27368 h 4402459"/>
                <a:gd name="connsiteX2" fmla="*/ 1951075 w 1951075"/>
                <a:gd name="connsiteY2" fmla="*/ 2201229 h 4402459"/>
                <a:gd name="connsiteX3" fmla="*/ 179327 w 1951075"/>
                <a:gd name="connsiteY3" fmla="*/ 4375090 h 4402459"/>
                <a:gd name="connsiteX4" fmla="*/ 0 w 1951075"/>
                <a:gd name="connsiteY4" fmla="*/ 4402459 h 4402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1075" h="4402459">
                  <a:moveTo>
                    <a:pt x="0" y="0"/>
                  </a:moveTo>
                  <a:lnTo>
                    <a:pt x="179327" y="27368"/>
                  </a:lnTo>
                  <a:cubicBezTo>
                    <a:pt x="1190462" y="234276"/>
                    <a:pt x="1951075" y="1128927"/>
                    <a:pt x="1951075" y="2201229"/>
                  </a:cubicBezTo>
                  <a:cubicBezTo>
                    <a:pt x="1951075" y="3273531"/>
                    <a:pt x="1190462" y="4168182"/>
                    <a:pt x="179327" y="4375090"/>
                  </a:cubicBezTo>
                  <a:lnTo>
                    <a:pt x="0" y="4402459"/>
                  </a:lnTo>
                </a:path>
              </a:pathLst>
            </a:custGeom>
            <a:noFill/>
            <a:ln w="15875" cap="flat" cmpd="sng" algn="ctr">
              <a:solidFill>
                <a:schemeClr val="accent3">
                  <a:alpha val="10000"/>
                </a:schemeClr>
              </a:solidFill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12964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CA5D348-1AC1-4F7D-8796-CB2E66F168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8961352" cy="1068083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A7AC604-3EA4-4DC7-B1E4-1906B1FC2F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01A54-8D99-453F-95E7-C4348E665EE0}" type="datetime1">
              <a:rPr lang="fr-FR" smtClean="0"/>
              <a:t>22/11/2022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99C0182-12A1-40D5-936A-5497EC719F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COMEX – 9 avril 2021 - POUR INFORMAT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4483E3E-D4DF-43E7-84C2-67715B942C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2D038-4989-45BB-AD16-38E0E231338A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AA91631E-6EF0-4B58-9AC5-3BCD2A95FEE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9999" y="2267998"/>
            <a:ext cx="11113200" cy="3848400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9368154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8A6DE50D-4D1B-487C-AC7F-A37DEBC376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8961352" cy="106808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fr-FR" dirty="0"/>
              <a:t>Modifiez le </a:t>
            </a:r>
            <a:br>
              <a:rPr lang="fr-FR" dirty="0"/>
            </a:br>
            <a:r>
              <a:rPr lang="fr-FR" dirty="0"/>
              <a:t>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B3F4B84-25CB-4691-A0ED-00201C88C8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2268000"/>
            <a:ext cx="11113838" cy="384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</a:t>
            </a:r>
          </a:p>
          <a:p>
            <a:pPr lvl="6"/>
            <a:r>
              <a:rPr lang="fr-FR" dirty="0"/>
              <a:t>Sept</a:t>
            </a:r>
          </a:p>
          <a:p>
            <a:pPr lvl="7"/>
            <a:r>
              <a:rPr lang="fr-FR" dirty="0"/>
              <a:t>Huit</a:t>
            </a:r>
          </a:p>
          <a:p>
            <a:pPr lvl="8"/>
            <a:r>
              <a:rPr lang="fr-FR" dirty="0"/>
              <a:t>Neuf 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2585B3A-0AE6-4965-9AD4-16CDEFB930A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908800" y="6511056"/>
            <a:ext cx="27432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pPr algn="r"/>
            <a:fld id="{B33E9765-494A-4E95-B947-406CD3FB9FAF}" type="datetime1">
              <a:rPr lang="fr-FR" smtClean="0"/>
              <a:t>22/11/2022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F3296DC-2BB8-4DEF-A00C-23621F190E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8162" y="6511056"/>
            <a:ext cx="6480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Présentation SA « Produits </a:t>
            </a:r>
            <a:r>
              <a:rPr lang="fr-FR" dirty="0" err="1"/>
              <a:t>biosourcés</a:t>
            </a:r>
            <a:r>
              <a:rPr lang="fr-FR" dirty="0"/>
              <a:t>, biotechnologies industrielles, carburants durables »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FBFCA44-53F9-47B8-BA6C-5E4C4A054B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92590" y="6511056"/>
            <a:ext cx="65024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6C02D038-4989-45BB-AD16-38E0E231338A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0549381A-CAF3-4E1A-88B6-67DEEF9DBC85}"/>
              </a:ext>
            </a:extLst>
          </p:cNvPr>
          <p:cNvSpPr>
            <a:spLocks noChangeAspect="1"/>
          </p:cNvSpPr>
          <p:nvPr userDrawn="1"/>
        </p:nvSpPr>
        <p:spPr>
          <a:xfrm>
            <a:off x="11545838" y="6534000"/>
            <a:ext cx="108000" cy="10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fr-FR"/>
          </a:p>
        </p:txBody>
      </p: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D7DBB911-5E2F-465B-AB7B-52BB437A4B6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38163" y="6318000"/>
            <a:ext cx="11113837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e 9">
            <a:extLst>
              <a:ext uri="{FF2B5EF4-FFF2-40B4-BE49-F238E27FC236}">
                <a16:creationId xmlns:a16="http://schemas.microsoft.com/office/drawing/2014/main" id="{FE612FD9-BDB7-4BF4-AF45-B268FC47A720}"/>
              </a:ext>
            </a:extLst>
          </p:cNvPr>
          <p:cNvGrpSpPr/>
          <p:nvPr userDrawn="1"/>
        </p:nvGrpSpPr>
        <p:grpSpPr>
          <a:xfrm>
            <a:off x="10061357" y="512156"/>
            <a:ext cx="1592481" cy="198907"/>
            <a:chOff x="10061357" y="512156"/>
            <a:chExt cx="1592481" cy="198907"/>
          </a:xfrm>
        </p:grpSpPr>
        <p:sp>
          <p:nvSpPr>
            <p:cNvPr id="9" name="Forme libre : forme 8">
              <a:extLst>
                <a:ext uri="{FF2B5EF4-FFF2-40B4-BE49-F238E27FC236}">
                  <a16:creationId xmlns:a16="http://schemas.microsoft.com/office/drawing/2014/main" id="{20FE8B89-46E2-4A7C-A774-76FA05A9F30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1189201" y="540544"/>
              <a:ext cx="464637" cy="170519"/>
            </a:xfrm>
            <a:custGeom>
              <a:avLst/>
              <a:gdLst>
                <a:gd name="connsiteX0" fmla="*/ 0 w 464637"/>
                <a:gd name="connsiteY0" fmla="*/ 0 h 170519"/>
                <a:gd name="connsiteX1" fmla="*/ 0 w 464637"/>
                <a:gd name="connsiteY1" fmla="*/ 82673 h 170519"/>
                <a:gd name="connsiteX2" fmla="*/ 381965 w 464637"/>
                <a:gd name="connsiteY2" fmla="*/ 82673 h 170519"/>
                <a:gd name="connsiteX3" fmla="*/ 381965 w 464637"/>
                <a:gd name="connsiteY3" fmla="*/ 170520 h 170519"/>
                <a:gd name="connsiteX4" fmla="*/ 464638 w 464637"/>
                <a:gd name="connsiteY4" fmla="*/ 170520 h 170519"/>
                <a:gd name="connsiteX5" fmla="*/ 464638 w 464637"/>
                <a:gd name="connsiteY5" fmla="*/ 0 h 170519"/>
                <a:gd name="connsiteX6" fmla="*/ 0 w 464637"/>
                <a:gd name="connsiteY6" fmla="*/ 0 h 170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4637" h="170519">
                  <a:moveTo>
                    <a:pt x="0" y="0"/>
                  </a:moveTo>
                  <a:lnTo>
                    <a:pt x="0" y="82673"/>
                  </a:lnTo>
                  <a:lnTo>
                    <a:pt x="381965" y="82673"/>
                  </a:lnTo>
                  <a:lnTo>
                    <a:pt x="381965" y="170520"/>
                  </a:lnTo>
                  <a:lnTo>
                    <a:pt x="464638" y="170520"/>
                  </a:lnTo>
                  <a:lnTo>
                    <a:pt x="46463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sp>
          <p:nvSpPr>
            <p:cNvPr id="8" name="ZoneTexte 7">
              <a:extLst>
                <a:ext uri="{FF2B5EF4-FFF2-40B4-BE49-F238E27FC236}">
                  <a16:creationId xmlns:a16="http://schemas.microsoft.com/office/drawing/2014/main" id="{ED79AA6D-2F37-4C4B-81C1-743DD51074BD}"/>
                </a:ext>
              </a:extLst>
            </p:cNvPr>
            <p:cNvSpPr txBox="1"/>
            <p:nvPr userDrawn="1"/>
          </p:nvSpPr>
          <p:spPr>
            <a:xfrm>
              <a:off x="10061357" y="512156"/>
              <a:ext cx="1102866" cy="1384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/>
              <a:r>
                <a:rPr lang="fr-FR" sz="900" b="1" cap="all" baseline="0" dirty="0">
                  <a:solidFill>
                    <a:schemeClr val="accent1"/>
                  </a:solidFill>
                </a:rPr>
                <a:t>Investir l’aveni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88181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8" r:id="rId2"/>
    <p:sldLayoutId id="2147483664" r:id="rId3"/>
    <p:sldLayoutId id="2147483670" r:id="rId4"/>
    <p:sldLayoutId id="2147483673" r:id="rId5"/>
    <p:sldLayoutId id="2147483674" r:id="rId6"/>
    <p:sldLayoutId id="2147483666" r:id="rId7"/>
    <p:sldLayoutId id="2147483676" r:id="rId8"/>
    <p:sldLayoutId id="2147483650" r:id="rId9"/>
    <p:sldLayoutId id="2147483661" r:id="rId10"/>
    <p:sldLayoutId id="2147483663" r:id="rId11"/>
    <p:sldLayoutId id="2147483654" r:id="rId12"/>
    <p:sldLayoutId id="2147483655" r:id="rId13"/>
    <p:sldLayoutId id="2147483675" r:id="rId14"/>
    <p:sldLayoutId id="2147483672" r:id="rId15"/>
    <p:sldLayoutId id="2147483665" r:id="rId16"/>
    <p:sldLayoutId id="2147483669" r:id="rId17"/>
    <p:sldLayoutId id="2147483649" r:id="rId18"/>
    <p:sldLayoutId id="2147483667" r:id="rId19"/>
    <p:sldLayoutId id="2147483671" r:id="rId20"/>
    <p:sldLayoutId id="2147483662" r:id="rId21"/>
    <p:sldLayoutId id="2147483677" r:id="rId22"/>
    <p:sldLayoutId id="2147483678" r:id="rId23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4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200"/>
        </a:spcBef>
        <a:spcAft>
          <a:spcPts val="300"/>
        </a:spcAft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just" defTabSz="914400" rtl="0" eaLnBrk="1" latinLnBrk="0" hangingPunct="1">
        <a:lnSpc>
          <a:spcPct val="120000"/>
        </a:lnSpc>
        <a:spcBef>
          <a:spcPts val="600"/>
        </a:spcBef>
        <a:spcAft>
          <a:spcPts val="4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180000" algn="l" defTabSz="914400" rtl="0" eaLnBrk="1" latinLnBrk="0" hangingPunct="1">
        <a:lnSpc>
          <a:spcPct val="100000"/>
        </a:lnSpc>
        <a:spcBef>
          <a:spcPts val="100"/>
        </a:spcBef>
        <a:spcAft>
          <a:spcPts val="200"/>
        </a:spcAft>
        <a:buClr>
          <a:schemeClr val="accent1"/>
        </a:buClr>
        <a:buFont typeface="Arial" panose="020B0604020202020204" pitchFamily="34" charset="0"/>
        <a:buChar char="‒"/>
        <a:defRPr sz="1050" kern="1200">
          <a:solidFill>
            <a:schemeClr val="accent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Font typeface="Arial" panose="020B0604020202020204" pitchFamily="34" charset="0"/>
        <a:buNone/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400"/>
        </a:spcBef>
        <a:spcAft>
          <a:spcPts val="2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7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700" i="1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39" userDrawn="1">
          <p15:clr>
            <a:srgbClr val="A4A3A4"/>
          </p15:clr>
        </p15:guide>
        <p15:guide id="4" pos="7341" userDrawn="1">
          <p15:clr>
            <a:srgbClr val="A4A3A4"/>
          </p15:clr>
        </p15:guide>
        <p15:guide id="5" orient="horz" pos="339" userDrawn="1">
          <p15:clr>
            <a:srgbClr val="A4A3A4"/>
          </p15:clr>
        </p15:guide>
        <p15:guide id="6" orient="horz" pos="3981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3555038"/>
            <a:ext cx="352025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3600" b="1" dirty="0"/>
              <a:t>Nom du proje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29" y="5791640"/>
            <a:ext cx="4121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>
                <a:solidFill>
                  <a:srgbClr val="FF0000"/>
                </a:solidFill>
              </a:rPr>
              <a:t>Document confidentiel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29" y="6273225"/>
            <a:ext cx="382391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1600" b="1" dirty="0"/>
              <a:t>Date de présentation : JJ/MM/AAA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4126291"/>
            <a:ext cx="67808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/>
              <a:t>Sous-titre du projet </a:t>
            </a: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/>
              <a:t>Présentation de pré-dépôt  </a:t>
            </a:r>
          </a:p>
        </p:txBody>
      </p:sp>
      <p:sp>
        <p:nvSpPr>
          <p:cNvPr id="7" name="Sous-titre 6"/>
          <p:cNvSpPr>
            <a:spLocks noGrp="1"/>
          </p:cNvSpPr>
          <p:nvPr>
            <p:ph type="subTitle" idx="4294967295"/>
          </p:nvPr>
        </p:nvSpPr>
        <p:spPr>
          <a:xfrm>
            <a:off x="1923129" y="1698031"/>
            <a:ext cx="7423150" cy="390525"/>
          </a:xfrm>
        </p:spPr>
        <p:txBody>
          <a:bodyPr/>
          <a:lstStyle/>
          <a:p>
            <a:r>
              <a:rPr lang="fr-FR" sz="2000" b="1" dirty="0"/>
              <a:t>Stratégie :  </a:t>
            </a:r>
            <a:r>
              <a:rPr lang="fr-FR" sz="2000" dirty="0"/>
              <a:t>TASE</a:t>
            </a:r>
            <a:endParaRPr lang="fr-FR" sz="2000" b="1" dirty="0"/>
          </a:p>
        </p:txBody>
      </p:sp>
      <p:sp>
        <p:nvSpPr>
          <p:cNvPr id="2" name="Rectangle 1"/>
          <p:cNvSpPr/>
          <p:nvPr/>
        </p:nvSpPr>
        <p:spPr>
          <a:xfrm>
            <a:off x="1923129" y="2118967"/>
            <a:ext cx="10160000" cy="4001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>
              <a:spcAft>
                <a:spcPts val="300"/>
              </a:spcAft>
            </a:pPr>
            <a:r>
              <a:rPr lang="fr-FR" sz="2000" b="1" dirty="0">
                <a:solidFill>
                  <a:schemeClr val="bg1">
                    <a:lumMod val="50000"/>
                  </a:schemeClr>
                </a:solidFill>
              </a:rPr>
              <a:t>Appel à Projet : Indus ENR</a:t>
            </a:r>
          </a:p>
        </p:txBody>
      </p:sp>
      <p:pic>
        <p:nvPicPr>
          <p:cNvPr id="12" name="Image 11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6842" y="494347"/>
            <a:ext cx="1428750" cy="719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62107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7"/>
          <p:cNvSpPr>
            <a:spLocks noGrp="1"/>
          </p:cNvSpPr>
          <p:nvPr>
            <p:ph type="title"/>
          </p:nvPr>
        </p:nvSpPr>
        <p:spPr>
          <a:xfrm>
            <a:off x="495300" y="274767"/>
            <a:ext cx="8915400" cy="770095"/>
          </a:xfrm>
        </p:spPr>
        <p:txBody>
          <a:bodyPr/>
          <a:lstStyle/>
          <a:p>
            <a:pPr lvl="0"/>
            <a:r>
              <a:rPr lang="fr-FR" dirty="0"/>
              <a:t>7. Organisation du projet</a:t>
            </a:r>
            <a:br>
              <a:rPr lang="fr-FR" dirty="0"/>
            </a:br>
            <a:r>
              <a:rPr lang="fr-FR" b="0" dirty="0"/>
              <a:t>(cf. Annexe 2) </a:t>
            </a:r>
            <a:endParaRPr lang="fr-FR" dirty="0"/>
          </a:p>
        </p:txBody>
      </p:sp>
      <p:sp>
        <p:nvSpPr>
          <p:cNvPr id="3" name="Espace réservé du contenu 8"/>
          <p:cNvSpPr txBox="1">
            <a:spLocks/>
          </p:cNvSpPr>
          <p:nvPr/>
        </p:nvSpPr>
        <p:spPr bwMode="gray">
          <a:xfrm>
            <a:off x="4583113" y="1304925"/>
            <a:ext cx="5190392" cy="1948414"/>
          </a:xfrm>
          <a:prstGeom prst="wedgeRectCallout">
            <a:avLst>
              <a:gd name="adj1" fmla="val -61559"/>
              <a:gd name="adj2" fmla="val -924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38600" lvl="2" indent="-342900">
              <a:buClrTx/>
              <a:buFont typeface="Arial" panose="020B0604020202020204" pitchFamily="34" charset="0"/>
              <a:buChar char="•"/>
            </a:pPr>
            <a:r>
              <a:rPr lang="fr-FR" i="1" dirty="0"/>
              <a:t>Durée et localisation du projet</a:t>
            </a:r>
          </a:p>
          <a:p>
            <a:pPr marL="838600" lvl="2" indent="-342900">
              <a:buClrTx/>
              <a:buFont typeface="Arial" panose="020B0604020202020204" pitchFamily="34" charset="0"/>
              <a:buChar char="•"/>
            </a:pPr>
            <a:r>
              <a:rPr lang="fr-FR" i="1" dirty="0"/>
              <a:t>Description des principaux lots</a:t>
            </a:r>
          </a:p>
          <a:p>
            <a:pPr marL="838600" lvl="2" indent="-342900">
              <a:buClrTx/>
              <a:buFont typeface="Arial" panose="020B0604020202020204" pitchFamily="34" charset="0"/>
              <a:buChar char="•"/>
            </a:pPr>
            <a:r>
              <a:rPr lang="fr-FR" i="1" dirty="0"/>
              <a:t>Planning/GANTT avec les entreprises responsables des lots </a:t>
            </a:r>
          </a:p>
          <a:p>
            <a:pPr marL="838600" lvl="2" indent="-342900">
              <a:buClrTx/>
              <a:buFont typeface="Arial" panose="020B0604020202020204" pitchFamily="34" charset="0"/>
              <a:buChar char="•"/>
            </a:pPr>
            <a:r>
              <a:rPr lang="fr-FR" i="1" dirty="0"/>
              <a:t>Jalons</a:t>
            </a:r>
          </a:p>
          <a:p>
            <a:pPr marL="838600" lvl="2" indent="-342900">
              <a:buClrTx/>
              <a:buFont typeface="Arial" panose="020B0604020202020204" pitchFamily="34" charset="0"/>
              <a:buChar char="•"/>
            </a:pPr>
            <a:r>
              <a:rPr lang="fr-FR" i="1" dirty="0"/>
              <a:t>Livrables</a:t>
            </a:r>
          </a:p>
        </p:txBody>
      </p:sp>
    </p:spTree>
    <p:extLst>
      <p:ext uri="{BB962C8B-B14F-4D97-AF65-F5344CB8AC3E}">
        <p14:creationId xmlns:p14="http://schemas.microsoft.com/office/powerpoint/2010/main" val="36268115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7"/>
          <p:cNvSpPr>
            <a:spLocks noGrp="1"/>
          </p:cNvSpPr>
          <p:nvPr>
            <p:ph type="title"/>
          </p:nvPr>
        </p:nvSpPr>
        <p:spPr>
          <a:xfrm>
            <a:off x="495300" y="274767"/>
            <a:ext cx="8915400" cy="770095"/>
          </a:xfrm>
        </p:spPr>
        <p:txBody>
          <a:bodyPr/>
          <a:lstStyle/>
          <a:p>
            <a:pPr lvl="0"/>
            <a:r>
              <a:rPr lang="fr-FR" dirty="0"/>
              <a:t>5. Partenariat  et pertinence du consortium</a:t>
            </a:r>
            <a:br>
              <a:rPr lang="fr-FR" dirty="0"/>
            </a:br>
            <a:r>
              <a:rPr lang="fr-FR" b="0" dirty="0"/>
              <a:t>(cf. Annexe 2) </a:t>
            </a:r>
            <a:endParaRPr lang="fr-FR" dirty="0"/>
          </a:p>
        </p:txBody>
      </p:sp>
      <p:sp>
        <p:nvSpPr>
          <p:cNvPr id="3" name="Espace réservé du contenu 8"/>
          <p:cNvSpPr txBox="1">
            <a:spLocks/>
          </p:cNvSpPr>
          <p:nvPr/>
        </p:nvSpPr>
        <p:spPr bwMode="gray">
          <a:xfrm>
            <a:off x="4583113" y="1304925"/>
            <a:ext cx="5499882" cy="2583681"/>
          </a:xfrm>
          <a:prstGeom prst="wedgeRectCallout">
            <a:avLst>
              <a:gd name="adj1" fmla="val -64413"/>
              <a:gd name="adj2" fmla="val -770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ctivités de chacun des partenaires (projets de type </a:t>
            </a:r>
            <a:r>
              <a:rPr lang="fr-FR" b="0" i="1" dirty="0" err="1"/>
              <a:t>monopartenaire</a:t>
            </a:r>
            <a:r>
              <a:rPr lang="fr-FR" b="0" i="1" dirty="0"/>
              <a:t> ou collaboratif avec 3 partenaires financés maximum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ouvernance et accords de consortium pressentis (liens entre les sociétés d’investissement, l’actionnariat, les sociétés d’exploitation, </a:t>
            </a:r>
            <a:r>
              <a:rPr lang="fr-FR" b="0" i="1" dirty="0" err="1"/>
              <a:t>etc</a:t>
            </a:r>
            <a:r>
              <a:rPr lang="fr-FR" b="0" i="1" dirty="0"/>
              <a:t> …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ertinence et apports dans l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ous-traitance pressentie : entreprise, tâches, rôle dans le projet …</a:t>
            </a:r>
          </a:p>
        </p:txBody>
      </p:sp>
    </p:spTree>
    <p:extLst>
      <p:ext uri="{BB962C8B-B14F-4D97-AF65-F5344CB8AC3E}">
        <p14:creationId xmlns:p14="http://schemas.microsoft.com/office/powerpoint/2010/main" val="24379477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7"/>
          <p:cNvSpPr>
            <a:spLocks noGrp="1"/>
          </p:cNvSpPr>
          <p:nvPr>
            <p:ph type="title"/>
          </p:nvPr>
        </p:nvSpPr>
        <p:spPr>
          <a:xfrm>
            <a:off x="495300" y="274767"/>
            <a:ext cx="8915400" cy="770095"/>
          </a:xfrm>
        </p:spPr>
        <p:txBody>
          <a:bodyPr/>
          <a:lstStyle/>
          <a:p>
            <a:pPr lvl="0"/>
            <a:r>
              <a:rPr lang="fr-FR" dirty="0"/>
              <a:t>8. Budget global du projet</a:t>
            </a:r>
            <a:br>
              <a:rPr lang="fr-FR" dirty="0"/>
            </a:br>
            <a:r>
              <a:rPr lang="fr-FR" b="0" dirty="0"/>
              <a:t>(cf. Annexe 3) </a:t>
            </a:r>
            <a:endParaRPr lang="fr-FR" dirty="0"/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4820700"/>
              </p:ext>
            </p:extLst>
          </p:nvPr>
        </p:nvGraphicFramePr>
        <p:xfrm>
          <a:off x="2487728" y="2128512"/>
          <a:ext cx="8724901" cy="2335545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79061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effectLst/>
                        </a:rPr>
                        <a:t>Partenaires </a:t>
                      </a:r>
                      <a:br>
                        <a:rPr lang="fr-FR" sz="1050" u="none" strike="noStrike" kern="1200" dirty="0">
                          <a:effectLst/>
                        </a:rPr>
                      </a:br>
                      <a:r>
                        <a:rPr lang="fr-FR" sz="1050" u="none" strike="noStrike" kern="1200" dirty="0">
                          <a:effectLst/>
                        </a:rPr>
                        <a:t> (3 max)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nt Frais</a:t>
                      </a:r>
                      <a:r>
                        <a:rPr lang="fr-FR" sz="105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personnel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Sous-traitance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Investissement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ommentaire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5381089" y="1667577"/>
            <a:ext cx="5831540" cy="2958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ysClr val="windowText" lastClr="000000"/>
                </a:solidFill>
                <a:latin typeface="Gill Sans MT" pitchFamily="34" charset="0"/>
              </a:rPr>
              <a:t>A titre informatif</a:t>
            </a:r>
          </a:p>
        </p:txBody>
      </p:sp>
    </p:spTree>
    <p:extLst>
      <p:ext uri="{BB962C8B-B14F-4D97-AF65-F5344CB8AC3E}">
        <p14:creationId xmlns:p14="http://schemas.microsoft.com/office/powerpoint/2010/main" val="34003408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7"/>
          <p:cNvSpPr>
            <a:spLocks noGrp="1"/>
          </p:cNvSpPr>
          <p:nvPr>
            <p:ph type="title"/>
          </p:nvPr>
        </p:nvSpPr>
        <p:spPr>
          <a:xfrm>
            <a:off x="495300" y="274767"/>
            <a:ext cx="8915400" cy="770095"/>
          </a:xfrm>
        </p:spPr>
        <p:txBody>
          <a:bodyPr/>
          <a:lstStyle/>
          <a:p>
            <a:pPr lvl="0"/>
            <a:r>
              <a:rPr lang="fr-FR" dirty="0"/>
              <a:t>9. Plan de financement du projet</a:t>
            </a:r>
            <a:br>
              <a:rPr lang="fr-FR" dirty="0"/>
            </a:br>
            <a:r>
              <a:rPr lang="fr-FR" dirty="0"/>
              <a:t>(cf. Annexe 2) </a:t>
            </a:r>
          </a:p>
        </p:txBody>
      </p:sp>
      <p:sp>
        <p:nvSpPr>
          <p:cNvPr id="3" name="Espace réservé du contenu 8"/>
          <p:cNvSpPr txBox="1">
            <a:spLocks/>
          </p:cNvSpPr>
          <p:nvPr/>
        </p:nvSpPr>
        <p:spPr bwMode="gray">
          <a:xfrm>
            <a:off x="4583113" y="1304925"/>
            <a:ext cx="5176325" cy="1550057"/>
          </a:xfrm>
          <a:prstGeom prst="wedgeRectCallout">
            <a:avLst>
              <a:gd name="adj1" fmla="val -61293"/>
              <a:gd name="adj2" fmla="val -6800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Sur la durée du projet  / Post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evées de fonds et ressources en capitaux prop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inancement bancair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pacité d’autofinancement (CAF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utres aides publiqu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6226190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 </a:t>
            </a:r>
          </a:p>
        </p:txBody>
      </p:sp>
      <p:sp>
        <p:nvSpPr>
          <p:cNvPr id="2" name="Rectangle 1"/>
          <p:cNvSpPr/>
          <p:nvPr/>
        </p:nvSpPr>
        <p:spPr>
          <a:xfrm>
            <a:off x="1638301" y="5775725"/>
            <a:ext cx="836209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i="1" dirty="0"/>
              <a:t>* Des annexes peuvent être ajoutées; idéalement, le support final ne doit pas excéder 20 diapositives</a:t>
            </a:r>
          </a:p>
        </p:txBody>
      </p:sp>
      <p:sp>
        <p:nvSpPr>
          <p:cNvPr id="6" name="Espace réservé du contenu 3"/>
          <p:cNvSpPr txBox="1">
            <a:spLocks/>
          </p:cNvSpPr>
          <p:nvPr/>
        </p:nvSpPr>
        <p:spPr>
          <a:xfrm>
            <a:off x="495300" y="1412569"/>
            <a:ext cx="8915399" cy="4363156"/>
          </a:xfrm>
          <a:prstGeom prst="rect">
            <a:avLst/>
          </a:prstGeom>
        </p:spPr>
        <p:txBody>
          <a:bodyPr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just" defTabSz="9144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8000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200"/>
              </a:spcAft>
              <a:buClr>
                <a:schemeClr val="accent1"/>
              </a:buClr>
              <a:buFont typeface="Arial" panose="020B0604020202020204" pitchFamily="34" charset="0"/>
              <a:buChar char="‒"/>
              <a:defRPr sz="105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2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700" i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Modalités :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orteur doit contacter l’ADEME des (via l’adresse mail suivante, </a:t>
            </a:r>
            <a:r>
              <a:rPr lang="fr-FR" sz="1200" b="0" dirty="0">
                <a:solidFill>
                  <a:srgbClr val="FF0000"/>
                </a:solidFill>
                <a:latin typeface="Marianne" panose="02000000000000000000" pitchFamily="50" charset="0"/>
                <a:cs typeface="Calibri" panose="020F0502020204030204" pitchFamily="34" charset="0"/>
              </a:rPr>
              <a:t>industrieenr@ademe.fr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) pour organiser une réunion de pré-dépôt et transmettre cette présentation (format PPT)</a:t>
            </a:r>
          </a:p>
          <a:p>
            <a:pPr algn="just"/>
            <a:endParaRPr lang="fr-FR" sz="120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Contexte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éunion de pré-dépôt est </a:t>
            </a:r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obligatoire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, dans un délai d’un mois avant le dépôt des pièces complètes du 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lan de cette présentation doit être respecté* . Si des informations sont manquantes au moment de la rédaction de cette annexe, l’indiquer explicitement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b="0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Objectif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Cette présentation doit permettre au porteur d’être orienté et conseillé quant à : 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’adéquation de sont projet avec les attendus du cahier des charges (chaque page fait référence aux annexes du dossier qui sont concernées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clarté de son plan projet : principales activités, livrables, jalons décisionnels; et donner de la visibilité sur la phase post-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obustesse de son plan d’affaires : principales projections, sensibilité, </a:t>
            </a:r>
            <a:r>
              <a:rPr lang="fr-FR" sz="1200" b="0" dirty="0" err="1">
                <a:latin typeface="Marianne" panose="02000000000000000000" pitchFamily="50" charset="0"/>
                <a:cs typeface="Calibri" panose="020F0502020204030204" pitchFamily="34" charset="0"/>
              </a:rPr>
              <a:t>etc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s indicateurs clés de son projet : emplois, chiffres d’affaires, … </a:t>
            </a:r>
          </a:p>
          <a:p>
            <a:endParaRPr lang="fr-FR" sz="1200" b="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Les informations fournies sont confidentielles, non engageantes.</a:t>
            </a:r>
          </a:p>
        </p:txBody>
      </p:sp>
    </p:spTree>
    <p:extLst>
      <p:ext uri="{BB962C8B-B14F-4D97-AF65-F5344CB8AC3E}">
        <p14:creationId xmlns:p14="http://schemas.microsoft.com/office/powerpoint/2010/main" val="41333110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218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lumnHeader"/>
          <p:cNvSpPr txBox="1">
            <a:spLocks/>
          </p:cNvSpPr>
          <p:nvPr/>
        </p:nvSpPr>
        <p:spPr bwMode="gray">
          <a:xfrm>
            <a:off x="1638300" y="1409218"/>
            <a:ext cx="2984500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Coordinateur</a:t>
            </a:r>
          </a:p>
        </p:txBody>
      </p:sp>
      <p:sp>
        <p:nvSpPr>
          <p:cNvPr id="922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fr-FR" dirty="0"/>
              <a:t>Projet XXX</a:t>
            </a:r>
            <a:br>
              <a:rPr lang="fr-FR" altLang="fr-FR" dirty="0"/>
            </a:br>
            <a:r>
              <a:rPr lang="fr-FR" altLang="fr-FR" dirty="0"/>
              <a:t>AAP visé : XXXXX</a:t>
            </a:r>
            <a:endParaRPr lang="fr-FR" altLang="fr-FR" sz="2000" dirty="0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Rectangle 24"/>
          <p:cNvSpPr>
            <a:spLocks/>
          </p:cNvSpPr>
          <p:nvPr/>
        </p:nvSpPr>
        <p:spPr bwMode="auto">
          <a:xfrm>
            <a:off x="4860926" y="1458431"/>
            <a:ext cx="1166813" cy="857250"/>
          </a:xfrm>
          <a:prstGeom prst="rect">
            <a:avLst/>
          </a:prstGeom>
          <a:solidFill>
            <a:srgbClr val="F2726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defTabSz="957816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Objectif du projet</a:t>
            </a:r>
          </a:p>
        </p:txBody>
      </p:sp>
      <p:sp>
        <p:nvSpPr>
          <p:cNvPr id="5" name="Rectangle 25"/>
          <p:cNvSpPr>
            <a:spLocks/>
          </p:cNvSpPr>
          <p:nvPr/>
        </p:nvSpPr>
        <p:spPr bwMode="auto">
          <a:xfrm>
            <a:off x="6119813" y="1458431"/>
            <a:ext cx="4432300" cy="857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</a:rPr>
              <a:t> </a:t>
            </a:r>
          </a:p>
        </p:txBody>
      </p:sp>
      <p:sp>
        <p:nvSpPr>
          <p:cNvPr id="6" name="Rectangle 28"/>
          <p:cNvSpPr>
            <a:spLocks/>
          </p:cNvSpPr>
          <p:nvPr/>
        </p:nvSpPr>
        <p:spPr bwMode="auto">
          <a:xfrm>
            <a:off x="4860926" y="3880957"/>
            <a:ext cx="1166813" cy="19039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defTabSz="957816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Nature du projet</a:t>
            </a:r>
          </a:p>
        </p:txBody>
      </p:sp>
      <p:sp>
        <p:nvSpPr>
          <p:cNvPr id="7" name="Rectangle 29"/>
          <p:cNvSpPr>
            <a:spLocks/>
          </p:cNvSpPr>
          <p:nvPr/>
        </p:nvSpPr>
        <p:spPr bwMode="auto">
          <a:xfrm>
            <a:off x="6119814" y="3880957"/>
            <a:ext cx="4433887" cy="1903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0975" indent="-180975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8575" lvl="1" indent="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None/>
              <a:defRPr/>
            </a:pPr>
            <a:endParaRPr lang="fr-FR" altLang="fr-FR" sz="1200" dirty="0"/>
          </a:p>
        </p:txBody>
      </p:sp>
      <p:sp>
        <p:nvSpPr>
          <p:cNvPr id="8" name="Rectangle 24"/>
          <p:cNvSpPr>
            <a:spLocks/>
          </p:cNvSpPr>
          <p:nvPr/>
        </p:nvSpPr>
        <p:spPr bwMode="auto">
          <a:xfrm>
            <a:off x="4860926" y="2420457"/>
            <a:ext cx="1166813" cy="1355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defTabSz="957816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Eléments</a:t>
            </a:r>
            <a:br>
              <a:rPr lang="fr-FR" altLang="fr-FR" sz="1400" dirty="0">
                <a:latin typeface="+mj-lt"/>
              </a:rPr>
            </a:br>
            <a:r>
              <a:rPr lang="fr-FR" altLang="fr-FR" sz="1400" dirty="0">
                <a:latin typeface="+mj-lt"/>
              </a:rPr>
              <a:t>clés</a:t>
            </a:r>
          </a:p>
        </p:txBody>
      </p:sp>
      <p:sp>
        <p:nvSpPr>
          <p:cNvPr id="9" name="Rectangle 25"/>
          <p:cNvSpPr>
            <a:spLocks/>
          </p:cNvSpPr>
          <p:nvPr/>
        </p:nvSpPr>
        <p:spPr bwMode="auto">
          <a:xfrm>
            <a:off x="6119813" y="2420457"/>
            <a:ext cx="4432300" cy="1355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Coût total : X XXX k€</a:t>
            </a:r>
          </a:p>
          <a:p>
            <a:pPr marL="228600" lvl="1" indent="-200025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Aide demandée : X XXX k€</a:t>
            </a:r>
          </a:p>
          <a:p>
            <a:pPr marL="228600" lvl="1" indent="-200025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Durée : XX mois </a:t>
            </a:r>
          </a:p>
          <a:p>
            <a:pPr marL="228600" lvl="1" indent="-200025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lisation industrialisation : XXX</a:t>
            </a:r>
          </a:p>
          <a:p>
            <a:pPr marL="228600" lvl="1" indent="-200025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Thème AAP : 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638300" y="3132835"/>
            <a:ext cx="2984500" cy="26520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" lvl="1">
              <a:spcAft>
                <a:spcPts val="300"/>
              </a:spcAft>
              <a:buClr>
                <a:schemeClr val="tx2"/>
              </a:buClr>
              <a:buSzPct val="130000"/>
              <a:defRPr/>
            </a:pPr>
            <a:r>
              <a:rPr lang="fr-FR" sz="1200" i="1" dirty="0">
                <a:solidFill>
                  <a:schemeClr val="tx1"/>
                </a:solidFill>
                <a:latin typeface="+mj-lt"/>
                <a:ea typeface="ＭＳ Ｐゴシック" charset="-128"/>
              </a:rPr>
              <a:t>Supprimer si nécessaire : </a:t>
            </a:r>
          </a:p>
          <a:p>
            <a:pPr marL="228600" lvl="1" indent="-200025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latin typeface="+mj-lt"/>
              <a:ea typeface="ＭＳ Ｐゴシック" charset="-128"/>
            </a:endParaRPr>
          </a:p>
          <a:p>
            <a:pPr marL="228600" lvl="1" indent="-200025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Nom (</a:t>
            </a: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PE/ME/GE</a:t>
            </a: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)</a:t>
            </a:r>
          </a:p>
          <a:p>
            <a:pPr marL="228600" lvl="1" indent="-200025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)</a:t>
            </a:r>
          </a:p>
          <a:p>
            <a:pPr marL="228600" lvl="1" indent="-200025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)</a:t>
            </a:r>
          </a:p>
          <a:p>
            <a:pPr marL="228600" lvl="1" indent="-200025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)</a:t>
            </a:r>
          </a:p>
          <a:p>
            <a:pPr marL="228600" lvl="1" indent="-200025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24" name="ColumnHeader"/>
          <p:cNvSpPr txBox="1">
            <a:spLocks/>
          </p:cNvSpPr>
          <p:nvPr/>
        </p:nvSpPr>
        <p:spPr bwMode="gray">
          <a:xfrm>
            <a:off x="1638300" y="2732724"/>
            <a:ext cx="2984500" cy="40011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Partenaires = demandeurs d’aide  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2142834"/>
              </p:ext>
            </p:extLst>
          </p:nvPr>
        </p:nvGraphicFramePr>
        <p:xfrm>
          <a:off x="1646542" y="1852251"/>
          <a:ext cx="2976259" cy="880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6259">
                  <a:extLst>
                    <a:ext uri="{9D8B030D-6E8A-4147-A177-3AD203B41FA5}">
                      <a16:colId xmlns:a16="http://schemas.microsoft.com/office/drawing/2014/main" val="1069962608"/>
                    </a:ext>
                  </a:extLst>
                </a:gridCol>
              </a:tblGrid>
              <a:tr h="880532">
                <a:tc>
                  <a:txBody>
                    <a:bodyPr/>
                    <a:lstStyle/>
                    <a:p>
                      <a:pPr marL="228600" lvl="1" indent="-200025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30000"/>
                        <a:buFont typeface="Wingdings 2" pitchFamily="18" charset="2"/>
                        <a:buChar char="¡"/>
                        <a:defRPr/>
                      </a:pPr>
                      <a:r>
                        <a:rPr lang="fr-FR" sz="1200" kern="1200" dirty="0">
                          <a:solidFill>
                            <a:schemeClr val="tx1"/>
                          </a:solidFill>
                          <a:latin typeface="+mj-lt"/>
                          <a:ea typeface="ＭＳ Ｐゴシック" charset="-128"/>
                          <a:cs typeface="+mn-cs"/>
                        </a:rPr>
                        <a:t>Nom (PE/ME/GE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217481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1638301" y="5976456"/>
            <a:ext cx="8913813" cy="34814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Gill Sans MT" pitchFamily="34" charset="0"/>
              </a:rPr>
              <a:t>Date de dépôt visée : JJ/MM/AAAA</a:t>
            </a:r>
          </a:p>
        </p:txBody>
      </p:sp>
      <p:sp>
        <p:nvSpPr>
          <p:cNvPr id="10" name="Rectangle 9"/>
          <p:cNvSpPr/>
          <p:nvPr/>
        </p:nvSpPr>
        <p:spPr>
          <a:xfrm>
            <a:off x="5162608" y="721647"/>
            <a:ext cx="634671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fr-FR" sz="1200" dirty="0">
                <a:ea typeface="ＭＳ Ｐゴシック" charset="-128"/>
              </a:rPr>
              <a:t>PE/ME/GE au sens des textes réglementaires et communautaires EU</a:t>
            </a:r>
          </a:p>
        </p:txBody>
      </p:sp>
    </p:spTree>
    <p:extLst>
      <p:ext uri="{BB962C8B-B14F-4D97-AF65-F5344CB8AC3E}">
        <p14:creationId xmlns:p14="http://schemas.microsoft.com/office/powerpoint/2010/main" val="17063351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0589" y="407787"/>
            <a:ext cx="1428750" cy="719455"/>
          </a:xfrm>
          <a:prstGeom prst="rect">
            <a:avLst/>
          </a:prstGeom>
        </p:spPr>
      </p:pic>
      <p:sp>
        <p:nvSpPr>
          <p:cNvPr id="11" name="Titre 1"/>
          <p:cNvSpPr>
            <a:spLocks noGrp="1"/>
          </p:cNvSpPr>
          <p:nvPr>
            <p:ph type="title"/>
          </p:nvPr>
        </p:nvSpPr>
        <p:spPr>
          <a:xfrm>
            <a:off x="743939" y="234229"/>
            <a:ext cx="8915400" cy="770095"/>
          </a:xfrm>
        </p:spPr>
        <p:txBody>
          <a:bodyPr/>
          <a:lstStyle/>
          <a:p>
            <a:r>
              <a:rPr lang="fr-FR" dirty="0"/>
              <a:t>Carte d’identité du site industriel YY*</a:t>
            </a:r>
          </a:p>
        </p:txBody>
      </p:sp>
      <p:graphicFrame>
        <p:nvGraphicFramePr>
          <p:cNvPr id="15" name="Tableau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0133697"/>
              </p:ext>
            </p:extLst>
          </p:nvPr>
        </p:nvGraphicFramePr>
        <p:xfrm>
          <a:off x="1892344" y="1413854"/>
          <a:ext cx="8407311" cy="4905984"/>
        </p:xfrm>
        <a:graphic>
          <a:graphicData uri="http://schemas.openxmlformats.org/drawingml/2006/table">
            <a:tbl>
              <a:tblPr/>
              <a:tblGrid>
                <a:gridCol w="3333549">
                  <a:extLst>
                    <a:ext uri="{9D8B030D-6E8A-4147-A177-3AD203B41FA5}">
                      <a16:colId xmlns:a16="http://schemas.microsoft.com/office/drawing/2014/main" val="582415107"/>
                    </a:ext>
                  </a:extLst>
                </a:gridCol>
                <a:gridCol w="1450229">
                  <a:extLst>
                    <a:ext uri="{9D8B030D-6E8A-4147-A177-3AD203B41FA5}">
                      <a16:colId xmlns:a16="http://schemas.microsoft.com/office/drawing/2014/main" val="1136896342"/>
                    </a:ext>
                  </a:extLst>
                </a:gridCol>
                <a:gridCol w="1749059">
                  <a:extLst>
                    <a:ext uri="{9D8B030D-6E8A-4147-A177-3AD203B41FA5}">
                      <a16:colId xmlns:a16="http://schemas.microsoft.com/office/drawing/2014/main" val="2349481498"/>
                    </a:ext>
                  </a:extLst>
                </a:gridCol>
                <a:gridCol w="1874474">
                  <a:extLst>
                    <a:ext uri="{9D8B030D-6E8A-4147-A177-3AD203B41FA5}">
                      <a16:colId xmlns:a16="http://schemas.microsoft.com/office/drawing/2014/main" val="3963554419"/>
                    </a:ext>
                  </a:extLst>
                </a:gridCol>
              </a:tblGrid>
              <a:tr h="319716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m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736396"/>
                  </a:ext>
                </a:extLst>
              </a:tr>
              <a:tr h="319716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calisation du site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ocalité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 - </a:t>
                      </a:r>
                      <a:r>
                        <a:rPr lang="fr-FR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pt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ég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791295"/>
                  </a:ext>
                </a:extLst>
              </a:tr>
              <a:tr h="319716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cteur d'activité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ecteur principa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ous-secteur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9124904"/>
                  </a:ext>
                </a:extLst>
              </a:tr>
              <a:tr h="1397199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escription </a:t>
                      </a:r>
                      <a:r>
                        <a:rPr lang="fr-FR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ccinte</a:t>
                      </a:r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du projet sur le sit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fontAlgn="ctr"/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0574775"/>
                  </a:ext>
                </a:extLst>
              </a:tr>
              <a:tr h="319716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"Entreprise en difficulté" ?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4068988"/>
                  </a:ext>
                </a:extLst>
              </a:tr>
            </a:tbl>
          </a:graphicData>
        </a:graphic>
      </p:graphicFrame>
      <p:sp>
        <p:nvSpPr>
          <p:cNvPr id="16" name="ZoneTexte 15"/>
          <p:cNvSpPr txBox="1"/>
          <p:nvPr/>
        </p:nvSpPr>
        <p:spPr>
          <a:xfrm>
            <a:off x="1892344" y="6270519"/>
            <a:ext cx="47171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>
                <a:solidFill>
                  <a:srgbClr val="FF0000"/>
                </a:solidFill>
              </a:rPr>
              <a:t>*Si concerné, à dupliquer si nécessaire</a:t>
            </a:r>
          </a:p>
        </p:txBody>
      </p:sp>
    </p:spTree>
    <p:extLst>
      <p:ext uri="{BB962C8B-B14F-4D97-AF65-F5344CB8AC3E}">
        <p14:creationId xmlns:p14="http://schemas.microsoft.com/office/powerpoint/2010/main" val="7111069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7"/>
          <p:cNvSpPr>
            <a:spLocks noGrp="1"/>
          </p:cNvSpPr>
          <p:nvPr>
            <p:ph type="title"/>
          </p:nvPr>
        </p:nvSpPr>
        <p:spPr>
          <a:xfrm>
            <a:off x="495300" y="274767"/>
            <a:ext cx="8915400" cy="770095"/>
          </a:xfrm>
        </p:spPr>
        <p:txBody>
          <a:bodyPr/>
          <a:lstStyle/>
          <a:p>
            <a:r>
              <a:rPr lang="fr-FR" dirty="0"/>
              <a:t>1. Contexte du projet</a:t>
            </a:r>
            <a:br>
              <a:rPr lang="fr-FR" dirty="0"/>
            </a:br>
            <a:r>
              <a:rPr lang="fr-FR" b="0" dirty="0"/>
              <a:t>(cf. Annexe 2) </a:t>
            </a:r>
          </a:p>
        </p:txBody>
      </p:sp>
      <p:sp>
        <p:nvSpPr>
          <p:cNvPr id="3" name="Espace réservé du contenu 8"/>
          <p:cNvSpPr txBox="1">
            <a:spLocks/>
          </p:cNvSpPr>
          <p:nvPr/>
        </p:nvSpPr>
        <p:spPr bwMode="gray">
          <a:xfrm>
            <a:off x="4591229" y="1299411"/>
            <a:ext cx="4819471" cy="1429763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spcAft>
                <a:spcPts val="20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Char char="•"/>
              <a:defRPr sz="20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b="0" dirty="0"/>
              <a:t>Thématique de </a:t>
            </a:r>
            <a:r>
              <a:rPr lang="fr-FR" b="0" dirty="0" err="1"/>
              <a:t>décarbonation</a:t>
            </a:r>
            <a:r>
              <a:rPr lang="fr-FR" b="0" dirty="0"/>
              <a:t> de l’industrie dans laquelle se situe le projet, positionnement du projet dans la chaîne de valeur de l’offre de </a:t>
            </a:r>
            <a:r>
              <a:rPr lang="fr-FR" b="0" dirty="0" err="1"/>
              <a:t>décarbonation</a:t>
            </a:r>
            <a:r>
              <a:rPr lang="fr-FR" b="0" dirty="0"/>
              <a:t> envisagée</a:t>
            </a:r>
          </a:p>
        </p:txBody>
      </p:sp>
    </p:spTree>
    <p:extLst>
      <p:ext uri="{BB962C8B-B14F-4D97-AF65-F5344CB8AC3E}">
        <p14:creationId xmlns:p14="http://schemas.microsoft.com/office/powerpoint/2010/main" val="6506893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7"/>
          <p:cNvSpPr>
            <a:spLocks noGrp="1"/>
          </p:cNvSpPr>
          <p:nvPr>
            <p:ph type="title"/>
          </p:nvPr>
        </p:nvSpPr>
        <p:spPr>
          <a:xfrm>
            <a:off x="495300" y="274767"/>
            <a:ext cx="8915400" cy="770095"/>
          </a:xfrm>
        </p:spPr>
        <p:txBody>
          <a:bodyPr/>
          <a:lstStyle/>
          <a:p>
            <a:r>
              <a:rPr lang="fr-FR" dirty="0"/>
              <a:t>2. Solution développée</a:t>
            </a:r>
            <a:br>
              <a:rPr lang="fr-FR" dirty="0"/>
            </a:br>
            <a:r>
              <a:rPr lang="fr-FR" b="0" dirty="0"/>
              <a:t>(cf. Annexe 2)  </a:t>
            </a:r>
            <a:endParaRPr lang="fr-FR" dirty="0"/>
          </a:p>
        </p:txBody>
      </p:sp>
      <p:sp>
        <p:nvSpPr>
          <p:cNvPr id="10" name="Espace réservé du contenu 8"/>
          <p:cNvSpPr txBox="1">
            <a:spLocks/>
          </p:cNvSpPr>
          <p:nvPr/>
        </p:nvSpPr>
        <p:spPr bwMode="gray">
          <a:xfrm>
            <a:off x="4583113" y="1304925"/>
            <a:ext cx="5101094" cy="1938789"/>
          </a:xfrm>
          <a:prstGeom prst="wedgeRectCallout">
            <a:avLst>
              <a:gd name="adj1" fmla="val -62700"/>
              <a:gd name="adj2" fmla="val -759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Présentation de la technologie, produits ou services développés </a:t>
            </a:r>
          </a:p>
          <a:p>
            <a:pPr marL="88900"/>
            <a:r>
              <a:rPr lang="fr-FR" b="0" i="1" dirty="0"/>
              <a:t>(le cas échéant le caractère innovant du projet sera détaillé, il peut être lié au produit lui-même, à son procédé de fabrication, à l’amélioration de l’empreinte environnementale liée à sa production, …)</a:t>
            </a:r>
          </a:p>
        </p:txBody>
      </p:sp>
    </p:spTree>
    <p:extLst>
      <p:ext uri="{BB962C8B-B14F-4D97-AF65-F5344CB8AC3E}">
        <p14:creationId xmlns:p14="http://schemas.microsoft.com/office/powerpoint/2010/main" val="14356635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7"/>
          <p:cNvSpPr>
            <a:spLocks noGrp="1"/>
          </p:cNvSpPr>
          <p:nvPr>
            <p:ph type="title"/>
          </p:nvPr>
        </p:nvSpPr>
        <p:spPr>
          <a:xfrm>
            <a:off x="538163" y="217052"/>
            <a:ext cx="8915400" cy="770095"/>
          </a:xfrm>
        </p:spPr>
        <p:txBody>
          <a:bodyPr/>
          <a:lstStyle/>
          <a:p>
            <a:r>
              <a:rPr lang="fr-FR" dirty="0"/>
              <a:t>3. </a:t>
            </a:r>
            <a:r>
              <a:rPr lang="fr-FR" altLang="fr-F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itère 1 : Impacts sur le marché des ENR </a:t>
            </a:r>
            <a:r>
              <a:rPr lang="fr-FR" b="0" dirty="0"/>
              <a:t>(cf. Annexe 2) </a:t>
            </a:r>
          </a:p>
        </p:txBody>
      </p:sp>
      <p:sp>
        <p:nvSpPr>
          <p:cNvPr id="3" name="Espace réservé du contenu 8"/>
          <p:cNvSpPr txBox="1">
            <a:spLocks/>
          </p:cNvSpPr>
          <p:nvPr/>
        </p:nvSpPr>
        <p:spPr bwMode="gray">
          <a:xfrm>
            <a:off x="4583113" y="1304925"/>
            <a:ext cx="5176325" cy="1293576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fr-FR" altLang="fr-FR" b="0" dirty="0">
                <a:latin typeface="Arial" panose="020B0604020202020204" pitchFamily="34" charset="0"/>
                <a:cs typeface="Times New Roman" panose="02020603050405020304" pitchFamily="18" charset="0"/>
              </a:rPr>
              <a:t>Impact environnemental</a:t>
            </a:r>
            <a:endParaRPr lang="fr-FR" altLang="fr-FR" sz="3200" b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fr-FR" altLang="fr-FR" sz="800" b="0" dirty="0"/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fr-FR" altLang="fr-FR" b="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éploiement de la solution et pertinence du modèle d’affaires</a:t>
            </a:r>
            <a:endParaRPr lang="fr-FR" altLang="fr-FR" sz="800" b="0" dirty="0"/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fr-FR" altLang="fr-FR" b="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ohérence globale</a:t>
            </a:r>
            <a:endParaRPr lang="fr-FR" altLang="fr-FR" sz="800" b="0" dirty="0"/>
          </a:p>
        </p:txBody>
      </p:sp>
    </p:spTree>
    <p:extLst>
      <p:ext uri="{BB962C8B-B14F-4D97-AF65-F5344CB8AC3E}">
        <p14:creationId xmlns:p14="http://schemas.microsoft.com/office/powerpoint/2010/main" val="5876152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7"/>
          <p:cNvSpPr>
            <a:spLocks noGrp="1"/>
          </p:cNvSpPr>
          <p:nvPr>
            <p:ph type="title"/>
          </p:nvPr>
        </p:nvSpPr>
        <p:spPr>
          <a:xfrm>
            <a:off x="538163" y="245927"/>
            <a:ext cx="8915400" cy="770095"/>
          </a:xfrm>
        </p:spPr>
        <p:txBody>
          <a:bodyPr/>
          <a:lstStyle/>
          <a:p>
            <a:r>
              <a:rPr lang="fr-FR" dirty="0"/>
              <a:t>4. </a:t>
            </a:r>
            <a:r>
              <a:rPr lang="fr-FR" altLang="fr-F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itère 2 : Impacts du projet </a:t>
            </a:r>
            <a:r>
              <a:rPr lang="fr-FR" b="0" dirty="0"/>
              <a:t>(cf. Annexe 2) </a:t>
            </a:r>
          </a:p>
        </p:txBody>
      </p:sp>
      <p:sp>
        <p:nvSpPr>
          <p:cNvPr id="3" name="Espace réservé du contenu 8"/>
          <p:cNvSpPr txBox="1">
            <a:spLocks/>
          </p:cNvSpPr>
          <p:nvPr/>
        </p:nvSpPr>
        <p:spPr bwMode="gray">
          <a:xfrm>
            <a:off x="4652623" y="1304925"/>
            <a:ext cx="5176325" cy="1293576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fr-FR" altLang="fr-FR" b="0" dirty="0">
                <a:latin typeface="Arial" panose="020B0604020202020204" pitchFamily="34" charset="0"/>
                <a:cs typeface="Times New Roman" panose="02020603050405020304" pitchFamily="18" charset="0"/>
              </a:rPr>
              <a:t>Impact </a:t>
            </a:r>
            <a:r>
              <a:rPr lang="fr-FR" altLang="fr-FR" b="0" dirty="0" err="1">
                <a:latin typeface="Arial" panose="020B0604020202020204" pitchFamily="34" charset="0"/>
                <a:cs typeface="Times New Roman" panose="02020603050405020304" pitchFamily="18" charset="0"/>
              </a:rPr>
              <a:t>décarbonnation</a:t>
            </a:r>
            <a:endParaRPr lang="fr-FR" altLang="fr-FR" sz="3200" b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fr-FR" altLang="fr-FR" sz="800" b="0" dirty="0"/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fr-FR" altLang="fr-FR" b="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mpacts social et économique </a:t>
            </a: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fr-FR" altLang="fr-FR" sz="800" b="0" dirty="0"/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fr-FR" altLang="fr-FR" b="0" dirty="0">
                <a:latin typeface="Arial" panose="020B0604020202020204" pitchFamily="34" charset="0"/>
                <a:cs typeface="Arial" panose="020B0604020202020204" pitchFamily="34" charset="0"/>
              </a:rPr>
              <a:t>Impact environnemental </a:t>
            </a:r>
            <a:endParaRPr lang="fr-FR" altLang="fr-FR" sz="800" b="0" dirty="0"/>
          </a:p>
        </p:txBody>
      </p:sp>
    </p:spTree>
    <p:extLst>
      <p:ext uri="{BB962C8B-B14F-4D97-AF65-F5344CB8AC3E}">
        <p14:creationId xmlns:p14="http://schemas.microsoft.com/office/powerpoint/2010/main" val="20640361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7"/>
          <p:cNvSpPr>
            <a:spLocks noGrp="1"/>
          </p:cNvSpPr>
          <p:nvPr>
            <p:ph type="title"/>
          </p:nvPr>
        </p:nvSpPr>
        <p:spPr>
          <a:xfrm>
            <a:off x="538163" y="245927"/>
            <a:ext cx="8915400" cy="770095"/>
          </a:xfrm>
        </p:spPr>
        <p:txBody>
          <a:bodyPr/>
          <a:lstStyle/>
          <a:p>
            <a:r>
              <a:rPr lang="fr-FR" dirty="0"/>
              <a:t>4. </a:t>
            </a:r>
            <a:r>
              <a:rPr lang="fr-FR" altLang="fr-FR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itère 3 : Enjeux </a:t>
            </a:r>
            <a:r>
              <a:rPr lang="fr-FR" dirty="0"/>
              <a:t>économico-financiers et résilience du projet </a:t>
            </a:r>
            <a:r>
              <a:rPr lang="fr-FR" b="0" dirty="0"/>
              <a:t>(cf. Annexe 2) </a:t>
            </a:r>
          </a:p>
        </p:txBody>
      </p:sp>
      <p:sp>
        <p:nvSpPr>
          <p:cNvPr id="3" name="Espace réservé du contenu 8"/>
          <p:cNvSpPr txBox="1">
            <a:spLocks/>
          </p:cNvSpPr>
          <p:nvPr/>
        </p:nvSpPr>
        <p:spPr bwMode="gray">
          <a:xfrm>
            <a:off x="4583113" y="1304925"/>
            <a:ext cx="5176325" cy="1005138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fr-FR" altLang="fr-FR" b="0" dirty="0">
                <a:latin typeface="Arial" panose="020B0604020202020204" pitchFamily="34" charset="0"/>
                <a:cs typeface="Times New Roman" panose="02020603050405020304" pitchFamily="18" charset="0"/>
              </a:rPr>
              <a:t>Financement logistique</a:t>
            </a:r>
            <a:endParaRPr lang="fr-FR" altLang="fr-FR" sz="700" b="0" dirty="0"/>
          </a:p>
          <a:p>
            <a:pPr marL="171450" lvl="0" indent="-1714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fr-FR" altLang="fr-FR" sz="800" b="0" dirty="0"/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fr-FR" altLang="fr-FR" b="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aturité technique et financière</a:t>
            </a:r>
          </a:p>
          <a:p>
            <a:pPr marL="285750" lvl="0"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fr-FR" altLang="fr-FR" sz="800" b="0" dirty="0"/>
          </a:p>
        </p:txBody>
      </p:sp>
    </p:spTree>
    <p:extLst>
      <p:ext uri="{BB962C8B-B14F-4D97-AF65-F5344CB8AC3E}">
        <p14:creationId xmlns:p14="http://schemas.microsoft.com/office/powerpoint/2010/main" val="34715025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PM_SGPI_2020">
      <a:dk1>
        <a:sysClr val="windowText" lastClr="000000"/>
      </a:dk1>
      <a:lt1>
        <a:sysClr val="window" lastClr="FFFFFF"/>
      </a:lt1>
      <a:dk2>
        <a:srgbClr val="7F7F7F"/>
      </a:dk2>
      <a:lt2>
        <a:srgbClr val="E5E5E5"/>
      </a:lt2>
      <a:accent1>
        <a:srgbClr val="000091"/>
      </a:accent1>
      <a:accent2>
        <a:srgbClr val="5770BE"/>
      </a:accent2>
      <a:accent3>
        <a:srgbClr val="E1000F"/>
      </a:accent3>
      <a:accent4>
        <a:srgbClr val="FF8D7E"/>
      </a:accent4>
      <a:accent5>
        <a:srgbClr val="00AC8C"/>
      </a:accent5>
      <a:accent6>
        <a:srgbClr val="FDCF41"/>
      </a:accent6>
      <a:hlink>
        <a:srgbClr val="000000"/>
      </a:hlink>
      <a:folHlink>
        <a:srgbClr val="7F7F7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599</TotalTime>
  <Words>734</Words>
  <Application>Microsoft Office PowerPoint</Application>
  <PresentationFormat>Grand écran</PresentationFormat>
  <Paragraphs>120</Paragraphs>
  <Slides>13</Slides>
  <Notes>3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3</vt:i4>
      </vt:variant>
    </vt:vector>
  </HeadingPairs>
  <TitlesOfParts>
    <vt:vector size="21" baseType="lpstr">
      <vt:lpstr>Arial</vt:lpstr>
      <vt:lpstr>Calibri</vt:lpstr>
      <vt:lpstr>Gill Sans MT</vt:lpstr>
      <vt:lpstr>Marianne</vt:lpstr>
      <vt:lpstr>Wingdings</vt:lpstr>
      <vt:lpstr>Wingdings 2</vt:lpstr>
      <vt:lpstr>Thème Office</vt:lpstr>
      <vt:lpstr>think-cell Slide</vt:lpstr>
      <vt:lpstr>Présentation de pré-dépôt  </vt:lpstr>
      <vt:lpstr>Notice  </vt:lpstr>
      <vt:lpstr>Projet XXX AAP visé : XXXXX</vt:lpstr>
      <vt:lpstr>Carte d’identité du site industriel YY*</vt:lpstr>
      <vt:lpstr>1. Contexte du projet (cf. Annexe 2) </vt:lpstr>
      <vt:lpstr>2. Solution développée (cf. Annexe 2)  </vt:lpstr>
      <vt:lpstr>3. Critère 1 : Impacts sur le marché des ENR (cf. Annexe 2) </vt:lpstr>
      <vt:lpstr>4. Critère 2 : Impacts du projet (cf. Annexe 2) </vt:lpstr>
      <vt:lpstr>4. Critère 3 : Enjeux économico-financiers et résilience du projet (cf. Annexe 2) </vt:lpstr>
      <vt:lpstr>7. Organisation du projet (cf. Annexe 2) </vt:lpstr>
      <vt:lpstr>5. Partenariat  et pertinence du consortium (cf. Annexe 2) </vt:lpstr>
      <vt:lpstr>8. Budget global du projet (cf. Annexe 3) </vt:lpstr>
      <vt:lpstr>9. Plan de financement du projet (cf. Annexe 2)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sgpi@pm.gouv.fr</dc:creator>
  <cp:lastModifiedBy>DE TOUCHET Adélaïde</cp:lastModifiedBy>
  <cp:revision>572</cp:revision>
  <dcterms:created xsi:type="dcterms:W3CDTF">2020-10-08T08:28:58Z</dcterms:created>
  <dcterms:modified xsi:type="dcterms:W3CDTF">2022-11-22T14:31:27Z</dcterms:modified>
</cp:coreProperties>
</file>